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96" r:id="rId2"/>
    <p:sldId id="257" r:id="rId3"/>
    <p:sldId id="291" r:id="rId4"/>
    <p:sldId id="264" r:id="rId5"/>
    <p:sldId id="292" r:id="rId6"/>
    <p:sldId id="261" r:id="rId7"/>
    <p:sldId id="297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4091"/>
    <a:srgbClr val="7553A6"/>
    <a:srgbClr val="3A238C"/>
    <a:srgbClr val="A6A6A6"/>
    <a:srgbClr val="F2F2F2"/>
    <a:srgbClr val="7A5ABF"/>
    <a:srgbClr val="666666"/>
    <a:srgbClr val="85377C"/>
    <a:srgbClr val="F26B43"/>
    <a:srgbClr val="6A2C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163" autoAdjust="0"/>
    <p:restoredTop sz="94353" autoAdjust="0"/>
  </p:normalViewPr>
  <p:slideViewPr>
    <p:cSldViewPr snapToGrid="0" showGuides="1">
      <p:cViewPr varScale="1">
        <p:scale>
          <a:sx n="70" d="100"/>
          <a:sy n="70" d="100"/>
        </p:scale>
        <p:origin x="486" y="60"/>
      </p:cViewPr>
      <p:guideLst>
        <p:guide pos="3840"/>
        <p:guide orient="horz" pos="216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7/09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7/09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56954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98574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24834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47383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65592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2B96B7B-7BC2-4E2B-9DC7-A396ABA62E04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188952C-44A0-4EBD-A50A-A174DC9D8747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9FB18D68-56B2-43C0-BC17-15FF2D0E8FC8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886245B1-3B51-44D8-BA01-553411598633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7216134-CF46-45A0-9F56-AE19849DD944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3925F71-A8EB-4B41-A034-F020B14200F2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6C66395-99FE-4E7A-84BD-9EE543AC94ED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93F2A92D-C080-4EFF-AEEA-5B71D048F0FB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A0DFC53A-CA6F-4A26-86A5-9ED80A407491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093F0DC-9A5B-4F7A-8857-721CDAC8D9D7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7D1AF497-3D25-4B61-AFA4-9129D5A932D1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5BFB81C-B320-4FFD-9B7F-00FCAE7F01FB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D3E8AFE-FAFE-42FE-97EE-FA8150A09487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4F1C4A9-4B0F-4806-A92A-5D8AF3F1076C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529E866-F90A-416B-BBB2-89F5E9185CCD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C8222F1-2A79-4F48-AD19-D3E7155A5973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C25D4C5-4F18-4DC3-95B4-A2805B045C19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6D158B9-0964-4309-860F-1D084BA15C39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43FF7390-F631-4EEB-931C-AE8D34918C47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BF132D0-2EB4-487D-8D28-6F9647303757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9AF2D6F6-74E9-4080-B703-1C91A711E1D4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777CF33-FB09-442F-8106-0B8D8FF38D6B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95E92FA-79E7-4503-BEF4-52931AA4B802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B1CD6AB-76E5-4E7C-A657-F5CE43A4239C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A9AF805F-CA1C-4CF5-9CA7-BFC4AE72045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FD91009-AF40-44DD-8074-2BAECC42C900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7C7102F-B01D-4DCF-AA64-AF22D0A1A4F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FC82B4D1-8CC9-4571-92DB-DE8C1FD3061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736CE70-B713-49DA-802F-11714EA583B7}"/>
              </a:ext>
            </a:extLst>
          </p:cNvPr>
          <p:cNvSpPr/>
          <p:nvPr userDrawn="1"/>
        </p:nvSpPr>
        <p:spPr>
          <a:xfrm>
            <a:off x="11202988" y="6438640"/>
            <a:ext cx="455612" cy="419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C1C1704-8C7D-46C2-8B65-53CA4F8A6408}"/>
              </a:ext>
            </a:extLst>
          </p:cNvPr>
          <p:cNvSpPr txBox="1"/>
          <p:nvPr userDrawn="1"/>
        </p:nvSpPr>
        <p:spPr>
          <a:xfrm>
            <a:off x="11264900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36EFF92-E0A1-4F10-A4A5-650247A1AB11}"/>
              </a:ext>
            </a:extLst>
          </p:cNvPr>
          <p:cNvSpPr txBox="1"/>
          <p:nvPr userDrawn="1"/>
        </p:nvSpPr>
        <p:spPr>
          <a:xfrm>
            <a:off x="9675523" y="6586765"/>
            <a:ext cx="132845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 Business Present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B3BD4C8-60D4-4E5A-A155-D77C8104CC30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6648320"/>
            <a:ext cx="95297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135AB21E-720E-4713-9E12-5BDDC8A60538}"/>
              </a:ext>
            </a:extLst>
          </p:cNvPr>
          <p:cNvSpPr/>
          <p:nvPr userDrawn="1"/>
        </p:nvSpPr>
        <p:spPr>
          <a:xfrm>
            <a:off x="11202988" y="6812281"/>
            <a:ext cx="455612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A607F61-C91A-47FF-BBFB-DF776E24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79119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8082631-599A-467D-B49A-E699D64CA6C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79893FC-F772-4162-8C6F-C264655ADA1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04" b="104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E5BE37DF-F965-46C8-9F0E-C4CCC23AC5E1}"/>
              </a:ext>
            </a:extLst>
          </p:cNvPr>
          <p:cNvSpPr/>
          <p:nvPr/>
        </p:nvSpPr>
        <p:spPr>
          <a:xfrm flipH="1">
            <a:off x="0" y="0"/>
            <a:ext cx="6448425" cy="6858000"/>
          </a:xfrm>
          <a:custGeom>
            <a:avLst/>
            <a:gdLst>
              <a:gd name="connsiteX0" fmla="*/ 6448425 w 6448425"/>
              <a:gd name="connsiteY0" fmla="*/ 0 h 6858000"/>
              <a:gd name="connsiteX1" fmla="*/ 3747417 w 6448425"/>
              <a:gd name="connsiteY1" fmla="*/ 0 h 6858000"/>
              <a:gd name="connsiteX2" fmla="*/ 0 w 6448425"/>
              <a:gd name="connsiteY2" fmla="*/ 6858000 h 6858000"/>
              <a:gd name="connsiteX3" fmla="*/ 6448425 w 64484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8425" h="6858000">
                <a:moveTo>
                  <a:pt x="6448425" y="0"/>
                </a:moveTo>
                <a:lnTo>
                  <a:pt x="3747417" y="0"/>
                </a:lnTo>
                <a:lnTo>
                  <a:pt x="0" y="6858000"/>
                </a:lnTo>
                <a:lnTo>
                  <a:pt x="6448425" y="6858000"/>
                </a:lnTo>
                <a:close/>
              </a:path>
            </a:pathLst>
          </a:custGeom>
          <a:solidFill>
            <a:srgbClr val="C0000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9EB251-936B-4F67-9780-F9D55DCF1099}"/>
              </a:ext>
            </a:extLst>
          </p:cNvPr>
          <p:cNvSpPr txBox="1">
            <a:spLocks/>
          </p:cNvSpPr>
          <p:nvPr/>
        </p:nvSpPr>
        <p:spPr>
          <a:xfrm>
            <a:off x="533400" y="3295073"/>
            <a:ext cx="3644900" cy="18281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smtClean="0">
                <a:solidFill>
                  <a:schemeClr val="bg1"/>
                </a:solidFill>
              </a:rPr>
              <a:t>Modul Pembelajaran Professional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79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773DAB-D5E5-45FF-BD53-C0ECE691A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si Pembelajaran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AC3EF062-318F-42A0-888E-E70309556658}"/>
              </a:ext>
            </a:extLst>
          </p:cNvPr>
          <p:cNvSpPr txBox="1">
            <a:spLocks/>
          </p:cNvSpPr>
          <p:nvPr/>
        </p:nvSpPr>
        <p:spPr>
          <a:xfrm>
            <a:off x="4904525" y="1670424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sp>
        <p:nvSpPr>
          <p:cNvPr id="10" name="Rectangle: Single Corner Snipped 9">
            <a:extLst>
              <a:ext uri="{FF2B5EF4-FFF2-40B4-BE49-F238E27FC236}">
                <a16:creationId xmlns:a16="http://schemas.microsoft.com/office/drawing/2014/main" xmlns="" id="{5A437A8A-289E-4DFF-BAF2-AA7EC8214016}"/>
              </a:ext>
            </a:extLst>
          </p:cNvPr>
          <p:cNvSpPr/>
          <p:nvPr/>
        </p:nvSpPr>
        <p:spPr>
          <a:xfrm>
            <a:off x="4093992" y="1524000"/>
            <a:ext cx="486232" cy="486232"/>
          </a:xfrm>
          <a:prstGeom prst="snip1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11880FA3-754D-49C7-B210-8723BC03AEA4}"/>
              </a:ext>
            </a:extLst>
          </p:cNvPr>
          <p:cNvSpPr txBox="1">
            <a:spLocks/>
          </p:cNvSpPr>
          <p:nvPr/>
        </p:nvSpPr>
        <p:spPr>
          <a:xfrm>
            <a:off x="4228424" y="1656317"/>
            <a:ext cx="217367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i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xmlns="" id="{B9807683-E2DF-46D3-B26F-45BD45671875}"/>
              </a:ext>
            </a:extLst>
          </p:cNvPr>
          <p:cNvSpPr txBox="1">
            <a:spLocks/>
          </p:cNvSpPr>
          <p:nvPr/>
        </p:nvSpPr>
        <p:spPr>
          <a:xfrm>
            <a:off x="4904525" y="2379808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093992" y="2233384"/>
            <a:ext cx="486232" cy="486232"/>
            <a:chOff x="3466191" y="2233384"/>
            <a:chExt cx="486232" cy="486232"/>
          </a:xfrm>
          <a:solidFill>
            <a:srgbClr val="C00000"/>
          </a:solidFill>
        </p:grpSpPr>
        <p:sp>
          <p:nvSpPr>
            <p:cNvPr id="49" name="Rectangle: Single Corner Snipped 48">
              <a:extLst>
                <a:ext uri="{FF2B5EF4-FFF2-40B4-BE49-F238E27FC236}">
                  <a16:creationId xmlns:a16="http://schemas.microsoft.com/office/drawing/2014/main" xmlns="" id="{4AEC8AFE-691D-46ED-9184-9DD0DD151DF7}"/>
                </a:ext>
              </a:extLst>
            </p:cNvPr>
            <p:cNvSpPr/>
            <p:nvPr/>
          </p:nvSpPr>
          <p:spPr>
            <a:xfrm>
              <a:off x="3466191" y="2233384"/>
              <a:ext cx="486232" cy="486232"/>
            </a:xfrm>
            <a:prstGeom prst="snip1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1" name="Title 1">
              <a:extLst>
                <a:ext uri="{FF2B5EF4-FFF2-40B4-BE49-F238E27FC236}">
                  <a16:creationId xmlns:a16="http://schemas.microsoft.com/office/drawing/2014/main" xmlns="" id="{E3C70E14-7287-43BB-8448-E8E52E7A98F8}"/>
                </a:ext>
              </a:extLst>
            </p:cNvPr>
            <p:cNvSpPr txBox="1">
              <a:spLocks/>
            </p:cNvSpPr>
            <p:nvPr/>
          </p:nvSpPr>
          <p:spPr>
            <a:xfrm>
              <a:off x="3600623" y="2365701"/>
              <a:ext cx="217367" cy="221599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600" i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2</a:t>
              </a:r>
            </a:p>
          </p:txBody>
        </p:sp>
      </p:grpSp>
      <p:sp>
        <p:nvSpPr>
          <p:cNvPr id="54" name="Title 1">
            <a:extLst>
              <a:ext uri="{FF2B5EF4-FFF2-40B4-BE49-F238E27FC236}">
                <a16:creationId xmlns:a16="http://schemas.microsoft.com/office/drawing/2014/main" xmlns="" id="{4A55ADE5-10E7-4803-95D4-331716F60FD6}"/>
              </a:ext>
            </a:extLst>
          </p:cNvPr>
          <p:cNvSpPr txBox="1">
            <a:spLocks/>
          </p:cNvSpPr>
          <p:nvPr/>
        </p:nvSpPr>
        <p:spPr>
          <a:xfrm>
            <a:off x="4904525" y="3089192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093992" y="2942768"/>
            <a:ext cx="486232" cy="486232"/>
            <a:chOff x="3466191" y="2942768"/>
            <a:chExt cx="486232" cy="486232"/>
          </a:xfrm>
          <a:solidFill>
            <a:srgbClr val="C00000"/>
          </a:solidFill>
        </p:grpSpPr>
        <p:sp>
          <p:nvSpPr>
            <p:cNvPr id="53" name="Rectangle: Single Corner Snipped 52">
              <a:extLst>
                <a:ext uri="{FF2B5EF4-FFF2-40B4-BE49-F238E27FC236}">
                  <a16:creationId xmlns:a16="http://schemas.microsoft.com/office/drawing/2014/main" xmlns="" id="{C4E15E80-2D62-4485-A568-6B6EF52B9CC8}"/>
                </a:ext>
              </a:extLst>
            </p:cNvPr>
            <p:cNvSpPr/>
            <p:nvPr/>
          </p:nvSpPr>
          <p:spPr>
            <a:xfrm>
              <a:off x="3466191" y="2942768"/>
              <a:ext cx="486232" cy="486232"/>
            </a:xfrm>
            <a:prstGeom prst="snip1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5" name="Title 1">
              <a:extLst>
                <a:ext uri="{FF2B5EF4-FFF2-40B4-BE49-F238E27FC236}">
                  <a16:creationId xmlns:a16="http://schemas.microsoft.com/office/drawing/2014/main" xmlns="" id="{58C9A657-4BD0-44E4-9A71-491BEF4D86BE}"/>
                </a:ext>
              </a:extLst>
            </p:cNvPr>
            <p:cNvSpPr txBox="1">
              <a:spLocks/>
            </p:cNvSpPr>
            <p:nvPr/>
          </p:nvSpPr>
          <p:spPr>
            <a:xfrm>
              <a:off x="3600623" y="3075085"/>
              <a:ext cx="217367" cy="221599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600" i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3</a:t>
              </a:r>
            </a:p>
          </p:txBody>
        </p:sp>
      </p:grpSp>
      <p:sp>
        <p:nvSpPr>
          <p:cNvPr id="58" name="Title 1">
            <a:extLst>
              <a:ext uri="{FF2B5EF4-FFF2-40B4-BE49-F238E27FC236}">
                <a16:creationId xmlns:a16="http://schemas.microsoft.com/office/drawing/2014/main" xmlns="" id="{3ED414CD-D85B-43C1-B19E-E10943D0C9D2}"/>
              </a:ext>
            </a:extLst>
          </p:cNvPr>
          <p:cNvSpPr txBox="1">
            <a:spLocks/>
          </p:cNvSpPr>
          <p:nvPr/>
        </p:nvSpPr>
        <p:spPr>
          <a:xfrm>
            <a:off x="4904525" y="3798576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093992" y="3652152"/>
            <a:ext cx="486232" cy="486232"/>
            <a:chOff x="3466191" y="3652152"/>
            <a:chExt cx="486232" cy="486232"/>
          </a:xfrm>
          <a:solidFill>
            <a:srgbClr val="C00000"/>
          </a:solidFill>
        </p:grpSpPr>
        <p:sp>
          <p:nvSpPr>
            <p:cNvPr id="57" name="Rectangle: Single Corner Snipped 56">
              <a:extLst>
                <a:ext uri="{FF2B5EF4-FFF2-40B4-BE49-F238E27FC236}">
                  <a16:creationId xmlns:a16="http://schemas.microsoft.com/office/drawing/2014/main" xmlns="" id="{5EC60FC1-DD3F-41EB-8554-F1A67535E0C3}"/>
                </a:ext>
              </a:extLst>
            </p:cNvPr>
            <p:cNvSpPr/>
            <p:nvPr/>
          </p:nvSpPr>
          <p:spPr>
            <a:xfrm>
              <a:off x="3466191" y="3652152"/>
              <a:ext cx="486232" cy="486232"/>
            </a:xfrm>
            <a:prstGeom prst="snip1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59" name="Title 1">
              <a:extLst>
                <a:ext uri="{FF2B5EF4-FFF2-40B4-BE49-F238E27FC236}">
                  <a16:creationId xmlns:a16="http://schemas.microsoft.com/office/drawing/2014/main" xmlns="" id="{BCFC325F-3021-4A31-ACD5-00041B550B15}"/>
                </a:ext>
              </a:extLst>
            </p:cNvPr>
            <p:cNvSpPr txBox="1">
              <a:spLocks/>
            </p:cNvSpPr>
            <p:nvPr/>
          </p:nvSpPr>
          <p:spPr>
            <a:xfrm>
              <a:off x="3600623" y="3784469"/>
              <a:ext cx="217367" cy="221599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600" i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4</a:t>
              </a:r>
            </a:p>
          </p:txBody>
        </p:sp>
      </p:grpSp>
      <p:sp>
        <p:nvSpPr>
          <p:cNvPr id="62" name="Title 1">
            <a:extLst>
              <a:ext uri="{FF2B5EF4-FFF2-40B4-BE49-F238E27FC236}">
                <a16:creationId xmlns:a16="http://schemas.microsoft.com/office/drawing/2014/main" xmlns="" id="{C1DF3BDE-B38E-4B15-94F9-AA5FB859D227}"/>
              </a:ext>
            </a:extLst>
          </p:cNvPr>
          <p:cNvSpPr txBox="1">
            <a:spLocks/>
          </p:cNvSpPr>
          <p:nvPr/>
        </p:nvSpPr>
        <p:spPr>
          <a:xfrm>
            <a:off x="4904525" y="4507960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093992" y="4361536"/>
            <a:ext cx="486232" cy="486232"/>
            <a:chOff x="3466191" y="4361536"/>
            <a:chExt cx="486232" cy="486232"/>
          </a:xfrm>
          <a:solidFill>
            <a:srgbClr val="C00000"/>
          </a:solidFill>
        </p:grpSpPr>
        <p:sp>
          <p:nvSpPr>
            <p:cNvPr id="61" name="Rectangle: Single Corner Snipped 60">
              <a:extLst>
                <a:ext uri="{FF2B5EF4-FFF2-40B4-BE49-F238E27FC236}">
                  <a16:creationId xmlns:a16="http://schemas.microsoft.com/office/drawing/2014/main" xmlns="" id="{AAAB87C9-A3F4-423F-BD64-5682B2F7E44C}"/>
                </a:ext>
              </a:extLst>
            </p:cNvPr>
            <p:cNvSpPr/>
            <p:nvPr/>
          </p:nvSpPr>
          <p:spPr>
            <a:xfrm>
              <a:off x="3466191" y="4361536"/>
              <a:ext cx="486232" cy="486232"/>
            </a:xfrm>
            <a:prstGeom prst="snip1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3" name="Title 1">
              <a:extLst>
                <a:ext uri="{FF2B5EF4-FFF2-40B4-BE49-F238E27FC236}">
                  <a16:creationId xmlns:a16="http://schemas.microsoft.com/office/drawing/2014/main" xmlns="" id="{509D40B4-1327-49D5-A5DE-B7B1EFA189A1}"/>
                </a:ext>
              </a:extLst>
            </p:cNvPr>
            <p:cNvSpPr txBox="1">
              <a:spLocks/>
            </p:cNvSpPr>
            <p:nvPr/>
          </p:nvSpPr>
          <p:spPr>
            <a:xfrm>
              <a:off x="3600623" y="4493853"/>
              <a:ext cx="217367" cy="221599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600" i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5</a:t>
              </a:r>
            </a:p>
          </p:txBody>
        </p:sp>
      </p:grpSp>
      <p:sp>
        <p:nvSpPr>
          <p:cNvPr id="66" name="Title 1">
            <a:extLst>
              <a:ext uri="{FF2B5EF4-FFF2-40B4-BE49-F238E27FC236}">
                <a16:creationId xmlns:a16="http://schemas.microsoft.com/office/drawing/2014/main" xmlns="" id="{4242F373-50AF-4923-853A-EAD30C54B2CC}"/>
              </a:ext>
            </a:extLst>
          </p:cNvPr>
          <p:cNvSpPr txBox="1">
            <a:spLocks/>
          </p:cNvSpPr>
          <p:nvPr/>
        </p:nvSpPr>
        <p:spPr>
          <a:xfrm>
            <a:off x="4904525" y="5217344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093992" y="5070920"/>
            <a:ext cx="486232" cy="486232"/>
            <a:chOff x="3466191" y="5070920"/>
            <a:chExt cx="486232" cy="486232"/>
          </a:xfrm>
          <a:solidFill>
            <a:srgbClr val="C00000"/>
          </a:solidFill>
        </p:grpSpPr>
        <p:sp>
          <p:nvSpPr>
            <p:cNvPr id="65" name="Rectangle: Single Corner Snipped 64">
              <a:extLst>
                <a:ext uri="{FF2B5EF4-FFF2-40B4-BE49-F238E27FC236}">
                  <a16:creationId xmlns:a16="http://schemas.microsoft.com/office/drawing/2014/main" xmlns="" id="{A269255E-5C54-40C8-AA59-B4A66ED0E05E}"/>
                </a:ext>
              </a:extLst>
            </p:cNvPr>
            <p:cNvSpPr/>
            <p:nvPr/>
          </p:nvSpPr>
          <p:spPr>
            <a:xfrm>
              <a:off x="3466191" y="5070920"/>
              <a:ext cx="486232" cy="486232"/>
            </a:xfrm>
            <a:prstGeom prst="snip1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67" name="Title 1">
              <a:extLst>
                <a:ext uri="{FF2B5EF4-FFF2-40B4-BE49-F238E27FC236}">
                  <a16:creationId xmlns:a16="http://schemas.microsoft.com/office/drawing/2014/main" xmlns="" id="{17F5D44D-30F1-4B1D-99EF-289B6D942BAE}"/>
                </a:ext>
              </a:extLst>
            </p:cNvPr>
            <p:cNvSpPr txBox="1">
              <a:spLocks/>
            </p:cNvSpPr>
            <p:nvPr/>
          </p:nvSpPr>
          <p:spPr>
            <a:xfrm>
              <a:off x="3600623" y="5203237"/>
              <a:ext cx="217367" cy="221599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600" i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6</a:t>
              </a:r>
            </a:p>
          </p:txBody>
        </p:sp>
      </p:grpSp>
      <p:sp>
        <p:nvSpPr>
          <p:cNvPr id="70" name="Title 1">
            <a:extLst>
              <a:ext uri="{FF2B5EF4-FFF2-40B4-BE49-F238E27FC236}">
                <a16:creationId xmlns:a16="http://schemas.microsoft.com/office/drawing/2014/main" xmlns="" id="{D168BA08-6C0B-4F0D-9914-75317D3B7EC4}"/>
              </a:ext>
            </a:extLst>
          </p:cNvPr>
          <p:cNvSpPr txBox="1">
            <a:spLocks/>
          </p:cNvSpPr>
          <p:nvPr/>
        </p:nvSpPr>
        <p:spPr>
          <a:xfrm>
            <a:off x="4904525" y="5926729"/>
            <a:ext cx="7381875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Lorem ipsum dolor sit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met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,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consectetur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adipiscing</a:t>
            </a:r>
            <a:r>
              <a:rPr lang="en-US" sz="1600" b="0" dirty="0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 </a:t>
            </a:r>
            <a:r>
              <a:rPr lang="en-US" sz="1600" b="0" dirty="0" err="1">
                <a:solidFill>
                  <a:schemeClr val="tx2"/>
                </a:solidFill>
                <a:latin typeface="+mn-lt"/>
                <a:cs typeface="Segoe UI" panose="020B0502040204020203" pitchFamily="34" charset="0"/>
              </a:rPr>
              <a:t>elit</a:t>
            </a:r>
            <a:endParaRPr lang="en-US" sz="1600" b="0" dirty="0">
              <a:solidFill>
                <a:schemeClr val="tx2"/>
              </a:solidFill>
              <a:latin typeface="+mn-lt"/>
              <a:cs typeface="Segoe UI" panose="020B0502040204020203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4093992" y="5780305"/>
            <a:ext cx="486232" cy="486232"/>
            <a:chOff x="3466191" y="5780305"/>
            <a:chExt cx="486232" cy="486232"/>
          </a:xfrm>
          <a:solidFill>
            <a:srgbClr val="C00000"/>
          </a:solidFill>
        </p:grpSpPr>
        <p:sp>
          <p:nvSpPr>
            <p:cNvPr id="69" name="Rectangle: Single Corner Snipped 68">
              <a:extLst>
                <a:ext uri="{FF2B5EF4-FFF2-40B4-BE49-F238E27FC236}">
                  <a16:creationId xmlns:a16="http://schemas.microsoft.com/office/drawing/2014/main" xmlns="" id="{CDD0F0C1-1B73-49FA-A45E-ABD371F24503}"/>
                </a:ext>
              </a:extLst>
            </p:cNvPr>
            <p:cNvSpPr/>
            <p:nvPr/>
          </p:nvSpPr>
          <p:spPr>
            <a:xfrm>
              <a:off x="3466191" y="5780305"/>
              <a:ext cx="486232" cy="486232"/>
            </a:xfrm>
            <a:prstGeom prst="snip1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71" name="Title 1">
              <a:extLst>
                <a:ext uri="{FF2B5EF4-FFF2-40B4-BE49-F238E27FC236}">
                  <a16:creationId xmlns:a16="http://schemas.microsoft.com/office/drawing/2014/main" xmlns="" id="{DCCB8805-8EBC-448A-A76A-0E9D1BA3B21A}"/>
                </a:ext>
              </a:extLst>
            </p:cNvPr>
            <p:cNvSpPr txBox="1">
              <a:spLocks/>
            </p:cNvSpPr>
            <p:nvPr/>
          </p:nvSpPr>
          <p:spPr>
            <a:xfrm>
              <a:off x="3600623" y="5912622"/>
              <a:ext cx="217367" cy="221599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600" i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rPr>
                <a:t>7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904525" y="2121808"/>
            <a:ext cx="6641481" cy="3546920"/>
            <a:chOff x="4904525" y="2121808"/>
            <a:chExt cx="7381876" cy="3546920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xmlns="" id="{4BDED9E5-07A2-47E8-B875-C1AA73AF1CEE}"/>
                </a:ext>
              </a:extLst>
            </p:cNvPr>
            <p:cNvCxnSpPr/>
            <p:nvPr/>
          </p:nvCxnSpPr>
          <p:spPr>
            <a:xfrm>
              <a:off x="4904525" y="2121808"/>
              <a:ext cx="738187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xmlns="" id="{FF950204-8053-4148-97EC-4AB864F6F676}"/>
                </a:ext>
              </a:extLst>
            </p:cNvPr>
            <p:cNvCxnSpPr/>
            <p:nvPr/>
          </p:nvCxnSpPr>
          <p:spPr>
            <a:xfrm>
              <a:off x="4904525" y="2831192"/>
              <a:ext cx="738187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xmlns="" id="{11E091AF-12AC-44C1-A300-C6ECE5470621}"/>
                </a:ext>
              </a:extLst>
            </p:cNvPr>
            <p:cNvCxnSpPr/>
            <p:nvPr/>
          </p:nvCxnSpPr>
          <p:spPr>
            <a:xfrm>
              <a:off x="4904525" y="3540576"/>
              <a:ext cx="738187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xmlns="" id="{008CFBD4-EAE2-49F8-8C85-31E86A05BF7E}"/>
                </a:ext>
              </a:extLst>
            </p:cNvPr>
            <p:cNvCxnSpPr/>
            <p:nvPr/>
          </p:nvCxnSpPr>
          <p:spPr>
            <a:xfrm>
              <a:off x="4904525" y="4249960"/>
              <a:ext cx="738187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xmlns="" id="{6316968F-79F6-4EED-A7B9-57F577B3B561}"/>
                </a:ext>
              </a:extLst>
            </p:cNvPr>
            <p:cNvCxnSpPr/>
            <p:nvPr/>
          </p:nvCxnSpPr>
          <p:spPr>
            <a:xfrm>
              <a:off x="4904525" y="4959344"/>
              <a:ext cx="738187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xmlns="" id="{EED21BCF-4324-4A2A-8834-AFEF131A4AFF}"/>
                </a:ext>
              </a:extLst>
            </p:cNvPr>
            <p:cNvCxnSpPr/>
            <p:nvPr/>
          </p:nvCxnSpPr>
          <p:spPr>
            <a:xfrm>
              <a:off x="4904525" y="5668728"/>
              <a:ext cx="738187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CBACB319-1A34-0E43-B81E-5DE55CAF099D}"/>
              </a:ext>
            </a:extLst>
          </p:cNvPr>
          <p:cNvSpPr txBox="1"/>
          <p:nvPr/>
        </p:nvSpPr>
        <p:spPr>
          <a:xfrm>
            <a:off x="9675523" y="6555989"/>
            <a:ext cx="132845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b="0" dirty="0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OSI Institute</a:t>
            </a:r>
            <a:endParaRPr lang="en-US" sz="1200" b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29E65E14-927F-46F2-9ABC-B618670931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2" r="27432"/>
          <a:stretch/>
        </p:blipFill>
        <p:spPr>
          <a:xfrm>
            <a:off x="700286" y="1542137"/>
            <a:ext cx="3019903" cy="3835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691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E1446D9-F8CB-4162-A16E-ADD89D2B521B}"/>
              </a:ext>
            </a:extLst>
          </p:cNvPr>
          <p:cNvSpPr/>
          <p:nvPr/>
        </p:nvSpPr>
        <p:spPr>
          <a:xfrm>
            <a:off x="0" y="2127250"/>
            <a:ext cx="12192000" cy="41211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-2543175"/>
            <a:ext cx="11125200" cy="61626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873C830-976B-4D28-B46F-70E14429427B}"/>
              </a:ext>
            </a:extLst>
          </p:cNvPr>
          <p:cNvSpPr/>
          <p:nvPr/>
        </p:nvSpPr>
        <p:spPr>
          <a:xfrm>
            <a:off x="533400" y="2127250"/>
            <a:ext cx="11125200" cy="149225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7D9987DA-5214-4928-8694-A1494247F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942" y="2428875"/>
            <a:ext cx="10268857" cy="889000"/>
          </a:xfrm>
        </p:spPr>
        <p:txBody>
          <a:bodyPr/>
          <a:lstStyle/>
          <a:p>
            <a:r>
              <a:rPr lang="en-US" smtClean="0">
                <a:solidFill>
                  <a:schemeClr val="bg1"/>
                </a:solidFill>
              </a:rPr>
              <a:t>Judul Modul Pembelajara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BDDCCB96-CA62-406C-ADF1-6820248DC468}"/>
              </a:ext>
            </a:extLst>
          </p:cNvPr>
          <p:cNvSpPr txBox="1"/>
          <p:nvPr/>
        </p:nvSpPr>
        <p:spPr>
          <a:xfrm>
            <a:off x="985519" y="4731468"/>
            <a:ext cx="940216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dirty="0">
                <a:solidFill>
                  <a:schemeClr val="bg1"/>
                </a:solidFill>
                <a:cs typeface="Segoe UI Light" panose="020B0502040204020203" pitchFamily="34" charset="0"/>
              </a:rPr>
              <a:t>Lorem ipsum dolor sit amet, consectetur adipiscing elit, sed do eiusmod tempor incididunt ut labore et dolore magna aliqua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7A7EEB47-479E-4E60-8D0F-F9E35224BFE4}"/>
              </a:ext>
            </a:extLst>
          </p:cNvPr>
          <p:cNvSpPr txBox="1"/>
          <p:nvPr/>
        </p:nvSpPr>
        <p:spPr>
          <a:xfrm>
            <a:off x="1084942" y="4217145"/>
            <a:ext cx="23476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</a:pPr>
            <a:r>
              <a:rPr lang="da-DK" sz="14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rPr>
              <a:t>Lorem ipsum d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26E0CDAF-4ED2-4E03-9491-15F7E7489B81}"/>
              </a:ext>
            </a:extLst>
          </p:cNvPr>
          <p:cNvCxnSpPr>
            <a:cxnSpLocks/>
          </p:cNvCxnSpPr>
          <p:nvPr/>
        </p:nvCxnSpPr>
        <p:spPr>
          <a:xfrm>
            <a:off x="985519" y="4577349"/>
            <a:ext cx="295002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CBACB319-1A34-0E43-B81E-5DE55CAF099D}"/>
              </a:ext>
            </a:extLst>
          </p:cNvPr>
          <p:cNvSpPr txBox="1"/>
          <p:nvPr/>
        </p:nvSpPr>
        <p:spPr>
          <a:xfrm>
            <a:off x="9675523" y="6555989"/>
            <a:ext cx="132845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b="0" dirty="0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OSI Institute</a:t>
            </a:r>
            <a:endParaRPr lang="en-US" sz="1200" b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62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FDA9AD-345E-4491-9BF8-05DE36979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Judul Modul Pembelajaran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C4D29B4-FDEC-4696-93F3-A8F14F238E7A}"/>
              </a:ext>
            </a:extLst>
          </p:cNvPr>
          <p:cNvSpPr/>
          <p:nvPr/>
        </p:nvSpPr>
        <p:spPr>
          <a:xfrm>
            <a:off x="533400" y="1811336"/>
            <a:ext cx="5429250" cy="124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2123315-B20F-4804-A648-34D2FB09CB08}"/>
              </a:ext>
            </a:extLst>
          </p:cNvPr>
          <p:cNvSpPr txBox="1"/>
          <p:nvPr/>
        </p:nvSpPr>
        <p:spPr>
          <a:xfrm>
            <a:off x="2041712" y="2254842"/>
            <a:ext cx="3749487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se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do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labore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et dolore magna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liqua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8252F96-C610-4184-BC1C-C5E1EA8602C8}"/>
              </a:ext>
            </a:extLst>
          </p:cNvPr>
          <p:cNvSpPr txBox="1"/>
          <p:nvPr/>
        </p:nvSpPr>
        <p:spPr>
          <a:xfrm>
            <a:off x="2041712" y="1955457"/>
            <a:ext cx="37494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600" b="1" i="0" dirty="0">
                <a:solidFill>
                  <a:schemeClr val="bg1"/>
                </a:solidFill>
                <a:effectLst/>
                <a:latin typeface="+mj-lt"/>
              </a:rPr>
              <a:t>Lorem </a:t>
            </a:r>
            <a:r>
              <a:rPr lang="en-ID" sz="1600" b="1" dirty="0">
                <a:solidFill>
                  <a:schemeClr val="bg1"/>
                </a:solidFill>
                <a:latin typeface="+mj-lt"/>
              </a:rPr>
              <a:t>Ipsum </a:t>
            </a:r>
            <a:r>
              <a:rPr lang="en-ID" sz="1600" b="1" dirty="0" err="1">
                <a:solidFill>
                  <a:schemeClr val="bg1"/>
                </a:solidFill>
                <a:latin typeface="+mj-lt"/>
              </a:rPr>
              <a:t>Dolor</a:t>
            </a:r>
            <a:endParaRPr lang="en-ID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00CBB1C-2FC1-45EE-8FE9-806514EA71F5}"/>
              </a:ext>
            </a:extLst>
          </p:cNvPr>
          <p:cNvSpPr/>
          <p:nvPr/>
        </p:nvSpPr>
        <p:spPr>
          <a:xfrm>
            <a:off x="533400" y="3405187"/>
            <a:ext cx="5429250" cy="124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FF023A5-3D4A-45B7-AB94-D7B52A5D26DB}"/>
              </a:ext>
            </a:extLst>
          </p:cNvPr>
          <p:cNvSpPr txBox="1"/>
          <p:nvPr/>
        </p:nvSpPr>
        <p:spPr>
          <a:xfrm>
            <a:off x="2041712" y="3848693"/>
            <a:ext cx="3749487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se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do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labore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et dolore magna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liqua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A7E65D71-5D46-4492-AC5C-84695E6B157A}"/>
              </a:ext>
            </a:extLst>
          </p:cNvPr>
          <p:cNvSpPr txBox="1"/>
          <p:nvPr/>
        </p:nvSpPr>
        <p:spPr>
          <a:xfrm>
            <a:off x="2041712" y="3549308"/>
            <a:ext cx="37494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600" b="1" i="0" dirty="0">
                <a:solidFill>
                  <a:schemeClr val="bg1"/>
                </a:solidFill>
                <a:effectLst/>
                <a:latin typeface="+mj-lt"/>
              </a:rPr>
              <a:t>Lorem </a:t>
            </a:r>
            <a:r>
              <a:rPr lang="en-ID" sz="1600" b="1" dirty="0">
                <a:solidFill>
                  <a:schemeClr val="bg1"/>
                </a:solidFill>
                <a:latin typeface="+mj-lt"/>
              </a:rPr>
              <a:t>Ipsum </a:t>
            </a:r>
            <a:r>
              <a:rPr lang="en-ID" sz="1600" b="1" dirty="0" err="1">
                <a:solidFill>
                  <a:schemeClr val="bg1"/>
                </a:solidFill>
                <a:latin typeface="+mj-lt"/>
              </a:rPr>
              <a:t>Dolor</a:t>
            </a:r>
            <a:endParaRPr lang="en-ID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DA08BF9-DB9C-4D85-B9C2-1B9ED32E3176}"/>
              </a:ext>
            </a:extLst>
          </p:cNvPr>
          <p:cNvSpPr/>
          <p:nvPr/>
        </p:nvSpPr>
        <p:spPr>
          <a:xfrm>
            <a:off x="533400" y="4999037"/>
            <a:ext cx="5429250" cy="124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495F494-2E95-4799-B318-467A1851B1DA}"/>
              </a:ext>
            </a:extLst>
          </p:cNvPr>
          <p:cNvSpPr txBox="1"/>
          <p:nvPr/>
        </p:nvSpPr>
        <p:spPr>
          <a:xfrm>
            <a:off x="2041712" y="5442543"/>
            <a:ext cx="3749487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se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do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labore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et dolore magna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liqua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C74F43B6-9CB3-4995-819D-639BB4260AEC}"/>
              </a:ext>
            </a:extLst>
          </p:cNvPr>
          <p:cNvSpPr txBox="1"/>
          <p:nvPr/>
        </p:nvSpPr>
        <p:spPr>
          <a:xfrm>
            <a:off x="2041712" y="5143158"/>
            <a:ext cx="37494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600" b="1" i="0" dirty="0">
                <a:solidFill>
                  <a:schemeClr val="bg1"/>
                </a:solidFill>
                <a:effectLst/>
                <a:latin typeface="+mj-lt"/>
              </a:rPr>
              <a:t>Lorem </a:t>
            </a:r>
            <a:r>
              <a:rPr lang="en-ID" sz="1600" b="1" dirty="0">
                <a:solidFill>
                  <a:schemeClr val="bg1"/>
                </a:solidFill>
                <a:latin typeface="+mj-lt"/>
              </a:rPr>
              <a:t>Ipsum </a:t>
            </a:r>
            <a:r>
              <a:rPr lang="en-ID" sz="1600" b="1" dirty="0" err="1">
                <a:solidFill>
                  <a:schemeClr val="bg1"/>
                </a:solidFill>
                <a:latin typeface="+mj-lt"/>
              </a:rPr>
              <a:t>Dolor</a:t>
            </a:r>
            <a:endParaRPr lang="en-ID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8FA4F98C-5742-47E8-A3EA-930B148D88AC}"/>
              </a:ext>
            </a:extLst>
          </p:cNvPr>
          <p:cNvSpPr/>
          <p:nvPr/>
        </p:nvSpPr>
        <p:spPr>
          <a:xfrm>
            <a:off x="6229350" y="1811336"/>
            <a:ext cx="5429250" cy="124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0454F6C0-9AA1-4B54-9F31-1F8E1D27B892}"/>
              </a:ext>
            </a:extLst>
          </p:cNvPr>
          <p:cNvSpPr txBox="1"/>
          <p:nvPr/>
        </p:nvSpPr>
        <p:spPr>
          <a:xfrm>
            <a:off x="7737662" y="2254842"/>
            <a:ext cx="3749487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se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do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labore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et dolore magna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liqua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00E0F258-3AD6-4310-96A5-A96A913E7580}"/>
              </a:ext>
            </a:extLst>
          </p:cNvPr>
          <p:cNvSpPr txBox="1"/>
          <p:nvPr/>
        </p:nvSpPr>
        <p:spPr>
          <a:xfrm>
            <a:off x="7737662" y="1955457"/>
            <a:ext cx="37494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600" b="1" i="0" dirty="0">
                <a:solidFill>
                  <a:schemeClr val="bg1"/>
                </a:solidFill>
                <a:effectLst/>
                <a:latin typeface="+mj-lt"/>
              </a:rPr>
              <a:t>Lorem </a:t>
            </a:r>
            <a:r>
              <a:rPr lang="en-ID" sz="1600" b="1" dirty="0">
                <a:solidFill>
                  <a:schemeClr val="bg1"/>
                </a:solidFill>
                <a:latin typeface="+mj-lt"/>
              </a:rPr>
              <a:t>Ipsum </a:t>
            </a:r>
            <a:r>
              <a:rPr lang="en-ID" sz="1600" b="1" dirty="0" err="1">
                <a:solidFill>
                  <a:schemeClr val="bg1"/>
                </a:solidFill>
                <a:latin typeface="+mj-lt"/>
              </a:rPr>
              <a:t>Dolor</a:t>
            </a:r>
            <a:endParaRPr lang="en-ID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B72600A6-6CB3-4506-A4BB-F2813198660E}"/>
              </a:ext>
            </a:extLst>
          </p:cNvPr>
          <p:cNvSpPr/>
          <p:nvPr/>
        </p:nvSpPr>
        <p:spPr>
          <a:xfrm>
            <a:off x="6229350" y="3405187"/>
            <a:ext cx="5429250" cy="124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EFAA122E-9454-4C93-BF46-A1761150E78D}"/>
              </a:ext>
            </a:extLst>
          </p:cNvPr>
          <p:cNvSpPr txBox="1"/>
          <p:nvPr/>
        </p:nvSpPr>
        <p:spPr>
          <a:xfrm>
            <a:off x="7737662" y="3848693"/>
            <a:ext cx="3749487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se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do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labore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et dolore magna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liqua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0DBB34B9-CDC5-4B72-91EB-5D2CD277D7F1}"/>
              </a:ext>
            </a:extLst>
          </p:cNvPr>
          <p:cNvSpPr txBox="1"/>
          <p:nvPr/>
        </p:nvSpPr>
        <p:spPr>
          <a:xfrm>
            <a:off x="7737662" y="3549308"/>
            <a:ext cx="37494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600" b="1" i="0" dirty="0">
                <a:solidFill>
                  <a:schemeClr val="bg1"/>
                </a:solidFill>
                <a:effectLst/>
                <a:latin typeface="+mj-lt"/>
              </a:rPr>
              <a:t>Lorem </a:t>
            </a:r>
            <a:r>
              <a:rPr lang="en-ID" sz="1600" b="1" dirty="0">
                <a:solidFill>
                  <a:schemeClr val="bg1"/>
                </a:solidFill>
                <a:latin typeface="+mj-lt"/>
              </a:rPr>
              <a:t>Ipsum </a:t>
            </a:r>
            <a:r>
              <a:rPr lang="en-ID" sz="1600" b="1" dirty="0" err="1">
                <a:solidFill>
                  <a:schemeClr val="bg1"/>
                </a:solidFill>
                <a:latin typeface="+mj-lt"/>
              </a:rPr>
              <a:t>Dolor</a:t>
            </a:r>
            <a:endParaRPr lang="en-ID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25B3937-993E-4DF7-BE5A-1795223F2588}"/>
              </a:ext>
            </a:extLst>
          </p:cNvPr>
          <p:cNvSpPr/>
          <p:nvPr/>
        </p:nvSpPr>
        <p:spPr>
          <a:xfrm>
            <a:off x="6229350" y="4999037"/>
            <a:ext cx="5429250" cy="124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2FF707CD-3858-4F43-9EE0-265E69AB3C0D}"/>
              </a:ext>
            </a:extLst>
          </p:cNvPr>
          <p:cNvSpPr txBox="1"/>
          <p:nvPr/>
        </p:nvSpPr>
        <p:spPr>
          <a:xfrm>
            <a:off x="7737662" y="5442543"/>
            <a:ext cx="3749487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400" b="0" i="0" dirty="0">
                <a:solidFill>
                  <a:schemeClr val="bg1"/>
                </a:solidFill>
                <a:effectLst/>
              </a:rPr>
              <a:t>Lorem ipsum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dol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sit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me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consectetu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dipiscing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li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,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se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do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eiusmod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tempor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incididun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ut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labore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 et dolore magna </a:t>
            </a:r>
            <a:r>
              <a:rPr lang="en-ID" sz="1400" b="0" i="0" dirty="0" err="1">
                <a:solidFill>
                  <a:schemeClr val="bg1"/>
                </a:solidFill>
                <a:effectLst/>
              </a:rPr>
              <a:t>aliqua</a:t>
            </a:r>
            <a:r>
              <a:rPr lang="en-ID" sz="1400" b="0" i="0" dirty="0">
                <a:solidFill>
                  <a:schemeClr val="bg1"/>
                </a:solidFill>
                <a:effectLst/>
              </a:rPr>
              <a:t>.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215D1E30-882F-4190-AB75-CAC23375E66F}"/>
              </a:ext>
            </a:extLst>
          </p:cNvPr>
          <p:cNvSpPr txBox="1"/>
          <p:nvPr/>
        </p:nvSpPr>
        <p:spPr>
          <a:xfrm>
            <a:off x="7737662" y="5143158"/>
            <a:ext cx="37494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600" b="1" i="0" dirty="0">
                <a:solidFill>
                  <a:schemeClr val="bg1"/>
                </a:solidFill>
                <a:effectLst/>
                <a:latin typeface="+mj-lt"/>
              </a:rPr>
              <a:t>Lorem </a:t>
            </a:r>
            <a:r>
              <a:rPr lang="en-ID" sz="1600" b="1" dirty="0">
                <a:solidFill>
                  <a:schemeClr val="bg1"/>
                </a:solidFill>
                <a:latin typeface="+mj-lt"/>
              </a:rPr>
              <a:t>Ipsum </a:t>
            </a:r>
            <a:r>
              <a:rPr lang="en-ID" sz="1600" b="1" dirty="0" err="1">
                <a:solidFill>
                  <a:schemeClr val="bg1"/>
                </a:solidFill>
                <a:latin typeface="+mj-lt"/>
              </a:rPr>
              <a:t>Dolor</a:t>
            </a:r>
            <a:endParaRPr lang="en-ID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21136" y="2093220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  <a:endParaRPr lang="en-US" sz="4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704602" y="2082360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2</a:t>
            </a:r>
            <a:endParaRPr lang="en-US" sz="4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21136" y="3721929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  <a:endParaRPr lang="en-US" sz="4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704602" y="3711069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4</a:t>
            </a:r>
            <a:endParaRPr lang="en-US" sz="4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21136" y="5269018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  <a:endParaRPr lang="en-US" sz="4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704602" y="5258158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6</a:t>
            </a:r>
            <a:endParaRPr lang="en-US" sz="4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CBACB319-1A34-0E43-B81E-5DE55CAF099D}"/>
              </a:ext>
            </a:extLst>
          </p:cNvPr>
          <p:cNvSpPr txBox="1"/>
          <p:nvPr/>
        </p:nvSpPr>
        <p:spPr>
          <a:xfrm>
            <a:off x="9675523" y="6555989"/>
            <a:ext cx="132845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b="0" dirty="0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OSI Institute</a:t>
            </a:r>
            <a:endParaRPr lang="en-US" sz="1200" b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826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xmlns="" id="{29E65E14-927F-46F2-9ABC-B618670931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2" r="27432"/>
          <a:stretch/>
        </p:blipFill>
        <p:spPr>
          <a:xfrm>
            <a:off x="700286" y="1542137"/>
            <a:ext cx="3019903" cy="38350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773DAB-D5E5-45FF-BD53-C0ECE691A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Judul Halaman Pembelajaran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CBACB319-1A34-0E43-B81E-5DE55CAF099D}"/>
              </a:ext>
            </a:extLst>
          </p:cNvPr>
          <p:cNvSpPr txBox="1"/>
          <p:nvPr/>
        </p:nvSpPr>
        <p:spPr>
          <a:xfrm>
            <a:off x="9675523" y="6555989"/>
            <a:ext cx="132845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b="0" dirty="0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OSI Institute</a:t>
            </a:r>
            <a:endParaRPr lang="en-US" sz="1200" b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FC4D29B4-FDEC-4696-93F3-A8F14F238E7A}"/>
              </a:ext>
            </a:extLst>
          </p:cNvPr>
          <p:cNvSpPr/>
          <p:nvPr/>
        </p:nvSpPr>
        <p:spPr>
          <a:xfrm>
            <a:off x="4093992" y="1542138"/>
            <a:ext cx="7564608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 smtClean="0">
                <a:solidFill>
                  <a:schemeClr val="tx1"/>
                </a:solidFill>
              </a:rPr>
              <a:t>aliqua</a:t>
            </a:r>
            <a:r>
              <a:rPr lang="en-ID" dirty="0" smtClean="0">
                <a:solidFill>
                  <a:schemeClr val="tx1"/>
                </a:solidFill>
              </a:rPr>
              <a:t>. </a:t>
            </a:r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smtClean="0">
                <a:solidFill>
                  <a:schemeClr val="tx1"/>
                </a:solidFill>
              </a:rPr>
              <a:t> </a:t>
            </a:r>
            <a:r>
              <a:rPr lang="en-ID" dirty="0" err="1" smtClean="0">
                <a:solidFill>
                  <a:schemeClr val="tx1"/>
                </a:solidFill>
              </a:rPr>
              <a:t>Lorem</a:t>
            </a:r>
            <a:r>
              <a:rPr lang="en-ID" dirty="0" smtClean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err="1" smtClean="0">
                <a:solidFill>
                  <a:schemeClr val="tx1"/>
                </a:solidFill>
              </a:rPr>
              <a:t>Lorem</a:t>
            </a:r>
            <a:r>
              <a:rPr lang="en-ID" dirty="0" smtClean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</a:p>
          <a:p>
            <a:endParaRPr lang="en-ID" dirty="0">
              <a:solidFill>
                <a:schemeClr val="tx1"/>
              </a:solidFill>
            </a:endParaRPr>
          </a:p>
          <a:p>
            <a:endParaRPr lang="en-ID" dirty="0">
              <a:solidFill>
                <a:schemeClr val="tx1"/>
              </a:solidFill>
            </a:endParaRPr>
          </a:p>
          <a:p>
            <a:endParaRPr lang="en-ID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11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216800D-70FE-4287-B38D-F01B93EE9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Kontak Pengembang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7AC7427-E852-4E0E-A7E1-F26EA1D0C843}"/>
              </a:ext>
            </a:extLst>
          </p:cNvPr>
          <p:cNvSpPr/>
          <p:nvPr/>
        </p:nvSpPr>
        <p:spPr>
          <a:xfrm>
            <a:off x="533400" y="1862138"/>
            <a:ext cx="3416300" cy="43862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D2216F4-0941-4ADA-8B5D-FC5EF058311A}"/>
              </a:ext>
            </a:extLst>
          </p:cNvPr>
          <p:cNvSpPr txBox="1"/>
          <p:nvPr/>
        </p:nvSpPr>
        <p:spPr>
          <a:xfrm>
            <a:off x="807202" y="4189518"/>
            <a:ext cx="2868696" cy="15081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400" b="0" i="0" dirty="0">
                <a:effectLst/>
              </a:rPr>
              <a:t>Lorem ipsum </a:t>
            </a:r>
            <a:r>
              <a:rPr lang="en-ID" sz="1400" b="0" i="0" dirty="0" err="1">
                <a:effectLst/>
              </a:rPr>
              <a:t>dolor</a:t>
            </a:r>
            <a:r>
              <a:rPr lang="en-ID" sz="1400" b="0" i="0" dirty="0">
                <a:effectLst/>
              </a:rPr>
              <a:t> sit </a:t>
            </a:r>
            <a:r>
              <a:rPr lang="en-ID" sz="1400" b="0" i="0" dirty="0" err="1">
                <a:effectLst/>
              </a:rPr>
              <a:t>amet</a:t>
            </a:r>
            <a:r>
              <a:rPr lang="en-ID" sz="1400" b="0" i="0" dirty="0">
                <a:effectLst/>
              </a:rPr>
              <a:t>, </a:t>
            </a:r>
            <a:r>
              <a:rPr lang="en-ID" sz="1400" b="0" i="0" dirty="0" err="1">
                <a:effectLst/>
              </a:rPr>
              <a:t>consectetur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adipiscing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elit</a:t>
            </a:r>
            <a:r>
              <a:rPr lang="en-ID" sz="1400" b="0" i="0" dirty="0">
                <a:effectLst/>
              </a:rPr>
              <a:t>, </a:t>
            </a:r>
            <a:r>
              <a:rPr lang="en-ID" sz="1400" b="0" i="0" dirty="0" err="1">
                <a:effectLst/>
              </a:rPr>
              <a:t>sed</a:t>
            </a:r>
            <a:r>
              <a:rPr lang="en-ID" sz="1400" b="0" i="0" dirty="0">
                <a:effectLst/>
              </a:rPr>
              <a:t> do </a:t>
            </a:r>
            <a:r>
              <a:rPr lang="en-ID" sz="1400" b="0" i="0" dirty="0" err="1">
                <a:effectLst/>
              </a:rPr>
              <a:t>eiusmod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 smtClean="0">
                <a:effectLst/>
              </a:rPr>
              <a:t>tempor</a:t>
            </a:r>
            <a:r>
              <a:rPr lang="en-ID" sz="1400" b="0" i="0" dirty="0" smtClean="0">
                <a:effectLst/>
              </a:rPr>
              <a:t> </a:t>
            </a:r>
            <a:r>
              <a:rPr lang="en-ID" sz="1400" b="0" i="0" dirty="0" err="1">
                <a:effectLst/>
              </a:rPr>
              <a:t>incididunt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ut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labore</a:t>
            </a:r>
            <a:r>
              <a:rPr lang="en-ID" sz="1400" b="0" i="0" dirty="0">
                <a:effectLst/>
              </a:rPr>
              <a:t> et dolore magna </a:t>
            </a:r>
            <a:r>
              <a:rPr lang="en-ID" sz="1400" b="0" i="0" dirty="0" err="1">
                <a:effectLst/>
              </a:rPr>
              <a:t>aliqua</a:t>
            </a:r>
            <a:r>
              <a:rPr lang="en-ID" sz="1400" b="0" i="0" dirty="0">
                <a:effectLst/>
              </a:rPr>
              <a:t>. Ut </a:t>
            </a:r>
            <a:r>
              <a:rPr lang="en-ID" sz="1400" b="0" i="0" dirty="0" err="1">
                <a:effectLst/>
              </a:rPr>
              <a:t>enim</a:t>
            </a:r>
            <a:r>
              <a:rPr lang="en-ID" sz="1400" b="0" i="0" dirty="0">
                <a:effectLst/>
              </a:rPr>
              <a:t> ad minim </a:t>
            </a:r>
            <a:r>
              <a:rPr lang="en-ID" sz="1400" b="0" i="0" dirty="0" err="1">
                <a:effectLst/>
              </a:rPr>
              <a:t>veniam</a:t>
            </a:r>
            <a:r>
              <a:rPr lang="en-ID" sz="1400" b="0" i="0" dirty="0">
                <a:effectLst/>
              </a:rPr>
              <a:t>, </a:t>
            </a:r>
            <a:r>
              <a:rPr lang="en-ID" sz="1400" b="0" i="0" dirty="0" err="1">
                <a:effectLst/>
              </a:rPr>
              <a:t>quis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nostrud</a:t>
            </a:r>
            <a:r>
              <a:rPr lang="en-ID" sz="1400" b="0" i="0" dirty="0">
                <a:effectLst/>
              </a:rPr>
              <a:t> exercitation </a:t>
            </a:r>
            <a:r>
              <a:rPr lang="en-ID" sz="1400" b="0" i="0" dirty="0" err="1">
                <a:effectLst/>
              </a:rPr>
              <a:t>ullamco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laboris</a:t>
            </a:r>
            <a:r>
              <a:rPr lang="en-ID" sz="1400" b="0" i="0" dirty="0">
                <a:effectLst/>
              </a:rPr>
              <a:t> nisi </a:t>
            </a:r>
            <a:r>
              <a:rPr lang="en-ID" sz="1400" b="0" i="0" dirty="0" err="1">
                <a:effectLst/>
              </a:rPr>
              <a:t>ut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aliquip</a:t>
            </a:r>
            <a:r>
              <a:rPr lang="en-ID" sz="1400" b="0" i="0" dirty="0">
                <a:effectLst/>
              </a:rPr>
              <a:t> ex </a:t>
            </a:r>
            <a:r>
              <a:rPr lang="en-ID" sz="1400" b="0" i="0" dirty="0" err="1">
                <a:effectLst/>
              </a:rPr>
              <a:t>ea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commodo</a:t>
            </a:r>
            <a:r>
              <a:rPr lang="en-ID" sz="1400" b="0" i="0" dirty="0">
                <a:effectLst/>
              </a:rPr>
              <a:t> </a:t>
            </a:r>
            <a:r>
              <a:rPr lang="en-ID" sz="1400" b="0" i="0" dirty="0" err="1">
                <a:effectLst/>
              </a:rPr>
              <a:t>consequat</a:t>
            </a:r>
            <a:r>
              <a:rPr lang="en-ID" sz="1400" b="0" i="0" dirty="0">
                <a:effectLst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2449693-C0D4-4D02-B89D-F1486B17FD44}"/>
              </a:ext>
            </a:extLst>
          </p:cNvPr>
          <p:cNvSpPr txBox="1"/>
          <p:nvPr/>
        </p:nvSpPr>
        <p:spPr>
          <a:xfrm>
            <a:off x="807202" y="3568357"/>
            <a:ext cx="286869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D" sz="1600" b="1" i="0" dirty="0">
                <a:effectLst/>
                <a:latin typeface="+mj-lt"/>
              </a:rPr>
              <a:t>Lorem </a:t>
            </a:r>
            <a:r>
              <a:rPr lang="en-ID" sz="1600" b="1" dirty="0">
                <a:latin typeface="+mj-lt"/>
              </a:rPr>
              <a:t>Ipsum </a:t>
            </a:r>
            <a:r>
              <a:rPr lang="en-ID" sz="1600" b="1" dirty="0" err="1">
                <a:latin typeface="+mj-lt"/>
              </a:rPr>
              <a:t>Dolor</a:t>
            </a:r>
            <a:endParaRPr lang="en-ID" sz="1600" b="1" dirty="0">
              <a:latin typeface="+mj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C715E7B2-3112-4BDF-B232-853CCAE77C52}"/>
              </a:ext>
            </a:extLst>
          </p:cNvPr>
          <p:cNvCxnSpPr>
            <a:cxnSpLocks/>
          </p:cNvCxnSpPr>
          <p:nvPr/>
        </p:nvCxnSpPr>
        <p:spPr>
          <a:xfrm>
            <a:off x="807202" y="3996753"/>
            <a:ext cx="31424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AAD3B5C2-192E-4A0D-9C04-8E82D9FCF9DF}"/>
              </a:ext>
            </a:extLst>
          </p:cNvPr>
          <p:cNvSpPr txBox="1"/>
          <p:nvPr/>
        </p:nvSpPr>
        <p:spPr>
          <a:xfrm>
            <a:off x="2422149" y="2407845"/>
            <a:ext cx="1063625" cy="83099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ID" b="1" i="0" dirty="0">
                <a:solidFill>
                  <a:schemeClr val="accent1"/>
                </a:solidFill>
                <a:effectLst/>
                <a:latin typeface="+mj-lt"/>
              </a:rPr>
              <a:t>Lorem </a:t>
            </a:r>
            <a:r>
              <a:rPr lang="en-ID" b="1" dirty="0">
                <a:solidFill>
                  <a:schemeClr val="accent1"/>
                </a:solidFill>
                <a:latin typeface="+mj-lt"/>
              </a:rPr>
              <a:t>Ipsum</a:t>
            </a:r>
          </a:p>
          <a:p>
            <a:r>
              <a:rPr lang="en-ID" b="1" dirty="0" err="1">
                <a:solidFill>
                  <a:schemeClr val="accent1"/>
                </a:solidFill>
                <a:latin typeface="+mj-lt"/>
              </a:rPr>
              <a:t>Dolor</a:t>
            </a:r>
            <a:r>
              <a:rPr lang="en-ID" b="1" dirty="0">
                <a:solidFill>
                  <a:schemeClr val="accent1"/>
                </a:solidFill>
                <a:latin typeface="+mj-lt"/>
              </a:rPr>
              <a:t> Sit</a:t>
            </a:r>
          </a:p>
        </p:txBody>
      </p:sp>
      <p:pic>
        <p:nvPicPr>
          <p:cNvPr id="82" name="Picture 81" descr="A person wearing a suit and tie&#10;&#10;Description automatically generated">
            <a:extLst>
              <a:ext uri="{FF2B5EF4-FFF2-40B4-BE49-F238E27FC236}">
                <a16:creationId xmlns:a16="http://schemas.microsoft.com/office/drawing/2014/main" xmlns="" id="{8304E840-25DD-45A7-A766-B67DD3EE335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377" r="22530" b="59381"/>
          <a:stretch/>
        </p:blipFill>
        <p:spPr>
          <a:xfrm>
            <a:off x="851911" y="1614259"/>
            <a:ext cx="1434348" cy="1613927"/>
          </a:xfrm>
          <a:custGeom>
            <a:avLst/>
            <a:gdLst>
              <a:gd name="connsiteX0" fmla="*/ 0 w 1434348"/>
              <a:gd name="connsiteY0" fmla="*/ 0 h 1613927"/>
              <a:gd name="connsiteX1" fmla="*/ 1195285 w 1434348"/>
              <a:gd name="connsiteY1" fmla="*/ 0 h 1613927"/>
              <a:gd name="connsiteX2" fmla="*/ 1434348 w 1434348"/>
              <a:gd name="connsiteY2" fmla="*/ 239063 h 1613927"/>
              <a:gd name="connsiteX3" fmla="*/ 1434348 w 1434348"/>
              <a:gd name="connsiteY3" fmla="*/ 1613927 h 1613927"/>
              <a:gd name="connsiteX4" fmla="*/ 0 w 1434348"/>
              <a:gd name="connsiteY4" fmla="*/ 1613927 h 1613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4348" h="1613927">
                <a:moveTo>
                  <a:pt x="0" y="0"/>
                </a:moveTo>
                <a:lnTo>
                  <a:pt x="1195285" y="0"/>
                </a:lnTo>
                <a:lnTo>
                  <a:pt x="1434348" y="239063"/>
                </a:lnTo>
                <a:lnTo>
                  <a:pt x="1434348" y="1613927"/>
                </a:lnTo>
                <a:lnTo>
                  <a:pt x="0" y="1613927"/>
                </a:lnTo>
                <a:close/>
              </a:path>
            </a:pathLst>
          </a:cu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FC4D29B4-FDEC-4696-93F3-A8F14F238E7A}"/>
              </a:ext>
            </a:extLst>
          </p:cNvPr>
          <p:cNvSpPr/>
          <p:nvPr/>
        </p:nvSpPr>
        <p:spPr>
          <a:xfrm>
            <a:off x="4221480" y="1542138"/>
            <a:ext cx="743712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 smtClean="0">
                <a:solidFill>
                  <a:schemeClr val="tx1"/>
                </a:solidFill>
              </a:rPr>
              <a:t>aliqua</a:t>
            </a:r>
            <a:r>
              <a:rPr lang="en-ID" dirty="0" smtClean="0">
                <a:solidFill>
                  <a:schemeClr val="tx1"/>
                </a:solidFill>
              </a:rPr>
              <a:t>. </a:t>
            </a:r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smtClean="0">
                <a:solidFill>
                  <a:schemeClr val="tx1"/>
                </a:solidFill>
              </a:rPr>
              <a:t> </a:t>
            </a:r>
            <a:r>
              <a:rPr lang="en-ID" dirty="0" err="1" smtClean="0">
                <a:solidFill>
                  <a:schemeClr val="tx1"/>
                </a:solidFill>
              </a:rPr>
              <a:t>Lorem</a:t>
            </a:r>
            <a:r>
              <a:rPr lang="en-ID" dirty="0" smtClean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err="1">
                <a:solidFill>
                  <a:schemeClr val="tx1"/>
                </a:solidFill>
              </a:rPr>
              <a:t>Lore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  <a:r>
              <a:rPr lang="en-ID" dirty="0" err="1" smtClean="0">
                <a:solidFill>
                  <a:schemeClr val="tx1"/>
                </a:solidFill>
              </a:rPr>
              <a:t>Lorem</a:t>
            </a:r>
            <a:r>
              <a:rPr lang="en-ID" dirty="0" smtClean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psum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dolor</a:t>
            </a:r>
            <a:r>
              <a:rPr lang="en-ID" dirty="0">
                <a:solidFill>
                  <a:schemeClr val="tx1"/>
                </a:solidFill>
              </a:rPr>
              <a:t> sit </a:t>
            </a:r>
            <a:r>
              <a:rPr lang="en-ID" dirty="0" err="1">
                <a:solidFill>
                  <a:schemeClr val="tx1"/>
                </a:solidFill>
              </a:rPr>
              <a:t>ame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consectetu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adipiscing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elit</a:t>
            </a:r>
            <a:r>
              <a:rPr lang="en-ID" dirty="0">
                <a:solidFill>
                  <a:schemeClr val="tx1"/>
                </a:solidFill>
              </a:rPr>
              <a:t>, </a:t>
            </a:r>
            <a:r>
              <a:rPr lang="en-ID" dirty="0" err="1">
                <a:solidFill>
                  <a:schemeClr val="tx1"/>
                </a:solidFill>
              </a:rPr>
              <a:t>sed</a:t>
            </a:r>
            <a:r>
              <a:rPr lang="en-ID" dirty="0">
                <a:solidFill>
                  <a:schemeClr val="tx1"/>
                </a:solidFill>
              </a:rPr>
              <a:t> do </a:t>
            </a:r>
            <a:r>
              <a:rPr lang="en-ID" dirty="0" err="1">
                <a:solidFill>
                  <a:schemeClr val="tx1"/>
                </a:solidFill>
              </a:rPr>
              <a:t>eiusmod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tempor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incididun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ut</a:t>
            </a:r>
            <a:r>
              <a:rPr lang="en-ID" dirty="0">
                <a:solidFill>
                  <a:schemeClr val="tx1"/>
                </a:solidFill>
              </a:rPr>
              <a:t> </a:t>
            </a:r>
            <a:r>
              <a:rPr lang="en-ID" dirty="0" err="1">
                <a:solidFill>
                  <a:schemeClr val="tx1"/>
                </a:solidFill>
              </a:rPr>
              <a:t>labore</a:t>
            </a:r>
            <a:r>
              <a:rPr lang="en-ID" dirty="0">
                <a:solidFill>
                  <a:schemeClr val="tx1"/>
                </a:solidFill>
              </a:rPr>
              <a:t> et </a:t>
            </a:r>
            <a:r>
              <a:rPr lang="en-ID" dirty="0" err="1">
                <a:solidFill>
                  <a:schemeClr val="tx1"/>
                </a:solidFill>
              </a:rPr>
              <a:t>dolore</a:t>
            </a:r>
            <a:r>
              <a:rPr lang="en-ID" dirty="0">
                <a:solidFill>
                  <a:schemeClr val="tx1"/>
                </a:solidFill>
              </a:rPr>
              <a:t> magna </a:t>
            </a:r>
            <a:r>
              <a:rPr lang="en-ID" dirty="0" err="1">
                <a:solidFill>
                  <a:schemeClr val="tx1"/>
                </a:solidFill>
              </a:rPr>
              <a:t>aliqua</a:t>
            </a:r>
            <a:r>
              <a:rPr lang="en-ID" dirty="0">
                <a:solidFill>
                  <a:schemeClr val="tx1"/>
                </a:solidFill>
              </a:rPr>
              <a:t>. </a:t>
            </a:r>
          </a:p>
          <a:p>
            <a:endParaRPr lang="en-ID" dirty="0">
              <a:solidFill>
                <a:schemeClr val="tx1"/>
              </a:solidFill>
            </a:endParaRPr>
          </a:p>
          <a:p>
            <a:endParaRPr lang="en-ID" dirty="0">
              <a:solidFill>
                <a:schemeClr val="tx1"/>
              </a:solidFill>
            </a:endParaRPr>
          </a:p>
          <a:p>
            <a:endParaRPr lang="en-ID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CBACB319-1A34-0E43-B81E-5DE55CAF099D}"/>
              </a:ext>
            </a:extLst>
          </p:cNvPr>
          <p:cNvSpPr txBox="1"/>
          <p:nvPr/>
        </p:nvSpPr>
        <p:spPr>
          <a:xfrm>
            <a:off x="9675523" y="6555989"/>
            <a:ext cx="132845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b="0" dirty="0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OSI Institute</a:t>
            </a:r>
            <a:endParaRPr lang="en-US" sz="1200" b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612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rma libre 254">
            <a:extLst>
              <a:ext uri="{FF2B5EF4-FFF2-40B4-BE49-F238E27FC236}">
                <a16:creationId xmlns:a16="http://schemas.microsoft.com/office/drawing/2014/main" xmlns="" id="{641740E4-12CC-2E42-BCD9-8F4772D3A737}"/>
              </a:ext>
            </a:extLst>
          </p:cNvPr>
          <p:cNvSpPr/>
          <p:nvPr/>
        </p:nvSpPr>
        <p:spPr>
          <a:xfrm>
            <a:off x="8803178" y="5940311"/>
            <a:ext cx="289670" cy="355095"/>
          </a:xfrm>
          <a:custGeom>
            <a:avLst/>
            <a:gdLst>
              <a:gd name="connsiteX0" fmla="*/ 5543902 w 5594443"/>
              <a:gd name="connsiteY0" fmla="*/ 5429018 h 6858000"/>
              <a:gd name="connsiteX1" fmla="*/ 5534975 w 5594443"/>
              <a:gd name="connsiteY1" fmla="*/ 5411154 h 6858000"/>
              <a:gd name="connsiteX2" fmla="*/ 4982818 w 5594443"/>
              <a:gd name="connsiteY2" fmla="*/ 2981655 h 6858000"/>
              <a:gd name="connsiteX3" fmla="*/ 4982818 w 5594443"/>
              <a:gd name="connsiteY3" fmla="*/ 2955670 h 6858000"/>
              <a:gd name="connsiteX4" fmla="*/ 3807857 w 5594443"/>
              <a:gd name="connsiteY4" fmla="*/ 1052351 h 6858000"/>
              <a:gd name="connsiteX5" fmla="*/ 3807857 w 5594443"/>
              <a:gd name="connsiteY5" fmla="*/ 648791 h 6858000"/>
              <a:gd name="connsiteX6" fmla="*/ 3159057 w 5594443"/>
              <a:gd name="connsiteY6" fmla="*/ 0 h 6858000"/>
              <a:gd name="connsiteX7" fmla="*/ 2545189 w 5594443"/>
              <a:gd name="connsiteY7" fmla="*/ 0 h 6858000"/>
              <a:gd name="connsiteX8" fmla="*/ 1896398 w 5594443"/>
              <a:gd name="connsiteY8" fmla="*/ 648791 h 6858000"/>
              <a:gd name="connsiteX9" fmla="*/ 1896398 w 5594443"/>
              <a:gd name="connsiteY9" fmla="*/ 1008501 h 6858000"/>
              <a:gd name="connsiteX10" fmla="*/ 624811 w 5594443"/>
              <a:gd name="connsiteY10" fmla="*/ 2981655 h 6858000"/>
              <a:gd name="connsiteX11" fmla="*/ 72655 w 5594443"/>
              <a:gd name="connsiteY11" fmla="*/ 5411154 h 6858000"/>
              <a:gd name="connsiteX12" fmla="*/ 63728 w 5594443"/>
              <a:gd name="connsiteY12" fmla="*/ 5420091 h 6858000"/>
              <a:gd name="connsiteX13" fmla="*/ 54801 w 5594443"/>
              <a:gd name="connsiteY13" fmla="*/ 5876436 h 6858000"/>
              <a:gd name="connsiteX14" fmla="*/ 458360 w 5594443"/>
              <a:gd name="connsiteY14" fmla="*/ 6077809 h 6858000"/>
              <a:gd name="connsiteX15" fmla="*/ 1940256 w 5594443"/>
              <a:gd name="connsiteY15" fmla="*/ 6077809 h 6858000"/>
              <a:gd name="connsiteX16" fmla="*/ 2799347 w 5594443"/>
              <a:gd name="connsiteY16" fmla="*/ 6858138 h 6858000"/>
              <a:gd name="connsiteX17" fmla="*/ 3658437 w 5594443"/>
              <a:gd name="connsiteY17" fmla="*/ 6077809 h 6858000"/>
              <a:gd name="connsiteX18" fmla="*/ 5140333 w 5594443"/>
              <a:gd name="connsiteY18" fmla="*/ 6077809 h 6858000"/>
              <a:gd name="connsiteX19" fmla="*/ 5149269 w 5594443"/>
              <a:gd name="connsiteY19" fmla="*/ 6077809 h 6858000"/>
              <a:gd name="connsiteX20" fmla="*/ 5543902 w 5594443"/>
              <a:gd name="connsiteY20" fmla="*/ 5876436 h 6858000"/>
              <a:gd name="connsiteX21" fmla="*/ 5543902 w 5594443"/>
              <a:gd name="connsiteY21" fmla="*/ 5429018 h 6858000"/>
              <a:gd name="connsiteX22" fmla="*/ 2228512 w 5594443"/>
              <a:gd name="connsiteY22" fmla="*/ 640669 h 6858000"/>
              <a:gd name="connsiteX23" fmla="*/ 2553310 w 5594443"/>
              <a:gd name="connsiteY23" fmla="*/ 315871 h 6858000"/>
              <a:gd name="connsiteX24" fmla="*/ 3158252 w 5594443"/>
              <a:gd name="connsiteY24" fmla="*/ 315871 h 6858000"/>
              <a:gd name="connsiteX25" fmla="*/ 3483050 w 5594443"/>
              <a:gd name="connsiteY25" fmla="*/ 640669 h 6858000"/>
              <a:gd name="connsiteX26" fmla="*/ 3483050 w 5594443"/>
              <a:gd name="connsiteY26" fmla="*/ 912691 h 6858000"/>
              <a:gd name="connsiteX27" fmla="*/ 3150130 w 5594443"/>
              <a:gd name="connsiteY27" fmla="*/ 833929 h 6858000"/>
              <a:gd name="connsiteX28" fmla="*/ 3150130 w 5594443"/>
              <a:gd name="connsiteY28" fmla="*/ 833929 h 6858000"/>
              <a:gd name="connsiteX29" fmla="*/ 2992607 w 5594443"/>
              <a:gd name="connsiteY29" fmla="*/ 816065 h 6858000"/>
              <a:gd name="connsiteX30" fmla="*/ 2957694 w 5594443"/>
              <a:gd name="connsiteY30" fmla="*/ 816065 h 6858000"/>
              <a:gd name="connsiteX31" fmla="*/ 2808283 w 5594443"/>
              <a:gd name="connsiteY31" fmla="*/ 807129 h 6858000"/>
              <a:gd name="connsiteX32" fmla="*/ 2676736 w 5594443"/>
              <a:gd name="connsiteY32" fmla="*/ 816065 h 6858000"/>
              <a:gd name="connsiteX33" fmla="*/ 2641823 w 5594443"/>
              <a:gd name="connsiteY33" fmla="*/ 816065 h 6858000"/>
              <a:gd name="connsiteX34" fmla="*/ 2528140 w 5594443"/>
              <a:gd name="connsiteY34" fmla="*/ 825002 h 6858000"/>
              <a:gd name="connsiteX35" fmla="*/ 2510276 w 5594443"/>
              <a:gd name="connsiteY35" fmla="*/ 825002 h 6858000"/>
              <a:gd name="connsiteX36" fmla="*/ 2229327 w 5594443"/>
              <a:gd name="connsiteY36" fmla="*/ 886715 h 6858000"/>
              <a:gd name="connsiteX37" fmla="*/ 2228512 w 5594443"/>
              <a:gd name="connsiteY37" fmla="*/ 640669 h 6858000"/>
              <a:gd name="connsiteX38" fmla="*/ 2228512 w 5594443"/>
              <a:gd name="connsiteY38" fmla="*/ 640669 h 6858000"/>
              <a:gd name="connsiteX39" fmla="*/ 2807468 w 5594443"/>
              <a:gd name="connsiteY39" fmla="*/ 6533339 h 6858000"/>
              <a:gd name="connsiteX40" fmla="*/ 2272361 w 5594443"/>
              <a:gd name="connsiteY40" fmla="*/ 6076994 h 6858000"/>
              <a:gd name="connsiteX41" fmla="*/ 3342575 w 5594443"/>
              <a:gd name="connsiteY41" fmla="*/ 6076994 h 6858000"/>
              <a:gd name="connsiteX42" fmla="*/ 2807468 w 5594443"/>
              <a:gd name="connsiteY42" fmla="*/ 6533339 h 6858000"/>
              <a:gd name="connsiteX43" fmla="*/ 5280817 w 5594443"/>
              <a:gd name="connsiteY43" fmla="*/ 5709162 h 6858000"/>
              <a:gd name="connsiteX44" fmla="*/ 5149269 w 5594443"/>
              <a:gd name="connsiteY44" fmla="*/ 5753011 h 6858000"/>
              <a:gd name="connsiteX45" fmla="*/ 3509035 w 5594443"/>
              <a:gd name="connsiteY45" fmla="*/ 5753011 h 6858000"/>
              <a:gd name="connsiteX46" fmla="*/ 3509035 w 5594443"/>
              <a:gd name="connsiteY46" fmla="*/ 5753011 h 6858000"/>
              <a:gd name="connsiteX47" fmla="*/ 2105901 w 5594443"/>
              <a:gd name="connsiteY47" fmla="*/ 5753011 h 6858000"/>
              <a:gd name="connsiteX48" fmla="*/ 2105901 w 5594443"/>
              <a:gd name="connsiteY48" fmla="*/ 5753011 h 6858000"/>
              <a:gd name="connsiteX49" fmla="*/ 474594 w 5594443"/>
              <a:gd name="connsiteY49" fmla="*/ 5753011 h 6858000"/>
              <a:gd name="connsiteX50" fmla="*/ 334120 w 5594443"/>
              <a:gd name="connsiteY50" fmla="*/ 5709162 h 6858000"/>
              <a:gd name="connsiteX51" fmla="*/ 360105 w 5594443"/>
              <a:gd name="connsiteY51" fmla="*/ 5559751 h 6858000"/>
              <a:gd name="connsiteX52" fmla="*/ 956110 w 5594443"/>
              <a:gd name="connsiteY52" fmla="*/ 2981655 h 6858000"/>
              <a:gd name="connsiteX53" fmla="*/ 2122144 w 5594443"/>
              <a:gd name="connsiteY53" fmla="*/ 1262650 h 6858000"/>
              <a:gd name="connsiteX54" fmla="*/ 2131072 w 5594443"/>
              <a:gd name="connsiteY54" fmla="*/ 1262650 h 6858000"/>
              <a:gd name="connsiteX55" fmla="*/ 2858624 w 5594443"/>
              <a:gd name="connsiteY55" fmla="*/ 1131103 h 6858000"/>
              <a:gd name="connsiteX56" fmla="*/ 2858624 w 5594443"/>
              <a:gd name="connsiteY56" fmla="*/ 1131103 h 6858000"/>
              <a:gd name="connsiteX57" fmla="*/ 3578055 w 5594443"/>
              <a:gd name="connsiteY57" fmla="*/ 1297563 h 6858000"/>
              <a:gd name="connsiteX58" fmla="*/ 3586982 w 5594443"/>
              <a:gd name="connsiteY58" fmla="*/ 1297563 h 6858000"/>
              <a:gd name="connsiteX59" fmla="*/ 4666939 w 5594443"/>
              <a:gd name="connsiteY59" fmla="*/ 2981646 h 6858000"/>
              <a:gd name="connsiteX60" fmla="*/ 4666939 w 5594443"/>
              <a:gd name="connsiteY60" fmla="*/ 3007632 h 6858000"/>
              <a:gd name="connsiteX61" fmla="*/ 5254822 w 5594443"/>
              <a:gd name="connsiteY61" fmla="*/ 5559742 h 6858000"/>
              <a:gd name="connsiteX62" fmla="*/ 5280817 w 5594443"/>
              <a:gd name="connsiteY62" fmla="*/ 5709162 h 6858000"/>
              <a:gd name="connsiteX63" fmla="*/ 2403899 w 5594443"/>
              <a:gd name="connsiteY63" fmla="*/ 1877343 h 6858000"/>
              <a:gd name="connsiteX64" fmla="*/ 2351123 w 5594443"/>
              <a:gd name="connsiteY64" fmla="*/ 2096580 h 6858000"/>
              <a:gd name="connsiteX65" fmla="*/ 1850928 w 5594443"/>
              <a:gd name="connsiteY65" fmla="*/ 3148930 h 6858000"/>
              <a:gd name="connsiteX66" fmla="*/ 1728317 w 5594443"/>
              <a:gd name="connsiteY66" fmla="*/ 4446502 h 6858000"/>
              <a:gd name="connsiteX67" fmla="*/ 1570794 w 5594443"/>
              <a:gd name="connsiteY67" fmla="*/ 4578049 h 6858000"/>
              <a:gd name="connsiteX68" fmla="*/ 1535881 w 5594443"/>
              <a:gd name="connsiteY68" fmla="*/ 4578049 h 6858000"/>
              <a:gd name="connsiteX69" fmla="*/ 1413271 w 5594443"/>
              <a:gd name="connsiteY69" fmla="*/ 4384799 h 6858000"/>
              <a:gd name="connsiteX70" fmla="*/ 1526954 w 5594443"/>
              <a:gd name="connsiteY70" fmla="*/ 3157061 h 6858000"/>
              <a:gd name="connsiteX71" fmla="*/ 1526954 w 5594443"/>
              <a:gd name="connsiteY71" fmla="*/ 3148134 h 6858000"/>
              <a:gd name="connsiteX72" fmla="*/ 2184672 w 5594443"/>
              <a:gd name="connsiteY72" fmla="*/ 1823761 h 6858000"/>
              <a:gd name="connsiteX73" fmla="*/ 2403899 w 5594443"/>
              <a:gd name="connsiteY73" fmla="*/ 1877343 h 6858000"/>
              <a:gd name="connsiteX74" fmla="*/ 1570794 w 5594443"/>
              <a:gd name="connsiteY74" fmla="*/ 5025458 h 6858000"/>
              <a:gd name="connsiteX75" fmla="*/ 1395407 w 5594443"/>
              <a:gd name="connsiteY75" fmla="*/ 5200846 h 6858000"/>
              <a:gd name="connsiteX76" fmla="*/ 1220020 w 5594443"/>
              <a:gd name="connsiteY76" fmla="*/ 5025458 h 6858000"/>
              <a:gd name="connsiteX77" fmla="*/ 1395407 w 5594443"/>
              <a:gd name="connsiteY77" fmla="*/ 4850071 h 6858000"/>
              <a:gd name="connsiteX78" fmla="*/ 1570794 w 5594443"/>
              <a:gd name="connsiteY78" fmla="*/ 50254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5594443" h="6858000">
                <a:moveTo>
                  <a:pt x="5543902" y="5429018"/>
                </a:moveTo>
                <a:cubicBezTo>
                  <a:pt x="5543902" y="5420091"/>
                  <a:pt x="5534975" y="5411154"/>
                  <a:pt x="5534975" y="5411154"/>
                </a:cubicBezTo>
                <a:cubicBezTo>
                  <a:pt x="4990940" y="4428638"/>
                  <a:pt x="4982818" y="2999519"/>
                  <a:pt x="4982818" y="2981655"/>
                </a:cubicBezTo>
                <a:cubicBezTo>
                  <a:pt x="4982818" y="2972719"/>
                  <a:pt x="4982818" y="2963791"/>
                  <a:pt x="4982818" y="2955670"/>
                </a:cubicBezTo>
                <a:cubicBezTo>
                  <a:pt x="4973891" y="2131492"/>
                  <a:pt x="4500488" y="1412061"/>
                  <a:pt x="3807857" y="1052351"/>
                </a:cubicBezTo>
                <a:lnTo>
                  <a:pt x="3807857" y="648791"/>
                </a:lnTo>
                <a:cubicBezTo>
                  <a:pt x="3807848" y="289071"/>
                  <a:pt x="3518777" y="0"/>
                  <a:pt x="3159057" y="0"/>
                </a:cubicBezTo>
                <a:lnTo>
                  <a:pt x="2545189" y="0"/>
                </a:lnTo>
                <a:cubicBezTo>
                  <a:pt x="2185478" y="0"/>
                  <a:pt x="1896398" y="289071"/>
                  <a:pt x="1896398" y="648791"/>
                </a:cubicBezTo>
                <a:lnTo>
                  <a:pt x="1896398" y="1008501"/>
                </a:lnTo>
                <a:cubicBezTo>
                  <a:pt x="1150982" y="1350349"/>
                  <a:pt x="624811" y="2104701"/>
                  <a:pt x="624811" y="2981655"/>
                </a:cubicBezTo>
                <a:cubicBezTo>
                  <a:pt x="624811" y="2999519"/>
                  <a:pt x="615884" y="4437566"/>
                  <a:pt x="72655" y="5411154"/>
                </a:cubicBezTo>
                <a:lnTo>
                  <a:pt x="63728" y="5420091"/>
                </a:lnTo>
                <a:cubicBezTo>
                  <a:pt x="-15034" y="5604415"/>
                  <a:pt x="-23970" y="5753011"/>
                  <a:pt x="54801" y="5876436"/>
                </a:cubicBezTo>
                <a:cubicBezTo>
                  <a:pt x="124635" y="5999047"/>
                  <a:pt x="265110" y="6060760"/>
                  <a:pt x="458360" y="6077809"/>
                </a:cubicBezTo>
                <a:lnTo>
                  <a:pt x="1940256" y="6077809"/>
                </a:lnTo>
                <a:cubicBezTo>
                  <a:pt x="1984105" y="6516290"/>
                  <a:pt x="2352753" y="6858138"/>
                  <a:pt x="2799347" y="6858138"/>
                </a:cubicBezTo>
                <a:cubicBezTo>
                  <a:pt x="3246756" y="6858138"/>
                  <a:pt x="3614597" y="6516290"/>
                  <a:pt x="3658437" y="6077809"/>
                </a:cubicBezTo>
                <a:lnTo>
                  <a:pt x="5140333" y="6077809"/>
                </a:lnTo>
                <a:lnTo>
                  <a:pt x="5149269" y="6077809"/>
                </a:lnTo>
                <a:cubicBezTo>
                  <a:pt x="5333593" y="6068872"/>
                  <a:pt x="5474068" y="5999047"/>
                  <a:pt x="5543902" y="5876436"/>
                </a:cubicBezTo>
                <a:cubicBezTo>
                  <a:pt x="5622664" y="5753011"/>
                  <a:pt x="5622664" y="5604415"/>
                  <a:pt x="5543902" y="5429018"/>
                </a:cubicBezTo>
                <a:close/>
                <a:moveTo>
                  <a:pt x="2228512" y="640669"/>
                </a:moveTo>
                <a:cubicBezTo>
                  <a:pt x="2228512" y="465282"/>
                  <a:pt x="2368987" y="315871"/>
                  <a:pt x="2553310" y="315871"/>
                </a:cubicBezTo>
                <a:lnTo>
                  <a:pt x="3158252" y="315871"/>
                </a:lnTo>
                <a:cubicBezTo>
                  <a:pt x="3333648" y="315871"/>
                  <a:pt x="3483050" y="456345"/>
                  <a:pt x="3483050" y="640669"/>
                </a:cubicBezTo>
                <a:lnTo>
                  <a:pt x="3483050" y="912691"/>
                </a:lnTo>
                <a:cubicBezTo>
                  <a:pt x="3377488" y="877778"/>
                  <a:pt x="3263814" y="850978"/>
                  <a:pt x="3150130" y="833929"/>
                </a:cubicBezTo>
                <a:lnTo>
                  <a:pt x="3150130" y="833929"/>
                </a:lnTo>
                <a:cubicBezTo>
                  <a:pt x="3097354" y="824993"/>
                  <a:pt x="3044568" y="816065"/>
                  <a:pt x="2992607" y="816065"/>
                </a:cubicBezTo>
                <a:cubicBezTo>
                  <a:pt x="2983679" y="816065"/>
                  <a:pt x="2974743" y="816065"/>
                  <a:pt x="2957694" y="816065"/>
                </a:cubicBezTo>
                <a:cubicBezTo>
                  <a:pt x="2913845" y="807129"/>
                  <a:pt x="2861069" y="807129"/>
                  <a:pt x="2808283" y="807129"/>
                </a:cubicBezTo>
                <a:cubicBezTo>
                  <a:pt x="2764434" y="807129"/>
                  <a:pt x="2720585" y="807129"/>
                  <a:pt x="2676736" y="816065"/>
                </a:cubicBezTo>
                <a:cubicBezTo>
                  <a:pt x="2667808" y="816065"/>
                  <a:pt x="2658872" y="816065"/>
                  <a:pt x="2641823" y="816065"/>
                </a:cubicBezTo>
                <a:cubicBezTo>
                  <a:pt x="2606910" y="816065"/>
                  <a:pt x="2563061" y="825002"/>
                  <a:pt x="2528140" y="825002"/>
                </a:cubicBezTo>
                <a:cubicBezTo>
                  <a:pt x="2519212" y="825002"/>
                  <a:pt x="2519212" y="825002"/>
                  <a:pt x="2510276" y="825002"/>
                </a:cubicBezTo>
                <a:cubicBezTo>
                  <a:pt x="2413650" y="842866"/>
                  <a:pt x="2317016" y="859914"/>
                  <a:pt x="2229327" y="886715"/>
                </a:cubicBezTo>
                <a:lnTo>
                  <a:pt x="2228512" y="640669"/>
                </a:lnTo>
                <a:lnTo>
                  <a:pt x="2228512" y="640669"/>
                </a:lnTo>
                <a:close/>
                <a:moveTo>
                  <a:pt x="2807468" y="6533339"/>
                </a:moveTo>
                <a:cubicBezTo>
                  <a:pt x="2535446" y="6533339"/>
                  <a:pt x="2316210" y="6331967"/>
                  <a:pt x="2272361" y="6076994"/>
                </a:cubicBezTo>
                <a:lnTo>
                  <a:pt x="3342575" y="6076994"/>
                </a:lnTo>
                <a:cubicBezTo>
                  <a:pt x="3298726" y="6331967"/>
                  <a:pt x="3079481" y="6533339"/>
                  <a:pt x="2807468" y="6533339"/>
                </a:cubicBezTo>
                <a:close/>
                <a:moveTo>
                  <a:pt x="5280817" y="5709162"/>
                </a:moveTo>
                <a:cubicBezTo>
                  <a:pt x="5271880" y="5727025"/>
                  <a:pt x="5228040" y="5744074"/>
                  <a:pt x="5149269" y="5753011"/>
                </a:cubicBezTo>
                <a:lnTo>
                  <a:pt x="3509035" y="5753011"/>
                </a:lnTo>
                <a:lnTo>
                  <a:pt x="3509035" y="5753011"/>
                </a:lnTo>
                <a:lnTo>
                  <a:pt x="2105901" y="5753011"/>
                </a:lnTo>
                <a:lnTo>
                  <a:pt x="2105901" y="5753011"/>
                </a:lnTo>
                <a:lnTo>
                  <a:pt x="474594" y="5753011"/>
                </a:lnTo>
                <a:cubicBezTo>
                  <a:pt x="386896" y="5744084"/>
                  <a:pt x="343047" y="5727025"/>
                  <a:pt x="334120" y="5709162"/>
                </a:cubicBezTo>
                <a:cubicBezTo>
                  <a:pt x="325193" y="5691298"/>
                  <a:pt x="325193" y="5647449"/>
                  <a:pt x="360105" y="5559751"/>
                </a:cubicBezTo>
                <a:cubicBezTo>
                  <a:pt x="939061" y="4507400"/>
                  <a:pt x="956110" y="3042553"/>
                  <a:pt x="956110" y="2981655"/>
                </a:cubicBezTo>
                <a:cubicBezTo>
                  <a:pt x="956110" y="2201327"/>
                  <a:pt x="1438441" y="1534672"/>
                  <a:pt x="2122144" y="1262650"/>
                </a:cubicBezTo>
                <a:cubicBezTo>
                  <a:pt x="2122144" y="1262650"/>
                  <a:pt x="2122144" y="1262650"/>
                  <a:pt x="2131072" y="1262650"/>
                </a:cubicBezTo>
                <a:cubicBezTo>
                  <a:pt x="2368172" y="1166025"/>
                  <a:pt x="2613402" y="1131103"/>
                  <a:pt x="2858624" y="1131103"/>
                </a:cubicBezTo>
                <a:lnTo>
                  <a:pt x="2858624" y="1131103"/>
                </a:lnTo>
                <a:cubicBezTo>
                  <a:pt x="3103845" y="1140040"/>
                  <a:pt x="3349882" y="1192816"/>
                  <a:pt x="3578055" y="1297563"/>
                </a:cubicBezTo>
                <a:cubicBezTo>
                  <a:pt x="3578055" y="1297563"/>
                  <a:pt x="3578055" y="1297563"/>
                  <a:pt x="3586982" y="1297563"/>
                </a:cubicBezTo>
                <a:cubicBezTo>
                  <a:pt x="4228457" y="1587448"/>
                  <a:pt x="4666939" y="2236230"/>
                  <a:pt x="4666939" y="2981646"/>
                </a:cubicBezTo>
                <a:cubicBezTo>
                  <a:pt x="4666939" y="2990583"/>
                  <a:pt x="4666939" y="2999510"/>
                  <a:pt x="4666939" y="3007632"/>
                </a:cubicBezTo>
                <a:cubicBezTo>
                  <a:pt x="4666939" y="3226868"/>
                  <a:pt x="4710788" y="4568289"/>
                  <a:pt x="5254822" y="5559742"/>
                </a:cubicBezTo>
                <a:cubicBezTo>
                  <a:pt x="5288929" y="5648264"/>
                  <a:pt x="5288929" y="5692113"/>
                  <a:pt x="5280817" y="5709162"/>
                </a:cubicBezTo>
                <a:close/>
                <a:moveTo>
                  <a:pt x="2403899" y="1877343"/>
                </a:moveTo>
                <a:cubicBezTo>
                  <a:pt x="2447748" y="1956105"/>
                  <a:pt x="2429885" y="2052730"/>
                  <a:pt x="2351123" y="2096580"/>
                </a:cubicBezTo>
                <a:cubicBezTo>
                  <a:pt x="2333259" y="2114443"/>
                  <a:pt x="1877728" y="2412450"/>
                  <a:pt x="1850928" y="3148930"/>
                </a:cubicBezTo>
                <a:cubicBezTo>
                  <a:pt x="1850928" y="3218764"/>
                  <a:pt x="1868792" y="3788784"/>
                  <a:pt x="1728317" y="4446502"/>
                </a:cubicBezTo>
                <a:cubicBezTo>
                  <a:pt x="1710454" y="4525264"/>
                  <a:pt x="1649556" y="4578049"/>
                  <a:pt x="1570794" y="4578049"/>
                </a:cubicBezTo>
                <a:cubicBezTo>
                  <a:pt x="1561867" y="4578049"/>
                  <a:pt x="1552930" y="4578049"/>
                  <a:pt x="1535881" y="4578049"/>
                </a:cubicBezTo>
                <a:cubicBezTo>
                  <a:pt x="1448183" y="4560186"/>
                  <a:pt x="1395407" y="4472487"/>
                  <a:pt x="1413271" y="4384799"/>
                </a:cubicBezTo>
                <a:cubicBezTo>
                  <a:pt x="1544818" y="3736008"/>
                  <a:pt x="1526954" y="3157061"/>
                  <a:pt x="1526954" y="3157061"/>
                </a:cubicBezTo>
                <a:lnTo>
                  <a:pt x="1526954" y="3148134"/>
                </a:lnTo>
                <a:cubicBezTo>
                  <a:pt x="1561867" y="2227330"/>
                  <a:pt x="2158687" y="1841625"/>
                  <a:pt x="2184672" y="1823761"/>
                </a:cubicBezTo>
                <a:cubicBezTo>
                  <a:pt x="2255303" y="1780709"/>
                  <a:pt x="2351123" y="1806694"/>
                  <a:pt x="2403899" y="1877343"/>
                </a:cubicBezTo>
                <a:close/>
                <a:moveTo>
                  <a:pt x="1570794" y="5025458"/>
                </a:moveTo>
                <a:cubicBezTo>
                  <a:pt x="1570794" y="5122084"/>
                  <a:pt x="1492032" y="5200846"/>
                  <a:pt x="1395407" y="5200846"/>
                </a:cubicBezTo>
                <a:cubicBezTo>
                  <a:pt x="1298781" y="5200846"/>
                  <a:pt x="1220020" y="5122084"/>
                  <a:pt x="1220020" y="5025458"/>
                </a:cubicBezTo>
                <a:cubicBezTo>
                  <a:pt x="1220020" y="4928833"/>
                  <a:pt x="1298781" y="4850071"/>
                  <a:pt x="1395407" y="4850071"/>
                </a:cubicBezTo>
                <a:cubicBezTo>
                  <a:pt x="1492032" y="4850071"/>
                  <a:pt x="1570794" y="4928833"/>
                  <a:pt x="1570794" y="5025458"/>
                </a:cubicBezTo>
                <a:close/>
              </a:path>
            </a:pathLst>
          </a:custGeom>
          <a:solidFill>
            <a:schemeClr val="bg1"/>
          </a:solidFill>
          <a:ln w="9156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" name="Forma libre 256">
            <a:extLst>
              <a:ext uri="{FF2B5EF4-FFF2-40B4-BE49-F238E27FC236}">
                <a16:creationId xmlns:a16="http://schemas.microsoft.com/office/drawing/2014/main" xmlns="" id="{3CF7709D-C5BC-FE4E-B8D0-A94014CAB870}"/>
              </a:ext>
            </a:extLst>
          </p:cNvPr>
          <p:cNvSpPr/>
          <p:nvPr/>
        </p:nvSpPr>
        <p:spPr>
          <a:xfrm>
            <a:off x="7936638" y="1419188"/>
            <a:ext cx="301831" cy="301831"/>
          </a:xfrm>
          <a:custGeom>
            <a:avLst/>
            <a:gdLst>
              <a:gd name="connsiteX0" fmla="*/ 5829300 w 5829300"/>
              <a:gd name="connsiteY0" fmla="*/ 2914993 h 5829300"/>
              <a:gd name="connsiteX1" fmla="*/ 2914307 w 5829300"/>
              <a:gd name="connsiteY1" fmla="*/ 0 h 5829300"/>
              <a:gd name="connsiteX2" fmla="*/ 0 w 5829300"/>
              <a:gd name="connsiteY2" fmla="*/ 2914993 h 5829300"/>
              <a:gd name="connsiteX3" fmla="*/ 1025823 w 5829300"/>
              <a:gd name="connsiteY3" fmla="*/ 5130499 h 5829300"/>
              <a:gd name="connsiteX4" fmla="*/ 1055427 w 5829300"/>
              <a:gd name="connsiteY4" fmla="*/ 5152530 h 5829300"/>
              <a:gd name="connsiteX5" fmla="*/ 2921880 w 5829300"/>
              <a:gd name="connsiteY5" fmla="*/ 5829300 h 5829300"/>
              <a:gd name="connsiteX6" fmla="*/ 4773187 w 5829300"/>
              <a:gd name="connsiteY6" fmla="*/ 5167675 h 5829300"/>
              <a:gd name="connsiteX7" fmla="*/ 4839967 w 5829300"/>
              <a:gd name="connsiteY7" fmla="*/ 5115354 h 5829300"/>
              <a:gd name="connsiteX8" fmla="*/ 5829300 w 5829300"/>
              <a:gd name="connsiteY8" fmla="*/ 2914993 h 5829300"/>
              <a:gd name="connsiteX9" fmla="*/ 267814 w 5829300"/>
              <a:gd name="connsiteY9" fmla="*/ 2914993 h 5829300"/>
              <a:gd name="connsiteX10" fmla="*/ 2914993 w 5829300"/>
              <a:gd name="connsiteY10" fmla="*/ 267814 h 5829300"/>
              <a:gd name="connsiteX11" fmla="*/ 5562172 w 5829300"/>
              <a:gd name="connsiteY11" fmla="*/ 2914993 h 5829300"/>
              <a:gd name="connsiteX12" fmla="*/ 4818622 w 5829300"/>
              <a:gd name="connsiteY12" fmla="*/ 4751842 h 5829300"/>
              <a:gd name="connsiteX13" fmla="*/ 3836861 w 5829300"/>
              <a:gd name="connsiteY13" fmla="*/ 3421028 h 5829300"/>
              <a:gd name="connsiteX14" fmla="*/ 4081958 w 5829300"/>
              <a:gd name="connsiteY14" fmla="*/ 2707081 h 5829300"/>
              <a:gd name="connsiteX15" fmla="*/ 2921880 w 5829300"/>
              <a:gd name="connsiteY15" fmla="*/ 1547003 h 5829300"/>
              <a:gd name="connsiteX16" fmla="*/ 1761801 w 5829300"/>
              <a:gd name="connsiteY16" fmla="*/ 2707081 h 5829300"/>
              <a:gd name="connsiteX17" fmla="*/ 2006898 w 5829300"/>
              <a:gd name="connsiteY17" fmla="*/ 3421028 h 5829300"/>
              <a:gd name="connsiteX18" fmla="*/ 1026509 w 5829300"/>
              <a:gd name="connsiteY18" fmla="*/ 4751842 h 5829300"/>
              <a:gd name="connsiteX19" fmla="*/ 267814 w 5829300"/>
              <a:gd name="connsiteY19" fmla="*/ 2914993 h 5829300"/>
              <a:gd name="connsiteX20" fmla="*/ 2022729 w 5829300"/>
              <a:gd name="connsiteY20" fmla="*/ 2713958 h 5829300"/>
              <a:gd name="connsiteX21" fmla="*/ 2914993 w 5829300"/>
              <a:gd name="connsiteY21" fmla="*/ 1821694 h 5829300"/>
              <a:gd name="connsiteX22" fmla="*/ 3807257 w 5829300"/>
              <a:gd name="connsiteY22" fmla="*/ 2713958 h 5829300"/>
              <a:gd name="connsiteX23" fmla="*/ 2914993 w 5829300"/>
              <a:gd name="connsiteY23" fmla="*/ 3606222 h 5829300"/>
              <a:gd name="connsiteX24" fmla="*/ 2022729 w 5829300"/>
              <a:gd name="connsiteY24" fmla="*/ 2713958 h 5829300"/>
              <a:gd name="connsiteX25" fmla="*/ 1264034 w 5829300"/>
              <a:gd name="connsiteY25" fmla="*/ 4981794 h 5829300"/>
              <a:gd name="connsiteX26" fmla="*/ 2201047 w 5829300"/>
              <a:gd name="connsiteY26" fmla="*/ 3628254 h 5829300"/>
              <a:gd name="connsiteX27" fmla="*/ 2914993 w 5829300"/>
              <a:gd name="connsiteY27" fmla="*/ 3873351 h 5829300"/>
              <a:gd name="connsiteX28" fmla="*/ 3636512 w 5829300"/>
              <a:gd name="connsiteY28" fmla="*/ 3620681 h 5829300"/>
              <a:gd name="connsiteX29" fmla="*/ 4581096 w 5829300"/>
              <a:gd name="connsiteY29" fmla="*/ 4974222 h 5829300"/>
              <a:gd name="connsiteX30" fmla="*/ 2923251 w 5829300"/>
              <a:gd name="connsiteY30" fmla="*/ 5561486 h 5829300"/>
              <a:gd name="connsiteX31" fmla="*/ 1264034 w 5829300"/>
              <a:gd name="connsiteY31" fmla="*/ 4981794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829300" h="5829300">
                <a:moveTo>
                  <a:pt x="5829300" y="2914993"/>
                </a:moveTo>
                <a:cubicBezTo>
                  <a:pt x="5829300" y="1308783"/>
                  <a:pt x="4520518" y="0"/>
                  <a:pt x="2914307" y="0"/>
                </a:cubicBezTo>
                <a:cubicBezTo>
                  <a:pt x="1308097" y="0"/>
                  <a:pt x="0" y="1308783"/>
                  <a:pt x="0" y="2914993"/>
                </a:cubicBezTo>
                <a:cubicBezTo>
                  <a:pt x="0" y="3799684"/>
                  <a:pt x="401384" y="4595555"/>
                  <a:pt x="1025823" y="5130499"/>
                </a:cubicBezTo>
                <a:cubicBezTo>
                  <a:pt x="1033396" y="5138071"/>
                  <a:pt x="1040968" y="5145643"/>
                  <a:pt x="1055427" y="5152530"/>
                </a:cubicBezTo>
                <a:cubicBezTo>
                  <a:pt x="1560767" y="5576631"/>
                  <a:pt x="2207933" y="5829300"/>
                  <a:pt x="2921880" y="5829300"/>
                </a:cubicBezTo>
                <a:cubicBezTo>
                  <a:pt x="3620681" y="5829300"/>
                  <a:pt x="4267848" y="5576631"/>
                  <a:pt x="4773187" y="5167675"/>
                </a:cubicBezTo>
                <a:cubicBezTo>
                  <a:pt x="4802791" y="5160102"/>
                  <a:pt x="4825508" y="5138071"/>
                  <a:pt x="4839967" y="5115354"/>
                </a:cubicBezTo>
                <a:cubicBezTo>
                  <a:pt x="5443071" y="4572839"/>
                  <a:pt x="5829300" y="3792112"/>
                  <a:pt x="5829300" y="2914993"/>
                </a:cubicBezTo>
                <a:close/>
                <a:moveTo>
                  <a:pt x="267814" y="2914993"/>
                </a:moveTo>
                <a:cubicBezTo>
                  <a:pt x="267814" y="1457497"/>
                  <a:pt x="1457497" y="267814"/>
                  <a:pt x="2914993" y="267814"/>
                </a:cubicBezTo>
                <a:cubicBezTo>
                  <a:pt x="4372489" y="267814"/>
                  <a:pt x="5562172" y="1457497"/>
                  <a:pt x="5562172" y="2914993"/>
                </a:cubicBezTo>
                <a:cubicBezTo>
                  <a:pt x="5562172" y="3628939"/>
                  <a:pt x="5279898" y="4275411"/>
                  <a:pt x="4818622" y="4751842"/>
                </a:cubicBezTo>
                <a:cubicBezTo>
                  <a:pt x="4744269" y="4402093"/>
                  <a:pt x="4521203" y="3807257"/>
                  <a:pt x="3836861" y="3421028"/>
                </a:cubicBezTo>
                <a:cubicBezTo>
                  <a:pt x="3993147" y="3227565"/>
                  <a:pt x="4081958" y="2974896"/>
                  <a:pt x="4081958" y="2707081"/>
                </a:cubicBezTo>
                <a:cubicBezTo>
                  <a:pt x="4081958" y="2067487"/>
                  <a:pt x="3561474" y="1547003"/>
                  <a:pt x="2921880" y="1547003"/>
                </a:cubicBezTo>
                <a:cubicBezTo>
                  <a:pt x="2282285" y="1547003"/>
                  <a:pt x="1761801" y="2067487"/>
                  <a:pt x="1761801" y="2707081"/>
                </a:cubicBezTo>
                <a:cubicBezTo>
                  <a:pt x="1761801" y="2974896"/>
                  <a:pt x="1858185" y="3219993"/>
                  <a:pt x="2006898" y="3421028"/>
                </a:cubicBezTo>
                <a:cubicBezTo>
                  <a:pt x="1316365" y="3807257"/>
                  <a:pt x="1093299" y="4402103"/>
                  <a:pt x="1026509" y="4751842"/>
                </a:cubicBezTo>
                <a:cubicBezTo>
                  <a:pt x="557660" y="4282993"/>
                  <a:pt x="267814" y="3628939"/>
                  <a:pt x="267814" y="2914993"/>
                </a:cubicBezTo>
                <a:close/>
                <a:moveTo>
                  <a:pt x="2022729" y="2713958"/>
                </a:moveTo>
                <a:cubicBezTo>
                  <a:pt x="2022729" y="2223078"/>
                  <a:pt x="2424113" y="1821694"/>
                  <a:pt x="2914993" y="1821694"/>
                </a:cubicBezTo>
                <a:cubicBezTo>
                  <a:pt x="3405873" y="1821694"/>
                  <a:pt x="3807257" y="2223078"/>
                  <a:pt x="3807257" y="2713958"/>
                </a:cubicBezTo>
                <a:cubicBezTo>
                  <a:pt x="3807257" y="3204839"/>
                  <a:pt x="3405873" y="3606222"/>
                  <a:pt x="2914993" y="3606222"/>
                </a:cubicBezTo>
                <a:cubicBezTo>
                  <a:pt x="2424113" y="3606222"/>
                  <a:pt x="2022729" y="3204839"/>
                  <a:pt x="2022729" y="2713958"/>
                </a:cubicBezTo>
                <a:close/>
                <a:moveTo>
                  <a:pt x="1264034" y="4981794"/>
                </a:moveTo>
                <a:cubicBezTo>
                  <a:pt x="1279179" y="4766301"/>
                  <a:pt x="1397594" y="4037210"/>
                  <a:pt x="2201047" y="3628254"/>
                </a:cubicBezTo>
                <a:cubicBezTo>
                  <a:pt x="2402081" y="3784540"/>
                  <a:pt x="2647179" y="3873351"/>
                  <a:pt x="2914993" y="3873351"/>
                </a:cubicBezTo>
                <a:cubicBezTo>
                  <a:pt x="3182808" y="3873351"/>
                  <a:pt x="3435477" y="3776968"/>
                  <a:pt x="3636512" y="3620681"/>
                </a:cubicBezTo>
                <a:cubicBezTo>
                  <a:pt x="4432383" y="4029637"/>
                  <a:pt x="4558380" y="4743584"/>
                  <a:pt x="4581096" y="4974222"/>
                </a:cubicBezTo>
                <a:cubicBezTo>
                  <a:pt x="4127392" y="5338430"/>
                  <a:pt x="3547701" y="5561486"/>
                  <a:pt x="2923251" y="5561486"/>
                </a:cubicBezTo>
                <a:cubicBezTo>
                  <a:pt x="2290553" y="5562172"/>
                  <a:pt x="1717739" y="5346678"/>
                  <a:pt x="1264034" y="498179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" name="Forma libre 258">
            <a:extLst>
              <a:ext uri="{FF2B5EF4-FFF2-40B4-BE49-F238E27FC236}">
                <a16:creationId xmlns:a16="http://schemas.microsoft.com/office/drawing/2014/main" xmlns="" id="{F66DF2BE-4C87-2A42-9FDD-86196BD642E7}"/>
              </a:ext>
            </a:extLst>
          </p:cNvPr>
          <p:cNvSpPr/>
          <p:nvPr/>
        </p:nvSpPr>
        <p:spPr>
          <a:xfrm>
            <a:off x="3547609" y="5941512"/>
            <a:ext cx="257354" cy="355095"/>
          </a:xfrm>
          <a:custGeom>
            <a:avLst/>
            <a:gdLst>
              <a:gd name="connsiteX0" fmla="*/ 4907289 w 4970318"/>
              <a:gd name="connsiteY0" fmla="*/ 5670718 h 6858000"/>
              <a:gd name="connsiteX1" fmla="*/ 4170348 w 4970318"/>
              <a:gd name="connsiteY1" fmla="*/ 4265884 h 6858000"/>
              <a:gd name="connsiteX2" fmla="*/ 4941804 w 4970318"/>
              <a:gd name="connsiteY2" fmla="*/ 2470906 h 6858000"/>
              <a:gd name="connsiteX3" fmla="*/ 2470898 w 4970318"/>
              <a:gd name="connsiteY3" fmla="*/ 0 h 6858000"/>
              <a:gd name="connsiteX4" fmla="*/ 0 w 4970318"/>
              <a:gd name="connsiteY4" fmla="*/ 2471703 h 6858000"/>
              <a:gd name="connsiteX5" fmla="*/ 884647 w 4970318"/>
              <a:gd name="connsiteY5" fmla="*/ 4361402 h 6858000"/>
              <a:gd name="connsiteX6" fmla="*/ 199895 w 4970318"/>
              <a:gd name="connsiteY6" fmla="*/ 5670709 h 6858000"/>
              <a:gd name="connsiteX7" fmla="*/ 174204 w 4970318"/>
              <a:gd name="connsiteY7" fmla="*/ 6017506 h 6858000"/>
              <a:gd name="connsiteX8" fmla="*/ 434297 w 4970318"/>
              <a:gd name="connsiteY8" fmla="*/ 6147556 h 6858000"/>
              <a:gd name="connsiteX9" fmla="*/ 459988 w 4970318"/>
              <a:gd name="connsiteY9" fmla="*/ 6147556 h 6858000"/>
              <a:gd name="connsiteX10" fmla="*/ 485680 w 4970318"/>
              <a:gd name="connsiteY10" fmla="*/ 6147556 h 6858000"/>
              <a:gd name="connsiteX11" fmla="*/ 1213788 w 4970318"/>
              <a:gd name="connsiteY11" fmla="*/ 5982990 h 6858000"/>
              <a:gd name="connsiteX12" fmla="*/ 1473881 w 4970318"/>
              <a:gd name="connsiteY12" fmla="*/ 6615563 h 6858000"/>
              <a:gd name="connsiteX13" fmla="*/ 1751630 w 4970318"/>
              <a:gd name="connsiteY13" fmla="*/ 6858000 h 6858000"/>
              <a:gd name="connsiteX14" fmla="*/ 2046247 w 4970318"/>
              <a:gd name="connsiteY14" fmla="*/ 6641254 h 6858000"/>
              <a:gd name="connsiteX15" fmla="*/ 2046247 w 4970318"/>
              <a:gd name="connsiteY15" fmla="*/ 6632422 h 6858000"/>
              <a:gd name="connsiteX16" fmla="*/ 2566433 w 4970318"/>
              <a:gd name="connsiteY16" fmla="*/ 5644221 h 6858000"/>
              <a:gd name="connsiteX17" fmla="*/ 3086620 w 4970318"/>
              <a:gd name="connsiteY17" fmla="*/ 6632422 h 6858000"/>
              <a:gd name="connsiteX18" fmla="*/ 3086620 w 4970318"/>
              <a:gd name="connsiteY18" fmla="*/ 6641254 h 6858000"/>
              <a:gd name="connsiteX19" fmla="*/ 3086620 w 4970318"/>
              <a:gd name="connsiteY19" fmla="*/ 6641254 h 6858000"/>
              <a:gd name="connsiteX20" fmla="*/ 3372404 w 4970318"/>
              <a:gd name="connsiteY20" fmla="*/ 6858000 h 6858000"/>
              <a:gd name="connsiteX21" fmla="*/ 3650162 w 4970318"/>
              <a:gd name="connsiteY21" fmla="*/ 6615563 h 6858000"/>
              <a:gd name="connsiteX22" fmla="*/ 3910255 w 4970318"/>
              <a:gd name="connsiteY22" fmla="*/ 5982990 h 6858000"/>
              <a:gd name="connsiteX23" fmla="*/ 4638364 w 4970318"/>
              <a:gd name="connsiteY23" fmla="*/ 6147556 h 6858000"/>
              <a:gd name="connsiteX24" fmla="*/ 4664055 w 4970318"/>
              <a:gd name="connsiteY24" fmla="*/ 6147556 h 6858000"/>
              <a:gd name="connsiteX25" fmla="*/ 4689747 w 4970318"/>
              <a:gd name="connsiteY25" fmla="*/ 6147556 h 6858000"/>
              <a:gd name="connsiteX26" fmla="*/ 4949840 w 4970318"/>
              <a:gd name="connsiteY26" fmla="*/ 6017506 h 6858000"/>
              <a:gd name="connsiteX27" fmla="*/ 4907289 w 4970318"/>
              <a:gd name="connsiteY27" fmla="*/ 5670718 h 6858000"/>
              <a:gd name="connsiteX28" fmla="*/ 329937 w 4970318"/>
              <a:gd name="connsiteY28" fmla="*/ 2471703 h 6858000"/>
              <a:gd name="connsiteX29" fmla="*/ 2479739 w 4970318"/>
              <a:gd name="connsiteY29" fmla="*/ 321902 h 6858000"/>
              <a:gd name="connsiteX30" fmla="*/ 4629540 w 4970318"/>
              <a:gd name="connsiteY30" fmla="*/ 2471703 h 6858000"/>
              <a:gd name="connsiteX31" fmla="*/ 3874943 w 4970318"/>
              <a:gd name="connsiteY31" fmla="*/ 4110141 h 6858000"/>
              <a:gd name="connsiteX32" fmla="*/ 3874943 w 4970318"/>
              <a:gd name="connsiteY32" fmla="*/ 4110141 h 6858000"/>
              <a:gd name="connsiteX33" fmla="*/ 2860254 w 4970318"/>
              <a:gd name="connsiteY33" fmla="*/ 4595813 h 6858000"/>
              <a:gd name="connsiteX34" fmla="*/ 2851421 w 4970318"/>
              <a:gd name="connsiteY34" fmla="*/ 4595813 h 6858000"/>
              <a:gd name="connsiteX35" fmla="*/ 2825730 w 4970318"/>
              <a:gd name="connsiteY35" fmla="*/ 4595813 h 6858000"/>
              <a:gd name="connsiteX36" fmla="*/ 2816898 w 4970318"/>
              <a:gd name="connsiteY36" fmla="*/ 4595813 h 6858000"/>
              <a:gd name="connsiteX37" fmla="*/ 2643499 w 4970318"/>
              <a:gd name="connsiteY37" fmla="*/ 4621504 h 6858000"/>
              <a:gd name="connsiteX38" fmla="*/ 2478933 w 4970318"/>
              <a:gd name="connsiteY38" fmla="*/ 4630337 h 6858000"/>
              <a:gd name="connsiteX39" fmla="*/ 2366547 w 4970318"/>
              <a:gd name="connsiteY39" fmla="*/ 4621504 h 6858000"/>
              <a:gd name="connsiteX40" fmla="*/ 2305535 w 4970318"/>
              <a:gd name="connsiteY40" fmla="*/ 4612672 h 6858000"/>
              <a:gd name="connsiteX41" fmla="*/ 2296703 w 4970318"/>
              <a:gd name="connsiteY41" fmla="*/ 4612672 h 6858000"/>
              <a:gd name="connsiteX42" fmla="*/ 2287871 w 4970318"/>
              <a:gd name="connsiteY42" fmla="*/ 4612672 h 6858000"/>
              <a:gd name="connsiteX43" fmla="*/ 2140164 w 4970318"/>
              <a:gd name="connsiteY43" fmla="*/ 4595007 h 6858000"/>
              <a:gd name="connsiteX44" fmla="*/ 2122499 w 4970318"/>
              <a:gd name="connsiteY44" fmla="*/ 4595007 h 6858000"/>
              <a:gd name="connsiteX45" fmla="*/ 1974792 w 4970318"/>
              <a:gd name="connsiteY45" fmla="*/ 4569316 h 6858000"/>
              <a:gd name="connsiteX46" fmla="*/ 1957128 w 4970318"/>
              <a:gd name="connsiteY46" fmla="*/ 4569316 h 6858000"/>
              <a:gd name="connsiteX47" fmla="*/ 1801394 w 4970318"/>
              <a:gd name="connsiteY47" fmla="*/ 4525969 h 6858000"/>
              <a:gd name="connsiteX48" fmla="*/ 1792562 w 4970318"/>
              <a:gd name="connsiteY48" fmla="*/ 4525969 h 6858000"/>
              <a:gd name="connsiteX49" fmla="*/ 1185672 w 4970318"/>
              <a:gd name="connsiteY49" fmla="*/ 4204864 h 6858000"/>
              <a:gd name="connsiteX50" fmla="*/ 1176840 w 4970318"/>
              <a:gd name="connsiteY50" fmla="*/ 4196031 h 6858000"/>
              <a:gd name="connsiteX51" fmla="*/ 329937 w 4970318"/>
              <a:gd name="connsiteY51" fmla="*/ 2471703 h 6858000"/>
              <a:gd name="connsiteX52" fmla="*/ 2557601 w 4970318"/>
              <a:gd name="connsiteY52" fmla="*/ 4942609 h 6858000"/>
              <a:gd name="connsiteX53" fmla="*/ 2557601 w 4970318"/>
              <a:gd name="connsiteY53" fmla="*/ 4942609 h 6858000"/>
              <a:gd name="connsiteX54" fmla="*/ 2557601 w 4970318"/>
              <a:gd name="connsiteY54" fmla="*/ 4942609 h 6858000"/>
              <a:gd name="connsiteX55" fmla="*/ 2557601 w 4970318"/>
              <a:gd name="connsiteY55" fmla="*/ 4942609 h 6858000"/>
              <a:gd name="connsiteX56" fmla="*/ 1760454 w 4970318"/>
              <a:gd name="connsiteY56" fmla="*/ 6467856 h 6858000"/>
              <a:gd name="connsiteX57" fmla="*/ 1457013 w 4970318"/>
              <a:gd name="connsiteY57" fmla="*/ 5730924 h 6858000"/>
              <a:gd name="connsiteX58" fmla="*/ 1309307 w 4970318"/>
              <a:gd name="connsiteY58" fmla="*/ 5635397 h 6858000"/>
              <a:gd name="connsiteX59" fmla="*/ 1274791 w 4970318"/>
              <a:gd name="connsiteY59" fmla="*/ 5635397 h 6858000"/>
              <a:gd name="connsiteX60" fmla="*/ 494503 w 4970318"/>
              <a:gd name="connsiteY60" fmla="*/ 5808795 h 6858000"/>
              <a:gd name="connsiteX61" fmla="*/ 1153573 w 4970318"/>
              <a:gd name="connsiteY61" fmla="*/ 4560501 h 6858000"/>
              <a:gd name="connsiteX62" fmla="*/ 1778118 w 4970318"/>
              <a:gd name="connsiteY62" fmla="*/ 4846286 h 6858000"/>
              <a:gd name="connsiteX63" fmla="*/ 1803810 w 4970318"/>
              <a:gd name="connsiteY63" fmla="*/ 4855118 h 6858000"/>
              <a:gd name="connsiteX64" fmla="*/ 1933861 w 4970318"/>
              <a:gd name="connsiteY64" fmla="*/ 4889633 h 6858000"/>
              <a:gd name="connsiteX65" fmla="*/ 1959552 w 4970318"/>
              <a:gd name="connsiteY65" fmla="*/ 4898466 h 6858000"/>
              <a:gd name="connsiteX66" fmla="*/ 2115286 w 4970318"/>
              <a:gd name="connsiteY66" fmla="*/ 4924157 h 6858000"/>
              <a:gd name="connsiteX67" fmla="*/ 2149801 w 4970318"/>
              <a:gd name="connsiteY67" fmla="*/ 4932989 h 6858000"/>
              <a:gd name="connsiteX68" fmla="*/ 2184316 w 4970318"/>
              <a:gd name="connsiteY68" fmla="*/ 4941821 h 6858000"/>
              <a:gd name="connsiteX69" fmla="*/ 2375370 w 4970318"/>
              <a:gd name="connsiteY69" fmla="*/ 5306274 h 6858000"/>
              <a:gd name="connsiteX70" fmla="*/ 1760454 w 4970318"/>
              <a:gd name="connsiteY70" fmla="*/ 6467856 h 6858000"/>
              <a:gd name="connsiteX71" fmla="*/ 3841216 w 4970318"/>
              <a:gd name="connsiteY71" fmla="*/ 5636194 h 6858000"/>
              <a:gd name="connsiteX72" fmla="*/ 3658986 w 4970318"/>
              <a:gd name="connsiteY72" fmla="*/ 5731721 h 6858000"/>
              <a:gd name="connsiteX73" fmla="*/ 3355545 w 4970318"/>
              <a:gd name="connsiteY73" fmla="*/ 6468653 h 6858000"/>
              <a:gd name="connsiteX74" fmla="*/ 2739823 w 4970318"/>
              <a:gd name="connsiteY74" fmla="*/ 5289406 h 6858000"/>
              <a:gd name="connsiteX75" fmla="*/ 2938904 w 4970318"/>
              <a:gd name="connsiteY75" fmla="*/ 4899262 h 6858000"/>
              <a:gd name="connsiteX76" fmla="*/ 3918274 w 4970318"/>
              <a:gd name="connsiteY76" fmla="*/ 4474603 h 6858000"/>
              <a:gd name="connsiteX77" fmla="*/ 3918274 w 4970318"/>
              <a:gd name="connsiteY77" fmla="*/ 4474603 h 6858000"/>
              <a:gd name="connsiteX78" fmla="*/ 4611858 w 4970318"/>
              <a:gd name="connsiteY78" fmla="*/ 5809601 h 6858000"/>
              <a:gd name="connsiteX79" fmla="*/ 3841216 w 4970318"/>
              <a:gd name="connsiteY79" fmla="*/ 5636194 h 6858000"/>
              <a:gd name="connsiteX80" fmla="*/ 2479730 w 4970318"/>
              <a:gd name="connsiteY80" fmla="*/ 3719997 h 6858000"/>
              <a:gd name="connsiteX81" fmla="*/ 3719192 w 4970318"/>
              <a:gd name="connsiteY81" fmla="*/ 2480535 h 6858000"/>
              <a:gd name="connsiteX82" fmla="*/ 2479730 w 4970318"/>
              <a:gd name="connsiteY82" fmla="*/ 1241073 h 6858000"/>
              <a:gd name="connsiteX83" fmla="*/ 1240268 w 4970318"/>
              <a:gd name="connsiteY83" fmla="*/ 2480535 h 6858000"/>
              <a:gd name="connsiteX84" fmla="*/ 2479730 w 4970318"/>
              <a:gd name="connsiteY84" fmla="*/ 3719997 h 6858000"/>
              <a:gd name="connsiteX85" fmla="*/ 2479730 w 4970318"/>
              <a:gd name="connsiteY85" fmla="*/ 1552540 h 6858000"/>
              <a:gd name="connsiteX86" fmla="*/ 3398893 w 4970318"/>
              <a:gd name="connsiteY86" fmla="*/ 2471703 h 6858000"/>
              <a:gd name="connsiteX87" fmla="*/ 2479730 w 4970318"/>
              <a:gd name="connsiteY87" fmla="*/ 3390866 h 6858000"/>
              <a:gd name="connsiteX88" fmla="*/ 1560567 w 4970318"/>
              <a:gd name="connsiteY88" fmla="*/ 2471703 h 6858000"/>
              <a:gd name="connsiteX89" fmla="*/ 2479730 w 4970318"/>
              <a:gd name="connsiteY89" fmla="*/ 155254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4970318" h="6858000">
                <a:moveTo>
                  <a:pt x="4907289" y="5670718"/>
                </a:moveTo>
                <a:lnTo>
                  <a:pt x="4170348" y="4265884"/>
                </a:lnTo>
                <a:cubicBezTo>
                  <a:pt x="4647187" y="3814728"/>
                  <a:pt x="4941804" y="3182156"/>
                  <a:pt x="4941804" y="2470906"/>
                </a:cubicBezTo>
                <a:cubicBezTo>
                  <a:pt x="4941804" y="1109420"/>
                  <a:pt x="3832384" y="0"/>
                  <a:pt x="2470898" y="0"/>
                </a:cubicBezTo>
                <a:cubicBezTo>
                  <a:pt x="1109411" y="0"/>
                  <a:pt x="0" y="1110217"/>
                  <a:pt x="0" y="2471703"/>
                </a:cubicBezTo>
                <a:cubicBezTo>
                  <a:pt x="0" y="3226299"/>
                  <a:pt x="346797" y="3911052"/>
                  <a:pt x="884647" y="4361402"/>
                </a:cubicBezTo>
                <a:lnTo>
                  <a:pt x="199895" y="5670709"/>
                </a:lnTo>
                <a:cubicBezTo>
                  <a:pt x="130856" y="5809583"/>
                  <a:pt x="122024" y="5921970"/>
                  <a:pt x="174204" y="6017506"/>
                </a:cubicBezTo>
                <a:cubicBezTo>
                  <a:pt x="226383" y="6095377"/>
                  <a:pt x="321910" y="6147556"/>
                  <a:pt x="434297" y="6147556"/>
                </a:cubicBezTo>
                <a:cubicBezTo>
                  <a:pt x="434297" y="6147556"/>
                  <a:pt x="451961" y="6147556"/>
                  <a:pt x="459988" y="6147556"/>
                </a:cubicBezTo>
                <a:cubicBezTo>
                  <a:pt x="468821" y="6147556"/>
                  <a:pt x="477653" y="6147556"/>
                  <a:pt x="485680" y="6147556"/>
                </a:cubicBezTo>
                <a:lnTo>
                  <a:pt x="1213788" y="5982990"/>
                </a:lnTo>
                <a:lnTo>
                  <a:pt x="1473881" y="6615563"/>
                </a:lnTo>
                <a:cubicBezTo>
                  <a:pt x="1551735" y="6814653"/>
                  <a:pt x="1672954" y="6858000"/>
                  <a:pt x="1751630" y="6858000"/>
                </a:cubicBezTo>
                <a:cubicBezTo>
                  <a:pt x="1907364" y="6858000"/>
                  <a:pt x="2002891" y="6710294"/>
                  <a:pt x="2046247" y="6641254"/>
                </a:cubicBezTo>
                <a:cubicBezTo>
                  <a:pt x="2046247" y="6641254"/>
                  <a:pt x="2046247" y="6641254"/>
                  <a:pt x="2046247" y="6632422"/>
                </a:cubicBezTo>
                <a:lnTo>
                  <a:pt x="2566433" y="5644221"/>
                </a:lnTo>
                <a:lnTo>
                  <a:pt x="3086620" y="6632422"/>
                </a:lnTo>
                <a:cubicBezTo>
                  <a:pt x="3086620" y="6632422"/>
                  <a:pt x="3086620" y="6632422"/>
                  <a:pt x="3086620" y="6641254"/>
                </a:cubicBezTo>
                <a:lnTo>
                  <a:pt x="3086620" y="6641254"/>
                </a:lnTo>
                <a:cubicBezTo>
                  <a:pt x="3121143" y="6710294"/>
                  <a:pt x="3216671" y="6858000"/>
                  <a:pt x="3372404" y="6858000"/>
                </a:cubicBezTo>
                <a:cubicBezTo>
                  <a:pt x="3450276" y="6858000"/>
                  <a:pt x="3571494" y="6814653"/>
                  <a:pt x="3650162" y="6615563"/>
                </a:cubicBezTo>
                <a:lnTo>
                  <a:pt x="3910255" y="5982990"/>
                </a:lnTo>
                <a:lnTo>
                  <a:pt x="4638364" y="6147556"/>
                </a:lnTo>
                <a:cubicBezTo>
                  <a:pt x="4647196" y="6147556"/>
                  <a:pt x="4656028" y="6147556"/>
                  <a:pt x="4664055" y="6147556"/>
                </a:cubicBezTo>
                <a:cubicBezTo>
                  <a:pt x="4664055" y="6147556"/>
                  <a:pt x="4681711" y="6147556"/>
                  <a:pt x="4689747" y="6147556"/>
                </a:cubicBezTo>
                <a:cubicBezTo>
                  <a:pt x="4802133" y="6147556"/>
                  <a:pt x="4897660" y="6104209"/>
                  <a:pt x="4949840" y="6017506"/>
                </a:cubicBezTo>
                <a:cubicBezTo>
                  <a:pt x="4993983" y="5921979"/>
                  <a:pt x="4985152" y="5809592"/>
                  <a:pt x="4907289" y="5670718"/>
                </a:cubicBezTo>
                <a:close/>
                <a:moveTo>
                  <a:pt x="329937" y="2471703"/>
                </a:moveTo>
                <a:cubicBezTo>
                  <a:pt x="329937" y="1283615"/>
                  <a:pt x="1292447" y="321902"/>
                  <a:pt x="2479739" y="321902"/>
                </a:cubicBezTo>
                <a:cubicBezTo>
                  <a:pt x="3667030" y="321902"/>
                  <a:pt x="4629540" y="1284412"/>
                  <a:pt x="4629540" y="2471703"/>
                </a:cubicBezTo>
                <a:cubicBezTo>
                  <a:pt x="4629540" y="3121940"/>
                  <a:pt x="4334923" y="3711165"/>
                  <a:pt x="3874943" y="4110141"/>
                </a:cubicBezTo>
                <a:lnTo>
                  <a:pt x="3874943" y="4110141"/>
                </a:lnTo>
                <a:cubicBezTo>
                  <a:pt x="3580327" y="4361402"/>
                  <a:pt x="3233538" y="4525969"/>
                  <a:pt x="2860254" y="4595813"/>
                </a:cubicBezTo>
                <a:lnTo>
                  <a:pt x="2851421" y="4595813"/>
                </a:lnTo>
                <a:cubicBezTo>
                  <a:pt x="2842589" y="4595813"/>
                  <a:pt x="2833757" y="4595813"/>
                  <a:pt x="2825730" y="4595813"/>
                </a:cubicBezTo>
                <a:lnTo>
                  <a:pt x="2816898" y="4595813"/>
                </a:lnTo>
                <a:cubicBezTo>
                  <a:pt x="2755886" y="4604645"/>
                  <a:pt x="2695679" y="4613477"/>
                  <a:pt x="2643499" y="4621504"/>
                </a:cubicBezTo>
                <a:cubicBezTo>
                  <a:pt x="2591320" y="4621504"/>
                  <a:pt x="2539140" y="4630337"/>
                  <a:pt x="2478933" y="4630337"/>
                </a:cubicBezTo>
                <a:cubicBezTo>
                  <a:pt x="2444418" y="4630337"/>
                  <a:pt x="2401062" y="4630337"/>
                  <a:pt x="2366547" y="4621504"/>
                </a:cubicBezTo>
                <a:cubicBezTo>
                  <a:pt x="2348882" y="4621504"/>
                  <a:pt x="2323199" y="4621504"/>
                  <a:pt x="2305535" y="4612672"/>
                </a:cubicBezTo>
                <a:lnTo>
                  <a:pt x="2296703" y="4612672"/>
                </a:lnTo>
                <a:cubicBezTo>
                  <a:pt x="2296703" y="4612672"/>
                  <a:pt x="2296703" y="4612672"/>
                  <a:pt x="2287871" y="4612672"/>
                </a:cubicBezTo>
                <a:cubicBezTo>
                  <a:pt x="2235691" y="4603840"/>
                  <a:pt x="2183511" y="4603840"/>
                  <a:pt x="2140164" y="4595007"/>
                </a:cubicBezTo>
                <a:cubicBezTo>
                  <a:pt x="2131331" y="4595007"/>
                  <a:pt x="2131331" y="4595007"/>
                  <a:pt x="2122499" y="4595007"/>
                </a:cubicBezTo>
                <a:cubicBezTo>
                  <a:pt x="2070320" y="4586175"/>
                  <a:pt x="2026972" y="4577343"/>
                  <a:pt x="1974792" y="4569316"/>
                </a:cubicBezTo>
                <a:cubicBezTo>
                  <a:pt x="1965960" y="4569316"/>
                  <a:pt x="1965960" y="4569316"/>
                  <a:pt x="1957128" y="4569316"/>
                </a:cubicBezTo>
                <a:cubicBezTo>
                  <a:pt x="1904948" y="4551652"/>
                  <a:pt x="1852768" y="4543625"/>
                  <a:pt x="1801394" y="4525969"/>
                </a:cubicBezTo>
                <a:lnTo>
                  <a:pt x="1792562" y="4525969"/>
                </a:lnTo>
                <a:cubicBezTo>
                  <a:pt x="1575816" y="4456930"/>
                  <a:pt x="1376735" y="4343738"/>
                  <a:pt x="1185672" y="4204864"/>
                </a:cubicBezTo>
                <a:cubicBezTo>
                  <a:pt x="1185672" y="4204864"/>
                  <a:pt x="1176840" y="4204864"/>
                  <a:pt x="1176840" y="4196031"/>
                </a:cubicBezTo>
                <a:cubicBezTo>
                  <a:pt x="659069" y="3797869"/>
                  <a:pt x="329937" y="3173323"/>
                  <a:pt x="329937" y="2471703"/>
                </a:cubicBezTo>
                <a:close/>
                <a:moveTo>
                  <a:pt x="2557601" y="4942609"/>
                </a:moveTo>
                <a:lnTo>
                  <a:pt x="2557601" y="4942609"/>
                </a:lnTo>
                <a:lnTo>
                  <a:pt x="2557601" y="4942609"/>
                </a:lnTo>
                <a:lnTo>
                  <a:pt x="2557601" y="4942609"/>
                </a:lnTo>
                <a:close/>
                <a:moveTo>
                  <a:pt x="1760454" y="6467856"/>
                </a:moveTo>
                <a:lnTo>
                  <a:pt x="1457013" y="5730924"/>
                </a:lnTo>
                <a:cubicBezTo>
                  <a:pt x="1431322" y="5669913"/>
                  <a:pt x="1370319" y="5635397"/>
                  <a:pt x="1309307" y="5635397"/>
                </a:cubicBezTo>
                <a:cubicBezTo>
                  <a:pt x="1300474" y="5635397"/>
                  <a:pt x="1283615" y="5635397"/>
                  <a:pt x="1274791" y="5635397"/>
                </a:cubicBezTo>
                <a:lnTo>
                  <a:pt x="494503" y="5808795"/>
                </a:lnTo>
                <a:lnTo>
                  <a:pt x="1153573" y="4560501"/>
                </a:lnTo>
                <a:cubicBezTo>
                  <a:pt x="1344627" y="4681720"/>
                  <a:pt x="1552549" y="4777247"/>
                  <a:pt x="1778118" y="4846286"/>
                </a:cubicBezTo>
                <a:cubicBezTo>
                  <a:pt x="1786951" y="4846286"/>
                  <a:pt x="1795783" y="4855118"/>
                  <a:pt x="1803810" y="4855118"/>
                </a:cubicBezTo>
                <a:cubicBezTo>
                  <a:pt x="1847157" y="4863950"/>
                  <a:pt x="1890505" y="4880810"/>
                  <a:pt x="1933861" y="4889633"/>
                </a:cubicBezTo>
                <a:cubicBezTo>
                  <a:pt x="1942693" y="4889633"/>
                  <a:pt x="1951525" y="4898466"/>
                  <a:pt x="1959552" y="4898466"/>
                </a:cubicBezTo>
                <a:cubicBezTo>
                  <a:pt x="2011732" y="4907297"/>
                  <a:pt x="2063912" y="4916130"/>
                  <a:pt x="2115286" y="4924157"/>
                </a:cubicBezTo>
                <a:cubicBezTo>
                  <a:pt x="2124118" y="4924157"/>
                  <a:pt x="2140978" y="4924157"/>
                  <a:pt x="2149801" y="4932989"/>
                </a:cubicBezTo>
                <a:cubicBezTo>
                  <a:pt x="2158633" y="4932989"/>
                  <a:pt x="2175493" y="4932989"/>
                  <a:pt x="2184316" y="4941821"/>
                </a:cubicBezTo>
                <a:lnTo>
                  <a:pt x="2375370" y="5306274"/>
                </a:lnTo>
                <a:lnTo>
                  <a:pt x="1760454" y="6467856"/>
                </a:lnTo>
                <a:close/>
                <a:moveTo>
                  <a:pt x="3841216" y="5636194"/>
                </a:moveTo>
                <a:cubicBezTo>
                  <a:pt x="3763345" y="5618529"/>
                  <a:pt x="3685482" y="5661886"/>
                  <a:pt x="3658986" y="5731721"/>
                </a:cubicBezTo>
                <a:lnTo>
                  <a:pt x="3355545" y="6468653"/>
                </a:lnTo>
                <a:lnTo>
                  <a:pt x="2739823" y="5289406"/>
                </a:lnTo>
                <a:lnTo>
                  <a:pt x="2938904" y="4899262"/>
                </a:lnTo>
                <a:cubicBezTo>
                  <a:pt x="3294524" y="4830223"/>
                  <a:pt x="3632489" y="4682516"/>
                  <a:pt x="3918274" y="4474603"/>
                </a:cubicBezTo>
                <a:lnTo>
                  <a:pt x="3918274" y="4474603"/>
                </a:lnTo>
                <a:lnTo>
                  <a:pt x="4611858" y="5809601"/>
                </a:lnTo>
                <a:lnTo>
                  <a:pt x="3841216" y="5636194"/>
                </a:lnTo>
                <a:close/>
                <a:moveTo>
                  <a:pt x="2479730" y="3719997"/>
                </a:moveTo>
                <a:cubicBezTo>
                  <a:pt x="3164491" y="3719997"/>
                  <a:pt x="3719192" y="3165288"/>
                  <a:pt x="3719192" y="2480535"/>
                </a:cubicBezTo>
                <a:cubicBezTo>
                  <a:pt x="3719192" y="1795783"/>
                  <a:pt x="3164482" y="1241073"/>
                  <a:pt x="2479730" y="1241073"/>
                </a:cubicBezTo>
                <a:cubicBezTo>
                  <a:pt x="1794978" y="1241073"/>
                  <a:pt x="1240268" y="1795783"/>
                  <a:pt x="1240268" y="2480535"/>
                </a:cubicBezTo>
                <a:cubicBezTo>
                  <a:pt x="1231435" y="3156464"/>
                  <a:pt x="1794978" y="3719997"/>
                  <a:pt x="2479730" y="3719997"/>
                </a:cubicBezTo>
                <a:close/>
                <a:moveTo>
                  <a:pt x="2479730" y="1552540"/>
                </a:moveTo>
                <a:cubicBezTo>
                  <a:pt x="2991093" y="1552540"/>
                  <a:pt x="3398893" y="1968367"/>
                  <a:pt x="3398893" y="2471703"/>
                </a:cubicBezTo>
                <a:cubicBezTo>
                  <a:pt x="3398893" y="2983066"/>
                  <a:pt x="2983066" y="3390866"/>
                  <a:pt x="2479730" y="3390866"/>
                </a:cubicBezTo>
                <a:cubicBezTo>
                  <a:pt x="1968367" y="3390866"/>
                  <a:pt x="1560567" y="2975039"/>
                  <a:pt x="1560567" y="2471703"/>
                </a:cubicBezTo>
                <a:cubicBezTo>
                  <a:pt x="1552540" y="1968376"/>
                  <a:pt x="1968376" y="1552540"/>
                  <a:pt x="2479730" y="1552540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" name="Forma libre 260">
            <a:extLst>
              <a:ext uri="{FF2B5EF4-FFF2-40B4-BE49-F238E27FC236}">
                <a16:creationId xmlns:a16="http://schemas.microsoft.com/office/drawing/2014/main" xmlns="" id="{D490F226-BB3B-614E-A7E3-986668ACDFB9}"/>
              </a:ext>
            </a:extLst>
          </p:cNvPr>
          <p:cNvSpPr/>
          <p:nvPr/>
        </p:nvSpPr>
        <p:spPr>
          <a:xfrm>
            <a:off x="8808271" y="2113388"/>
            <a:ext cx="260029" cy="260880"/>
          </a:xfrm>
          <a:custGeom>
            <a:avLst/>
            <a:gdLst>
              <a:gd name="connsiteX0" fmla="*/ 4497243 w 5810281"/>
              <a:gd name="connsiteY0" fmla="*/ 2917027 h 5829300"/>
              <a:gd name="connsiteX1" fmla="*/ 5596357 w 5810281"/>
              <a:gd name="connsiteY1" fmla="*/ 1817914 h 5829300"/>
              <a:gd name="connsiteX2" fmla="*/ 5596357 w 5810281"/>
              <a:gd name="connsiteY2" fmla="*/ 729262 h 5829300"/>
              <a:gd name="connsiteX3" fmla="*/ 5093392 w 5810281"/>
              <a:gd name="connsiteY3" fmla="*/ 226297 h 5829300"/>
              <a:gd name="connsiteX4" fmla="*/ 4549536 w 5810281"/>
              <a:gd name="connsiteY4" fmla="*/ 0 h 5829300"/>
              <a:gd name="connsiteX5" fmla="*/ 4005680 w 5810281"/>
              <a:gd name="connsiteY5" fmla="*/ 226287 h 5829300"/>
              <a:gd name="connsiteX6" fmla="*/ 2905626 w 5810281"/>
              <a:gd name="connsiteY6" fmla="*/ 1335861 h 5829300"/>
              <a:gd name="connsiteX7" fmla="*/ 1807454 w 5810281"/>
              <a:gd name="connsiteY7" fmla="*/ 236748 h 5829300"/>
              <a:gd name="connsiteX8" fmla="*/ 1263608 w 5810281"/>
              <a:gd name="connsiteY8" fmla="*/ 10460 h 5829300"/>
              <a:gd name="connsiteX9" fmla="*/ 719752 w 5810281"/>
              <a:gd name="connsiteY9" fmla="*/ 236748 h 5829300"/>
              <a:gd name="connsiteX10" fmla="*/ 215836 w 5810281"/>
              <a:gd name="connsiteY10" fmla="*/ 739713 h 5829300"/>
              <a:gd name="connsiteX11" fmla="*/ 0 w 5810281"/>
              <a:gd name="connsiteY11" fmla="*/ 1274059 h 5829300"/>
              <a:gd name="connsiteX12" fmla="*/ 226287 w 5810281"/>
              <a:gd name="connsiteY12" fmla="*/ 1817914 h 5829300"/>
              <a:gd name="connsiteX13" fmla="*/ 1324459 w 5810281"/>
              <a:gd name="connsiteY13" fmla="*/ 2917027 h 5829300"/>
              <a:gd name="connsiteX14" fmla="*/ 226297 w 5810281"/>
              <a:gd name="connsiteY14" fmla="*/ 4016141 h 5829300"/>
              <a:gd name="connsiteX15" fmla="*/ 0 w 5810281"/>
              <a:gd name="connsiteY15" fmla="*/ 4559996 h 5829300"/>
              <a:gd name="connsiteX16" fmla="*/ 226287 w 5810281"/>
              <a:gd name="connsiteY16" fmla="*/ 5103852 h 5829300"/>
              <a:gd name="connsiteX17" fmla="*/ 729262 w 5810281"/>
              <a:gd name="connsiteY17" fmla="*/ 5606817 h 5829300"/>
              <a:gd name="connsiteX18" fmla="*/ 1273117 w 5810281"/>
              <a:gd name="connsiteY18" fmla="*/ 5833104 h 5829300"/>
              <a:gd name="connsiteX19" fmla="*/ 1816973 w 5810281"/>
              <a:gd name="connsiteY19" fmla="*/ 5606817 h 5829300"/>
              <a:gd name="connsiteX20" fmla="*/ 2916086 w 5810281"/>
              <a:gd name="connsiteY20" fmla="*/ 4507704 h 5829300"/>
              <a:gd name="connsiteX21" fmla="*/ 4004739 w 5810281"/>
              <a:gd name="connsiteY21" fmla="*/ 5596357 h 5829300"/>
              <a:gd name="connsiteX22" fmla="*/ 4548595 w 5810281"/>
              <a:gd name="connsiteY22" fmla="*/ 5822644 h 5829300"/>
              <a:gd name="connsiteX23" fmla="*/ 5092450 w 5810281"/>
              <a:gd name="connsiteY23" fmla="*/ 5596357 h 5829300"/>
              <a:gd name="connsiteX24" fmla="*/ 5595415 w 5810281"/>
              <a:gd name="connsiteY24" fmla="*/ 5093391 h 5829300"/>
              <a:gd name="connsiteX25" fmla="*/ 5595415 w 5810281"/>
              <a:gd name="connsiteY25" fmla="*/ 4004739 h 5829300"/>
              <a:gd name="connsiteX26" fmla="*/ 4497243 w 5810281"/>
              <a:gd name="connsiteY26" fmla="*/ 2917027 h 5829300"/>
              <a:gd name="connsiteX27" fmla="*/ 5318728 w 5810281"/>
              <a:gd name="connsiteY27" fmla="*/ 4827165 h 5829300"/>
              <a:gd name="connsiteX28" fmla="*/ 4826214 w 5810281"/>
              <a:gd name="connsiteY28" fmla="*/ 5330130 h 5829300"/>
              <a:gd name="connsiteX29" fmla="*/ 4282358 w 5810281"/>
              <a:gd name="connsiteY29" fmla="*/ 5330130 h 5829300"/>
              <a:gd name="connsiteX30" fmla="*/ 3050141 w 5810281"/>
              <a:gd name="connsiteY30" fmla="*/ 4097912 h 5829300"/>
              <a:gd name="connsiteX31" fmla="*/ 2917028 w 5810281"/>
              <a:gd name="connsiteY31" fmla="*/ 4046571 h 5829300"/>
              <a:gd name="connsiteX32" fmla="*/ 2783914 w 5810281"/>
              <a:gd name="connsiteY32" fmla="*/ 4097912 h 5829300"/>
              <a:gd name="connsiteX33" fmla="*/ 1550746 w 5810281"/>
              <a:gd name="connsiteY33" fmla="*/ 5330130 h 5829300"/>
              <a:gd name="connsiteX34" fmla="*/ 1006890 w 5810281"/>
              <a:gd name="connsiteY34" fmla="*/ 5330130 h 5829300"/>
              <a:gd name="connsiteX35" fmla="*/ 503925 w 5810281"/>
              <a:gd name="connsiteY35" fmla="*/ 4827165 h 5829300"/>
              <a:gd name="connsiteX36" fmla="*/ 390782 w 5810281"/>
              <a:gd name="connsiteY36" fmla="*/ 4549536 h 5829300"/>
              <a:gd name="connsiteX37" fmla="*/ 503925 w 5810281"/>
              <a:gd name="connsiteY37" fmla="*/ 4271907 h 5829300"/>
              <a:gd name="connsiteX38" fmla="*/ 1735201 w 5810281"/>
              <a:gd name="connsiteY38" fmla="*/ 3040631 h 5829300"/>
              <a:gd name="connsiteX39" fmla="*/ 1735201 w 5810281"/>
              <a:gd name="connsiteY39" fmla="*/ 2773463 h 5829300"/>
              <a:gd name="connsiteX40" fmla="*/ 502974 w 5810281"/>
              <a:gd name="connsiteY40" fmla="*/ 1541237 h 5829300"/>
              <a:gd name="connsiteX41" fmla="*/ 379370 w 5810281"/>
              <a:gd name="connsiteY41" fmla="*/ 1274068 h 5829300"/>
              <a:gd name="connsiteX42" fmla="*/ 492514 w 5810281"/>
              <a:gd name="connsiteY42" fmla="*/ 996439 h 5829300"/>
              <a:gd name="connsiteX43" fmla="*/ 995479 w 5810281"/>
              <a:gd name="connsiteY43" fmla="*/ 493475 h 5829300"/>
              <a:gd name="connsiteX44" fmla="*/ 1539335 w 5810281"/>
              <a:gd name="connsiteY44" fmla="*/ 493475 h 5829300"/>
              <a:gd name="connsiteX45" fmla="*/ 2771561 w 5810281"/>
              <a:gd name="connsiteY45" fmla="*/ 1725682 h 5829300"/>
              <a:gd name="connsiteX46" fmla="*/ 2904675 w 5810281"/>
              <a:gd name="connsiteY46" fmla="*/ 1777024 h 5829300"/>
              <a:gd name="connsiteX47" fmla="*/ 3037788 w 5810281"/>
              <a:gd name="connsiteY47" fmla="*/ 1725682 h 5829300"/>
              <a:gd name="connsiteX48" fmla="*/ 4270005 w 5810281"/>
              <a:gd name="connsiteY48" fmla="*/ 493465 h 5829300"/>
              <a:gd name="connsiteX49" fmla="*/ 4813861 w 5810281"/>
              <a:gd name="connsiteY49" fmla="*/ 493465 h 5829300"/>
              <a:gd name="connsiteX50" fmla="*/ 5318728 w 5810281"/>
              <a:gd name="connsiteY50" fmla="*/ 996430 h 5829300"/>
              <a:gd name="connsiteX51" fmla="*/ 5318728 w 5810281"/>
              <a:gd name="connsiteY51" fmla="*/ 1540286 h 5829300"/>
              <a:gd name="connsiteX52" fmla="*/ 4086501 w 5810281"/>
              <a:gd name="connsiteY52" fmla="*/ 2772503 h 5829300"/>
              <a:gd name="connsiteX53" fmla="*/ 4035159 w 5810281"/>
              <a:gd name="connsiteY53" fmla="*/ 2905616 h 5829300"/>
              <a:gd name="connsiteX54" fmla="*/ 4086501 w 5810281"/>
              <a:gd name="connsiteY54" fmla="*/ 3038730 h 5829300"/>
              <a:gd name="connsiteX55" fmla="*/ 5318728 w 5810281"/>
              <a:gd name="connsiteY55" fmla="*/ 4272858 h 5829300"/>
              <a:gd name="connsiteX56" fmla="*/ 5318728 w 5810281"/>
              <a:gd name="connsiteY56" fmla="*/ 4827165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810281" h="5829300">
                <a:moveTo>
                  <a:pt x="4497243" y="2917027"/>
                </a:moveTo>
                <a:lnTo>
                  <a:pt x="5596357" y="1817914"/>
                </a:lnTo>
                <a:cubicBezTo>
                  <a:pt x="5893955" y="1520316"/>
                  <a:pt x="5893955" y="1037311"/>
                  <a:pt x="5596357" y="729262"/>
                </a:cubicBezTo>
                <a:lnTo>
                  <a:pt x="5093392" y="226297"/>
                </a:lnTo>
                <a:cubicBezTo>
                  <a:pt x="4949818" y="82723"/>
                  <a:pt x="4754912" y="0"/>
                  <a:pt x="4549536" y="0"/>
                </a:cubicBezTo>
                <a:cubicBezTo>
                  <a:pt x="4344170" y="0"/>
                  <a:pt x="4149254" y="81772"/>
                  <a:pt x="4005680" y="226287"/>
                </a:cubicBezTo>
                <a:lnTo>
                  <a:pt x="2905626" y="1335861"/>
                </a:lnTo>
                <a:lnTo>
                  <a:pt x="1807454" y="236748"/>
                </a:lnTo>
                <a:cubicBezTo>
                  <a:pt x="1663890" y="93174"/>
                  <a:pt x="1468974" y="10460"/>
                  <a:pt x="1263608" y="10460"/>
                </a:cubicBezTo>
                <a:cubicBezTo>
                  <a:pt x="1058242" y="10460"/>
                  <a:pt x="863326" y="92232"/>
                  <a:pt x="719752" y="236748"/>
                </a:cubicBezTo>
                <a:lnTo>
                  <a:pt x="215836" y="739713"/>
                </a:lnTo>
                <a:cubicBezTo>
                  <a:pt x="82723" y="872826"/>
                  <a:pt x="0" y="1068692"/>
                  <a:pt x="0" y="1274059"/>
                </a:cubicBezTo>
                <a:cubicBezTo>
                  <a:pt x="0" y="1479425"/>
                  <a:pt x="81772" y="1674340"/>
                  <a:pt x="226287" y="1817914"/>
                </a:cubicBezTo>
                <a:lnTo>
                  <a:pt x="1324459" y="2917027"/>
                </a:lnTo>
                <a:lnTo>
                  <a:pt x="226297" y="4016141"/>
                </a:lnTo>
                <a:cubicBezTo>
                  <a:pt x="82723" y="4159705"/>
                  <a:pt x="0" y="4354620"/>
                  <a:pt x="0" y="4559996"/>
                </a:cubicBezTo>
                <a:cubicBezTo>
                  <a:pt x="0" y="4765363"/>
                  <a:pt x="81772" y="4960278"/>
                  <a:pt x="226287" y="5103852"/>
                </a:cubicBezTo>
                <a:lnTo>
                  <a:pt x="729262" y="5606817"/>
                </a:lnTo>
                <a:cubicBezTo>
                  <a:pt x="872835" y="5750391"/>
                  <a:pt x="1067741" y="5833104"/>
                  <a:pt x="1273117" y="5833104"/>
                </a:cubicBezTo>
                <a:cubicBezTo>
                  <a:pt x="1478484" y="5833104"/>
                  <a:pt x="1673399" y="5751332"/>
                  <a:pt x="1816973" y="5606817"/>
                </a:cubicBezTo>
                <a:lnTo>
                  <a:pt x="2916086" y="4507704"/>
                </a:lnTo>
                <a:lnTo>
                  <a:pt x="4004739" y="5596357"/>
                </a:lnTo>
                <a:cubicBezTo>
                  <a:pt x="4148312" y="5739930"/>
                  <a:pt x="4343219" y="5822644"/>
                  <a:pt x="4548595" y="5822644"/>
                </a:cubicBezTo>
                <a:cubicBezTo>
                  <a:pt x="4753961" y="5822644"/>
                  <a:pt x="4948876" y="5740872"/>
                  <a:pt x="5092450" y="5596357"/>
                </a:cubicBezTo>
                <a:lnTo>
                  <a:pt x="5595415" y="5093391"/>
                </a:lnTo>
                <a:cubicBezTo>
                  <a:pt x="5893014" y="4795793"/>
                  <a:pt x="5893014" y="4312788"/>
                  <a:pt x="5595415" y="4004739"/>
                </a:cubicBezTo>
                <a:lnTo>
                  <a:pt x="4497243" y="2917027"/>
                </a:lnTo>
                <a:close/>
                <a:moveTo>
                  <a:pt x="5318728" y="4827165"/>
                </a:moveTo>
                <a:lnTo>
                  <a:pt x="4826214" y="5330130"/>
                </a:lnTo>
                <a:cubicBezTo>
                  <a:pt x="4682640" y="5473704"/>
                  <a:pt x="4425932" y="5473704"/>
                  <a:pt x="4282358" y="5330130"/>
                </a:cubicBezTo>
                <a:lnTo>
                  <a:pt x="3050141" y="4097912"/>
                </a:lnTo>
                <a:cubicBezTo>
                  <a:pt x="3009260" y="4057031"/>
                  <a:pt x="2968369" y="4046571"/>
                  <a:pt x="2917028" y="4046571"/>
                </a:cubicBezTo>
                <a:cubicBezTo>
                  <a:pt x="2865686" y="4046571"/>
                  <a:pt x="2824805" y="4067492"/>
                  <a:pt x="2783914" y="4097912"/>
                </a:cubicBezTo>
                <a:lnTo>
                  <a:pt x="1550746" y="5330130"/>
                </a:lnTo>
                <a:cubicBezTo>
                  <a:pt x="1407172" y="5473704"/>
                  <a:pt x="1150464" y="5473704"/>
                  <a:pt x="1006890" y="5330130"/>
                </a:cubicBezTo>
                <a:lnTo>
                  <a:pt x="503925" y="4827165"/>
                </a:lnTo>
                <a:cubicBezTo>
                  <a:pt x="431663" y="4754902"/>
                  <a:pt x="390782" y="4652219"/>
                  <a:pt x="390782" y="4549536"/>
                </a:cubicBezTo>
                <a:cubicBezTo>
                  <a:pt x="390782" y="4446853"/>
                  <a:pt x="431663" y="4344169"/>
                  <a:pt x="503925" y="4271907"/>
                </a:cubicBezTo>
                <a:lnTo>
                  <a:pt x="1735201" y="3040631"/>
                </a:lnTo>
                <a:cubicBezTo>
                  <a:pt x="1807463" y="2968369"/>
                  <a:pt x="1807463" y="2845716"/>
                  <a:pt x="1735201" y="2773463"/>
                </a:cubicBezTo>
                <a:lnTo>
                  <a:pt x="502974" y="1541237"/>
                </a:lnTo>
                <a:cubicBezTo>
                  <a:pt x="421203" y="1479435"/>
                  <a:pt x="379370" y="1376751"/>
                  <a:pt x="379370" y="1274068"/>
                </a:cubicBezTo>
                <a:cubicBezTo>
                  <a:pt x="379370" y="1171385"/>
                  <a:pt x="420252" y="1068702"/>
                  <a:pt x="492514" y="996439"/>
                </a:cubicBezTo>
                <a:lnTo>
                  <a:pt x="995479" y="493475"/>
                </a:lnTo>
                <a:cubicBezTo>
                  <a:pt x="1139053" y="349901"/>
                  <a:pt x="1395761" y="349901"/>
                  <a:pt x="1539335" y="493475"/>
                </a:cubicBezTo>
                <a:lnTo>
                  <a:pt x="2771561" y="1725682"/>
                </a:lnTo>
                <a:cubicBezTo>
                  <a:pt x="2801982" y="1756103"/>
                  <a:pt x="2853333" y="1777024"/>
                  <a:pt x="2904675" y="1777024"/>
                </a:cubicBezTo>
                <a:cubicBezTo>
                  <a:pt x="2956016" y="1777024"/>
                  <a:pt x="3007358" y="1756103"/>
                  <a:pt x="3037788" y="1725682"/>
                </a:cubicBezTo>
                <a:lnTo>
                  <a:pt x="4270005" y="493465"/>
                </a:lnTo>
                <a:cubicBezTo>
                  <a:pt x="4413579" y="349891"/>
                  <a:pt x="4670287" y="349891"/>
                  <a:pt x="4813861" y="493465"/>
                </a:cubicBezTo>
                <a:lnTo>
                  <a:pt x="5318728" y="996430"/>
                </a:lnTo>
                <a:cubicBezTo>
                  <a:pt x="5472753" y="1150455"/>
                  <a:pt x="5472753" y="1396712"/>
                  <a:pt x="5318728" y="1540286"/>
                </a:cubicBezTo>
                <a:lnTo>
                  <a:pt x="4086501" y="2772503"/>
                </a:lnTo>
                <a:cubicBezTo>
                  <a:pt x="4056080" y="2802924"/>
                  <a:pt x="4035159" y="2854275"/>
                  <a:pt x="4035159" y="2905616"/>
                </a:cubicBezTo>
                <a:cubicBezTo>
                  <a:pt x="4035159" y="2956958"/>
                  <a:pt x="4056080" y="3008299"/>
                  <a:pt x="4086501" y="3038730"/>
                </a:cubicBezTo>
                <a:lnTo>
                  <a:pt x="5318728" y="4272858"/>
                </a:lnTo>
                <a:cubicBezTo>
                  <a:pt x="5472753" y="4436392"/>
                  <a:pt x="5472753" y="4683600"/>
                  <a:pt x="5318728" y="4827165"/>
                </a:cubicBez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" name="Forma libre 262">
            <a:extLst>
              <a:ext uri="{FF2B5EF4-FFF2-40B4-BE49-F238E27FC236}">
                <a16:creationId xmlns:a16="http://schemas.microsoft.com/office/drawing/2014/main" xmlns="" id="{5922B87E-AB40-AA4D-89A5-0C1093DEC01F}"/>
              </a:ext>
            </a:extLst>
          </p:cNvPr>
          <p:cNvSpPr/>
          <p:nvPr/>
        </p:nvSpPr>
        <p:spPr>
          <a:xfrm>
            <a:off x="2834543" y="1454038"/>
            <a:ext cx="301338" cy="244621"/>
          </a:xfrm>
          <a:custGeom>
            <a:avLst/>
            <a:gdLst>
              <a:gd name="connsiteX0" fmla="*/ 5682644 w 5819775"/>
              <a:gd name="connsiteY0" fmla="*/ 709860 h 4724400"/>
              <a:gd name="connsiteX1" fmla="*/ 5119449 w 5819775"/>
              <a:gd name="connsiteY1" fmla="*/ 146656 h 4724400"/>
              <a:gd name="connsiteX2" fmla="*/ 4768682 w 5819775"/>
              <a:gd name="connsiteY2" fmla="*/ 0 h 4724400"/>
              <a:gd name="connsiteX3" fmla="*/ 4417914 w 5819775"/>
              <a:gd name="connsiteY3" fmla="*/ 146656 h 4724400"/>
              <a:gd name="connsiteX4" fmla="*/ 2146964 w 5819775"/>
              <a:gd name="connsiteY4" fmla="*/ 2424408 h 4724400"/>
              <a:gd name="connsiteX5" fmla="*/ 1412157 w 5819775"/>
              <a:gd name="connsiteY5" fmla="*/ 1689602 h 4724400"/>
              <a:gd name="connsiteX6" fmla="*/ 1012250 w 5819775"/>
              <a:gd name="connsiteY6" fmla="*/ 1526315 h 4724400"/>
              <a:gd name="connsiteX7" fmla="*/ 612343 w 5819775"/>
              <a:gd name="connsiteY7" fmla="*/ 1689602 h 4724400"/>
              <a:gd name="connsiteX8" fmla="*/ 163297 w 5819775"/>
              <a:gd name="connsiteY8" fmla="*/ 2138648 h 4724400"/>
              <a:gd name="connsiteX9" fmla="*/ 0 w 5819775"/>
              <a:gd name="connsiteY9" fmla="*/ 2538555 h 4724400"/>
              <a:gd name="connsiteX10" fmla="*/ 163287 w 5819775"/>
              <a:gd name="connsiteY10" fmla="*/ 2938463 h 4724400"/>
              <a:gd name="connsiteX11" fmla="*/ 1804502 w 5819775"/>
              <a:gd name="connsiteY11" fmla="*/ 4579677 h 4724400"/>
              <a:gd name="connsiteX12" fmla="*/ 2155269 w 5819775"/>
              <a:gd name="connsiteY12" fmla="*/ 4726334 h 4724400"/>
              <a:gd name="connsiteX13" fmla="*/ 2506037 w 5819775"/>
              <a:gd name="connsiteY13" fmla="*/ 4579677 h 4724400"/>
              <a:gd name="connsiteX14" fmla="*/ 5682634 w 5819775"/>
              <a:gd name="connsiteY14" fmla="*/ 1403842 h 4724400"/>
              <a:gd name="connsiteX15" fmla="*/ 5829291 w 5819775"/>
              <a:gd name="connsiteY15" fmla="*/ 1053075 h 4724400"/>
              <a:gd name="connsiteX16" fmla="*/ 5682644 w 5819775"/>
              <a:gd name="connsiteY16" fmla="*/ 709860 h 4724400"/>
              <a:gd name="connsiteX17" fmla="*/ 5461902 w 5819775"/>
              <a:gd name="connsiteY17" fmla="*/ 1191416 h 4724400"/>
              <a:gd name="connsiteX18" fmla="*/ 2294373 w 5819775"/>
              <a:gd name="connsiteY18" fmla="*/ 4367251 h 4724400"/>
              <a:gd name="connsiteX19" fmla="*/ 2025244 w 5819775"/>
              <a:gd name="connsiteY19" fmla="*/ 4367251 h 4724400"/>
              <a:gd name="connsiteX20" fmla="*/ 383276 w 5819775"/>
              <a:gd name="connsiteY20" fmla="*/ 2717721 h 4724400"/>
              <a:gd name="connsiteX21" fmla="*/ 309944 w 5819775"/>
              <a:gd name="connsiteY21" fmla="*/ 2530240 h 4724400"/>
              <a:gd name="connsiteX22" fmla="*/ 383276 w 5819775"/>
              <a:gd name="connsiteY22" fmla="*/ 2342760 h 4724400"/>
              <a:gd name="connsiteX23" fmla="*/ 832323 w 5819775"/>
              <a:gd name="connsiteY23" fmla="*/ 1893713 h 4724400"/>
              <a:gd name="connsiteX24" fmla="*/ 1019804 w 5819775"/>
              <a:gd name="connsiteY24" fmla="*/ 1820380 h 4724400"/>
              <a:gd name="connsiteX25" fmla="*/ 1207284 w 5819775"/>
              <a:gd name="connsiteY25" fmla="*/ 1893713 h 4724400"/>
              <a:gd name="connsiteX26" fmla="*/ 2032054 w 5819775"/>
              <a:gd name="connsiteY26" fmla="*/ 2742667 h 4724400"/>
              <a:gd name="connsiteX27" fmla="*/ 2244481 w 5819775"/>
              <a:gd name="connsiteY27" fmla="*/ 2742667 h 4724400"/>
              <a:gd name="connsiteX28" fmla="*/ 4628817 w 5819775"/>
              <a:gd name="connsiteY28" fmla="*/ 358331 h 4724400"/>
              <a:gd name="connsiteX29" fmla="*/ 4897945 w 5819775"/>
              <a:gd name="connsiteY29" fmla="*/ 358331 h 4724400"/>
              <a:gd name="connsiteX30" fmla="*/ 5461149 w 5819775"/>
              <a:gd name="connsiteY30" fmla="*/ 921534 h 4724400"/>
              <a:gd name="connsiteX31" fmla="*/ 5518604 w 5819775"/>
              <a:gd name="connsiteY31" fmla="*/ 1052313 h 4724400"/>
              <a:gd name="connsiteX32" fmla="*/ 5461902 w 5819775"/>
              <a:gd name="connsiteY32" fmla="*/ 1191416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819775" h="4724400">
                <a:moveTo>
                  <a:pt x="5682644" y="709860"/>
                </a:moveTo>
                <a:lnTo>
                  <a:pt x="5119449" y="146656"/>
                </a:lnTo>
                <a:cubicBezTo>
                  <a:pt x="5029486" y="56693"/>
                  <a:pt x="4907023" y="0"/>
                  <a:pt x="4768682" y="0"/>
                </a:cubicBezTo>
                <a:cubicBezTo>
                  <a:pt x="4629579" y="0"/>
                  <a:pt x="4515431" y="49139"/>
                  <a:pt x="4417914" y="146656"/>
                </a:cubicBezTo>
                <a:lnTo>
                  <a:pt x="2146964" y="2424408"/>
                </a:lnTo>
                <a:lnTo>
                  <a:pt x="1412157" y="1689602"/>
                </a:lnTo>
                <a:cubicBezTo>
                  <a:pt x="1306325" y="1583769"/>
                  <a:pt x="1167222" y="1526315"/>
                  <a:pt x="1012250" y="1526315"/>
                </a:cubicBezTo>
                <a:cubicBezTo>
                  <a:pt x="865594" y="1526315"/>
                  <a:pt x="718176" y="1583769"/>
                  <a:pt x="612343" y="1689602"/>
                </a:cubicBezTo>
                <a:lnTo>
                  <a:pt x="163297" y="2138648"/>
                </a:lnTo>
                <a:cubicBezTo>
                  <a:pt x="57455" y="2244481"/>
                  <a:pt x="0" y="2383584"/>
                  <a:pt x="0" y="2538555"/>
                </a:cubicBezTo>
                <a:cubicBezTo>
                  <a:pt x="0" y="2693527"/>
                  <a:pt x="57455" y="2832630"/>
                  <a:pt x="163287" y="2938463"/>
                </a:cubicBezTo>
                <a:lnTo>
                  <a:pt x="1804502" y="4579677"/>
                </a:lnTo>
                <a:cubicBezTo>
                  <a:pt x="1894465" y="4669641"/>
                  <a:pt x="2016928" y="4726334"/>
                  <a:pt x="2155269" y="4726334"/>
                </a:cubicBezTo>
                <a:cubicBezTo>
                  <a:pt x="2294373" y="4726334"/>
                  <a:pt x="2408520" y="4677195"/>
                  <a:pt x="2506037" y="4579677"/>
                </a:cubicBezTo>
                <a:lnTo>
                  <a:pt x="5682634" y="1403842"/>
                </a:lnTo>
                <a:cubicBezTo>
                  <a:pt x="5772598" y="1313879"/>
                  <a:pt x="5829291" y="1191416"/>
                  <a:pt x="5829291" y="1053075"/>
                </a:cubicBezTo>
                <a:cubicBezTo>
                  <a:pt x="5829300" y="913971"/>
                  <a:pt x="5771846" y="799062"/>
                  <a:pt x="5682644" y="709860"/>
                </a:cubicBezTo>
                <a:close/>
                <a:moveTo>
                  <a:pt x="5461902" y="1191416"/>
                </a:moveTo>
                <a:lnTo>
                  <a:pt x="2294373" y="4367251"/>
                </a:lnTo>
                <a:cubicBezTo>
                  <a:pt x="2221040" y="4440584"/>
                  <a:pt x="2098577" y="4440584"/>
                  <a:pt x="2025244" y="4367251"/>
                </a:cubicBezTo>
                <a:lnTo>
                  <a:pt x="383276" y="2717721"/>
                </a:lnTo>
                <a:cubicBezTo>
                  <a:pt x="334137" y="2668581"/>
                  <a:pt x="309944" y="2603573"/>
                  <a:pt x="309944" y="2530240"/>
                </a:cubicBezTo>
                <a:cubicBezTo>
                  <a:pt x="309944" y="2456907"/>
                  <a:pt x="334137" y="2391137"/>
                  <a:pt x="383276" y="2342760"/>
                </a:cubicBezTo>
                <a:lnTo>
                  <a:pt x="832323" y="1893713"/>
                </a:lnTo>
                <a:cubicBezTo>
                  <a:pt x="881463" y="1844573"/>
                  <a:pt x="946471" y="1820380"/>
                  <a:pt x="1019804" y="1820380"/>
                </a:cubicBezTo>
                <a:cubicBezTo>
                  <a:pt x="1093137" y="1820380"/>
                  <a:pt x="1158907" y="1844573"/>
                  <a:pt x="1207284" y="1893713"/>
                </a:cubicBezTo>
                <a:lnTo>
                  <a:pt x="2032054" y="2742667"/>
                </a:lnTo>
                <a:cubicBezTo>
                  <a:pt x="2089509" y="2800121"/>
                  <a:pt x="2187026" y="2800121"/>
                  <a:pt x="2244481" y="2742667"/>
                </a:cubicBezTo>
                <a:lnTo>
                  <a:pt x="4628817" y="358331"/>
                </a:lnTo>
                <a:cubicBezTo>
                  <a:pt x="4702150" y="284998"/>
                  <a:pt x="4824613" y="284998"/>
                  <a:pt x="4897945" y="358331"/>
                </a:cubicBezTo>
                <a:lnTo>
                  <a:pt x="5461149" y="921534"/>
                </a:lnTo>
                <a:cubicBezTo>
                  <a:pt x="5493659" y="954043"/>
                  <a:pt x="5518604" y="1003183"/>
                  <a:pt x="5518604" y="1052313"/>
                </a:cubicBezTo>
                <a:cubicBezTo>
                  <a:pt x="5519357" y="1109767"/>
                  <a:pt x="5502717" y="1158907"/>
                  <a:pt x="5461902" y="119141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" name="Forma libre 264">
            <a:extLst>
              <a:ext uri="{FF2B5EF4-FFF2-40B4-BE49-F238E27FC236}">
                <a16:creationId xmlns:a16="http://schemas.microsoft.com/office/drawing/2014/main" xmlns="" id="{C06D503B-43C0-704F-8E2F-4CCE7921572D}"/>
              </a:ext>
            </a:extLst>
          </p:cNvPr>
          <p:cNvSpPr/>
          <p:nvPr/>
        </p:nvSpPr>
        <p:spPr>
          <a:xfrm>
            <a:off x="3518916" y="5305298"/>
            <a:ext cx="301831" cy="301831"/>
          </a:xfrm>
          <a:custGeom>
            <a:avLst/>
            <a:gdLst>
              <a:gd name="connsiteX0" fmla="*/ 2914650 w 5829300"/>
              <a:gd name="connsiteY0" fmla="*/ 0 h 5829300"/>
              <a:gd name="connsiteX1" fmla="*/ 0 w 5829300"/>
              <a:gd name="connsiteY1" fmla="*/ 2914650 h 5829300"/>
              <a:gd name="connsiteX2" fmla="*/ 2914650 w 5829300"/>
              <a:gd name="connsiteY2" fmla="*/ 5829300 h 5829300"/>
              <a:gd name="connsiteX3" fmla="*/ 5829300 w 5829300"/>
              <a:gd name="connsiteY3" fmla="*/ 2914650 h 5829300"/>
              <a:gd name="connsiteX4" fmla="*/ 2914650 w 5829300"/>
              <a:gd name="connsiteY4" fmla="*/ 0 h 5829300"/>
              <a:gd name="connsiteX5" fmla="*/ 2914650 w 5829300"/>
              <a:gd name="connsiteY5" fmla="*/ 5533578 h 5829300"/>
              <a:gd name="connsiteX6" fmla="*/ 304086 w 5829300"/>
              <a:gd name="connsiteY6" fmla="*/ 2923013 h 5829300"/>
              <a:gd name="connsiteX7" fmla="*/ 2914650 w 5829300"/>
              <a:gd name="connsiteY7" fmla="*/ 312449 h 5829300"/>
              <a:gd name="connsiteX8" fmla="*/ 5525215 w 5829300"/>
              <a:gd name="connsiteY8" fmla="*/ 2923013 h 5829300"/>
              <a:gd name="connsiteX9" fmla="*/ 2914650 w 5829300"/>
              <a:gd name="connsiteY9" fmla="*/ 5533578 h 5829300"/>
              <a:gd name="connsiteX10" fmla="*/ 2808218 w 5829300"/>
              <a:gd name="connsiteY10" fmla="*/ 894769 h 5829300"/>
              <a:gd name="connsiteX11" fmla="*/ 2767165 w 5829300"/>
              <a:gd name="connsiteY11" fmla="*/ 788337 h 5829300"/>
              <a:gd name="connsiteX12" fmla="*/ 2808218 w 5829300"/>
              <a:gd name="connsiteY12" fmla="*/ 681904 h 5829300"/>
              <a:gd name="connsiteX13" fmla="*/ 3021835 w 5829300"/>
              <a:gd name="connsiteY13" fmla="*/ 681904 h 5829300"/>
              <a:gd name="connsiteX14" fmla="*/ 3062888 w 5829300"/>
              <a:gd name="connsiteY14" fmla="*/ 788337 h 5829300"/>
              <a:gd name="connsiteX15" fmla="*/ 3021835 w 5829300"/>
              <a:gd name="connsiteY15" fmla="*/ 894769 h 5829300"/>
              <a:gd name="connsiteX16" fmla="*/ 2915403 w 5829300"/>
              <a:gd name="connsiteY16" fmla="*/ 935822 h 5829300"/>
              <a:gd name="connsiteX17" fmla="*/ 2808218 w 5829300"/>
              <a:gd name="connsiteY17" fmla="*/ 894769 h 5829300"/>
              <a:gd name="connsiteX18" fmla="*/ 1954502 w 5829300"/>
              <a:gd name="connsiteY18" fmla="*/ 968512 h 5829300"/>
              <a:gd name="connsiteX19" fmla="*/ 1995554 w 5829300"/>
              <a:gd name="connsiteY19" fmla="*/ 1074944 h 5829300"/>
              <a:gd name="connsiteX20" fmla="*/ 1954502 w 5829300"/>
              <a:gd name="connsiteY20" fmla="*/ 1181376 h 5829300"/>
              <a:gd name="connsiteX21" fmla="*/ 1848069 w 5829300"/>
              <a:gd name="connsiteY21" fmla="*/ 1222429 h 5829300"/>
              <a:gd name="connsiteX22" fmla="*/ 1741637 w 5829300"/>
              <a:gd name="connsiteY22" fmla="*/ 1181376 h 5829300"/>
              <a:gd name="connsiteX23" fmla="*/ 1700584 w 5829300"/>
              <a:gd name="connsiteY23" fmla="*/ 1074944 h 5829300"/>
              <a:gd name="connsiteX24" fmla="*/ 1741637 w 5829300"/>
              <a:gd name="connsiteY24" fmla="*/ 968512 h 5829300"/>
              <a:gd name="connsiteX25" fmla="*/ 1954502 w 5829300"/>
              <a:gd name="connsiteY25" fmla="*/ 968512 h 5829300"/>
              <a:gd name="connsiteX26" fmla="*/ 1174528 w 5829300"/>
              <a:gd name="connsiteY26" fmla="*/ 1748485 h 5829300"/>
              <a:gd name="connsiteX27" fmla="*/ 1215581 w 5829300"/>
              <a:gd name="connsiteY27" fmla="*/ 1854918 h 5829300"/>
              <a:gd name="connsiteX28" fmla="*/ 1174528 w 5829300"/>
              <a:gd name="connsiteY28" fmla="*/ 1961350 h 5829300"/>
              <a:gd name="connsiteX29" fmla="*/ 1068095 w 5829300"/>
              <a:gd name="connsiteY29" fmla="*/ 2002403 h 5829300"/>
              <a:gd name="connsiteX30" fmla="*/ 961663 w 5829300"/>
              <a:gd name="connsiteY30" fmla="*/ 1961350 h 5829300"/>
              <a:gd name="connsiteX31" fmla="*/ 920610 w 5829300"/>
              <a:gd name="connsiteY31" fmla="*/ 1854918 h 5829300"/>
              <a:gd name="connsiteX32" fmla="*/ 961663 w 5829300"/>
              <a:gd name="connsiteY32" fmla="*/ 1748485 h 5829300"/>
              <a:gd name="connsiteX33" fmla="*/ 1174528 w 5829300"/>
              <a:gd name="connsiteY33" fmla="*/ 1748485 h 5829300"/>
              <a:gd name="connsiteX34" fmla="*/ 936584 w 5829300"/>
              <a:gd name="connsiteY34" fmla="*/ 2922251 h 5829300"/>
              <a:gd name="connsiteX35" fmla="*/ 895531 w 5829300"/>
              <a:gd name="connsiteY35" fmla="*/ 3028683 h 5829300"/>
              <a:gd name="connsiteX36" fmla="*/ 789099 w 5829300"/>
              <a:gd name="connsiteY36" fmla="*/ 3069736 h 5829300"/>
              <a:gd name="connsiteX37" fmla="*/ 682666 w 5829300"/>
              <a:gd name="connsiteY37" fmla="*/ 3028683 h 5829300"/>
              <a:gd name="connsiteX38" fmla="*/ 641614 w 5829300"/>
              <a:gd name="connsiteY38" fmla="*/ 2922251 h 5829300"/>
              <a:gd name="connsiteX39" fmla="*/ 682666 w 5829300"/>
              <a:gd name="connsiteY39" fmla="*/ 2815819 h 5829300"/>
              <a:gd name="connsiteX40" fmla="*/ 896283 w 5829300"/>
              <a:gd name="connsiteY40" fmla="*/ 2815819 h 5829300"/>
              <a:gd name="connsiteX41" fmla="*/ 936584 w 5829300"/>
              <a:gd name="connsiteY41" fmla="*/ 2922251 h 5829300"/>
              <a:gd name="connsiteX42" fmla="*/ 1174528 w 5829300"/>
              <a:gd name="connsiteY42" fmla="*/ 3874799 h 5829300"/>
              <a:gd name="connsiteX43" fmla="*/ 1215581 w 5829300"/>
              <a:gd name="connsiteY43" fmla="*/ 3981231 h 5829300"/>
              <a:gd name="connsiteX44" fmla="*/ 1174528 w 5829300"/>
              <a:gd name="connsiteY44" fmla="*/ 4087663 h 5829300"/>
              <a:gd name="connsiteX45" fmla="*/ 1068095 w 5829300"/>
              <a:gd name="connsiteY45" fmla="*/ 4128716 h 5829300"/>
              <a:gd name="connsiteX46" fmla="*/ 961663 w 5829300"/>
              <a:gd name="connsiteY46" fmla="*/ 4087663 h 5829300"/>
              <a:gd name="connsiteX47" fmla="*/ 920610 w 5829300"/>
              <a:gd name="connsiteY47" fmla="*/ 3981231 h 5829300"/>
              <a:gd name="connsiteX48" fmla="*/ 961663 w 5829300"/>
              <a:gd name="connsiteY48" fmla="*/ 3874799 h 5829300"/>
              <a:gd name="connsiteX49" fmla="*/ 1174528 w 5829300"/>
              <a:gd name="connsiteY49" fmla="*/ 3874799 h 5829300"/>
              <a:gd name="connsiteX50" fmla="*/ 1954502 w 5829300"/>
              <a:gd name="connsiteY50" fmla="*/ 4654773 h 5829300"/>
              <a:gd name="connsiteX51" fmla="*/ 1995554 w 5829300"/>
              <a:gd name="connsiteY51" fmla="*/ 4761205 h 5829300"/>
              <a:gd name="connsiteX52" fmla="*/ 1954502 w 5829300"/>
              <a:gd name="connsiteY52" fmla="*/ 4867637 h 5829300"/>
              <a:gd name="connsiteX53" fmla="*/ 1848069 w 5829300"/>
              <a:gd name="connsiteY53" fmla="*/ 4908690 h 5829300"/>
              <a:gd name="connsiteX54" fmla="*/ 1741637 w 5829300"/>
              <a:gd name="connsiteY54" fmla="*/ 4867637 h 5829300"/>
              <a:gd name="connsiteX55" fmla="*/ 1700584 w 5829300"/>
              <a:gd name="connsiteY55" fmla="*/ 4761205 h 5829300"/>
              <a:gd name="connsiteX56" fmla="*/ 1741637 w 5829300"/>
              <a:gd name="connsiteY56" fmla="*/ 4654773 h 5829300"/>
              <a:gd name="connsiteX57" fmla="*/ 1954502 w 5829300"/>
              <a:gd name="connsiteY57" fmla="*/ 4654773 h 5829300"/>
              <a:gd name="connsiteX58" fmla="*/ 3021844 w 5829300"/>
              <a:gd name="connsiteY58" fmla="*/ 4942132 h 5829300"/>
              <a:gd name="connsiteX59" fmla="*/ 3062897 w 5829300"/>
              <a:gd name="connsiteY59" fmla="*/ 5048565 h 5829300"/>
              <a:gd name="connsiteX60" fmla="*/ 3021844 w 5829300"/>
              <a:gd name="connsiteY60" fmla="*/ 5154997 h 5829300"/>
              <a:gd name="connsiteX61" fmla="*/ 2915412 w 5829300"/>
              <a:gd name="connsiteY61" fmla="*/ 5196050 h 5829300"/>
              <a:gd name="connsiteX62" fmla="*/ 2808980 w 5829300"/>
              <a:gd name="connsiteY62" fmla="*/ 5154997 h 5829300"/>
              <a:gd name="connsiteX63" fmla="*/ 2767927 w 5829300"/>
              <a:gd name="connsiteY63" fmla="*/ 5048565 h 5829300"/>
              <a:gd name="connsiteX64" fmla="*/ 2808980 w 5829300"/>
              <a:gd name="connsiteY64" fmla="*/ 4942132 h 5829300"/>
              <a:gd name="connsiteX65" fmla="*/ 3021844 w 5829300"/>
              <a:gd name="connsiteY65" fmla="*/ 4942132 h 5829300"/>
              <a:gd name="connsiteX66" fmla="*/ 4089178 w 5829300"/>
              <a:gd name="connsiteY66" fmla="*/ 4654773 h 5829300"/>
              <a:gd name="connsiteX67" fmla="*/ 4130231 w 5829300"/>
              <a:gd name="connsiteY67" fmla="*/ 4761205 h 5829300"/>
              <a:gd name="connsiteX68" fmla="*/ 4089178 w 5829300"/>
              <a:gd name="connsiteY68" fmla="*/ 4867637 h 5829300"/>
              <a:gd name="connsiteX69" fmla="*/ 3982745 w 5829300"/>
              <a:gd name="connsiteY69" fmla="*/ 4908690 h 5829300"/>
              <a:gd name="connsiteX70" fmla="*/ 3876313 w 5829300"/>
              <a:gd name="connsiteY70" fmla="*/ 4867637 h 5829300"/>
              <a:gd name="connsiteX71" fmla="*/ 3835261 w 5829300"/>
              <a:gd name="connsiteY71" fmla="*/ 4761205 h 5829300"/>
              <a:gd name="connsiteX72" fmla="*/ 3876313 w 5829300"/>
              <a:gd name="connsiteY72" fmla="*/ 4654773 h 5829300"/>
              <a:gd name="connsiteX73" fmla="*/ 4089178 w 5829300"/>
              <a:gd name="connsiteY73" fmla="*/ 4654773 h 5829300"/>
              <a:gd name="connsiteX74" fmla="*/ 4869152 w 5829300"/>
              <a:gd name="connsiteY74" fmla="*/ 3874799 h 5829300"/>
              <a:gd name="connsiteX75" fmla="*/ 4910205 w 5829300"/>
              <a:gd name="connsiteY75" fmla="*/ 3981231 h 5829300"/>
              <a:gd name="connsiteX76" fmla="*/ 4869152 w 5829300"/>
              <a:gd name="connsiteY76" fmla="*/ 4087663 h 5829300"/>
              <a:gd name="connsiteX77" fmla="*/ 4762719 w 5829300"/>
              <a:gd name="connsiteY77" fmla="*/ 4128716 h 5829300"/>
              <a:gd name="connsiteX78" fmla="*/ 4656287 w 5829300"/>
              <a:gd name="connsiteY78" fmla="*/ 4087663 h 5829300"/>
              <a:gd name="connsiteX79" fmla="*/ 4615234 w 5829300"/>
              <a:gd name="connsiteY79" fmla="*/ 3981231 h 5829300"/>
              <a:gd name="connsiteX80" fmla="*/ 4656287 w 5829300"/>
              <a:gd name="connsiteY80" fmla="*/ 3874799 h 5829300"/>
              <a:gd name="connsiteX81" fmla="*/ 4869152 w 5829300"/>
              <a:gd name="connsiteY81" fmla="*/ 3874799 h 5829300"/>
              <a:gd name="connsiteX82" fmla="*/ 5197564 w 5829300"/>
              <a:gd name="connsiteY82" fmla="*/ 2922251 h 5829300"/>
              <a:gd name="connsiteX83" fmla="*/ 5156512 w 5829300"/>
              <a:gd name="connsiteY83" fmla="*/ 3028683 h 5829300"/>
              <a:gd name="connsiteX84" fmla="*/ 5050079 w 5829300"/>
              <a:gd name="connsiteY84" fmla="*/ 3069736 h 5829300"/>
              <a:gd name="connsiteX85" fmla="*/ 4943647 w 5829300"/>
              <a:gd name="connsiteY85" fmla="*/ 3028683 h 5829300"/>
              <a:gd name="connsiteX86" fmla="*/ 4902594 w 5829300"/>
              <a:gd name="connsiteY86" fmla="*/ 2922251 h 5829300"/>
              <a:gd name="connsiteX87" fmla="*/ 4943647 w 5829300"/>
              <a:gd name="connsiteY87" fmla="*/ 2815819 h 5829300"/>
              <a:gd name="connsiteX88" fmla="*/ 5157264 w 5829300"/>
              <a:gd name="connsiteY88" fmla="*/ 2815819 h 5829300"/>
              <a:gd name="connsiteX89" fmla="*/ 5197564 w 5829300"/>
              <a:gd name="connsiteY89" fmla="*/ 2922251 h 5829300"/>
              <a:gd name="connsiteX90" fmla="*/ 4655534 w 5829300"/>
              <a:gd name="connsiteY90" fmla="*/ 1962102 h 5829300"/>
              <a:gd name="connsiteX91" fmla="*/ 4614482 w 5829300"/>
              <a:gd name="connsiteY91" fmla="*/ 1855670 h 5829300"/>
              <a:gd name="connsiteX92" fmla="*/ 4655534 w 5829300"/>
              <a:gd name="connsiteY92" fmla="*/ 1749238 h 5829300"/>
              <a:gd name="connsiteX93" fmla="*/ 4869152 w 5829300"/>
              <a:gd name="connsiteY93" fmla="*/ 1749238 h 5829300"/>
              <a:gd name="connsiteX94" fmla="*/ 4910205 w 5829300"/>
              <a:gd name="connsiteY94" fmla="*/ 1855670 h 5829300"/>
              <a:gd name="connsiteX95" fmla="*/ 4869152 w 5829300"/>
              <a:gd name="connsiteY95" fmla="*/ 1962102 h 5829300"/>
              <a:gd name="connsiteX96" fmla="*/ 4762719 w 5829300"/>
              <a:gd name="connsiteY96" fmla="*/ 2003155 h 5829300"/>
              <a:gd name="connsiteX97" fmla="*/ 4655534 w 5829300"/>
              <a:gd name="connsiteY97" fmla="*/ 1962102 h 5829300"/>
              <a:gd name="connsiteX98" fmla="*/ 4089178 w 5829300"/>
              <a:gd name="connsiteY98" fmla="*/ 968512 h 5829300"/>
              <a:gd name="connsiteX99" fmla="*/ 4130231 w 5829300"/>
              <a:gd name="connsiteY99" fmla="*/ 1074944 h 5829300"/>
              <a:gd name="connsiteX100" fmla="*/ 4089178 w 5829300"/>
              <a:gd name="connsiteY100" fmla="*/ 1181376 h 5829300"/>
              <a:gd name="connsiteX101" fmla="*/ 3982745 w 5829300"/>
              <a:gd name="connsiteY101" fmla="*/ 1222429 h 5829300"/>
              <a:gd name="connsiteX102" fmla="*/ 3876313 w 5829300"/>
              <a:gd name="connsiteY102" fmla="*/ 1181376 h 5829300"/>
              <a:gd name="connsiteX103" fmla="*/ 3835261 w 5829300"/>
              <a:gd name="connsiteY103" fmla="*/ 1074944 h 5829300"/>
              <a:gd name="connsiteX104" fmla="*/ 3876313 w 5829300"/>
              <a:gd name="connsiteY104" fmla="*/ 968512 h 5829300"/>
              <a:gd name="connsiteX105" fmla="*/ 4089178 w 5829300"/>
              <a:gd name="connsiteY105" fmla="*/ 968512 h 5829300"/>
              <a:gd name="connsiteX106" fmla="*/ 2758812 w 5829300"/>
              <a:gd name="connsiteY106" fmla="*/ 2922251 h 5829300"/>
              <a:gd name="connsiteX107" fmla="*/ 2758812 w 5829300"/>
              <a:gd name="connsiteY107" fmla="*/ 1543231 h 5829300"/>
              <a:gd name="connsiteX108" fmla="*/ 2906297 w 5829300"/>
              <a:gd name="connsiteY108" fmla="*/ 1395746 h 5829300"/>
              <a:gd name="connsiteX109" fmla="*/ 3054534 w 5829300"/>
              <a:gd name="connsiteY109" fmla="*/ 1543231 h 5829300"/>
              <a:gd name="connsiteX110" fmla="*/ 3054534 w 5829300"/>
              <a:gd name="connsiteY110" fmla="*/ 2766413 h 5829300"/>
              <a:gd name="connsiteX111" fmla="*/ 3883924 w 5829300"/>
              <a:gd name="connsiteY111" fmla="*/ 2766413 h 5829300"/>
              <a:gd name="connsiteX112" fmla="*/ 4031409 w 5829300"/>
              <a:gd name="connsiteY112" fmla="*/ 2913898 h 5829300"/>
              <a:gd name="connsiteX113" fmla="*/ 3883924 w 5829300"/>
              <a:gd name="connsiteY113" fmla="*/ 3061383 h 5829300"/>
              <a:gd name="connsiteX114" fmla="*/ 2914650 w 5829300"/>
              <a:gd name="connsiteY114" fmla="*/ 3061383 h 5829300"/>
              <a:gd name="connsiteX115" fmla="*/ 2758812 w 5829300"/>
              <a:gd name="connsiteY115" fmla="*/ 2922251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5829300" h="5829300">
                <a:moveTo>
                  <a:pt x="2914650" y="0"/>
                </a:moveTo>
                <a:cubicBezTo>
                  <a:pt x="1305287" y="0"/>
                  <a:pt x="0" y="1305287"/>
                  <a:pt x="0" y="2914650"/>
                </a:cubicBezTo>
                <a:cubicBezTo>
                  <a:pt x="0" y="4524013"/>
                  <a:pt x="1306040" y="5829300"/>
                  <a:pt x="2914650" y="5829300"/>
                </a:cubicBezTo>
                <a:cubicBezTo>
                  <a:pt x="4523261" y="5829300"/>
                  <a:pt x="5829300" y="4523261"/>
                  <a:pt x="5829300" y="2914650"/>
                </a:cubicBezTo>
                <a:cubicBezTo>
                  <a:pt x="5829300" y="1306040"/>
                  <a:pt x="4524023" y="0"/>
                  <a:pt x="2914650" y="0"/>
                </a:cubicBezTo>
                <a:close/>
                <a:moveTo>
                  <a:pt x="2914650" y="5533578"/>
                </a:moveTo>
                <a:cubicBezTo>
                  <a:pt x="1469488" y="5533578"/>
                  <a:pt x="304086" y="4359812"/>
                  <a:pt x="304086" y="2923013"/>
                </a:cubicBezTo>
                <a:cubicBezTo>
                  <a:pt x="304086" y="1477851"/>
                  <a:pt x="1477851" y="312449"/>
                  <a:pt x="2914650" y="312449"/>
                </a:cubicBezTo>
                <a:cubicBezTo>
                  <a:pt x="4359812" y="312449"/>
                  <a:pt x="5525215" y="1486214"/>
                  <a:pt x="5525215" y="2923013"/>
                </a:cubicBezTo>
                <a:cubicBezTo>
                  <a:pt x="5525215" y="4359812"/>
                  <a:pt x="4359812" y="5533578"/>
                  <a:pt x="2914650" y="5533578"/>
                </a:cubicBezTo>
                <a:close/>
                <a:moveTo>
                  <a:pt x="2808218" y="894769"/>
                </a:moveTo>
                <a:cubicBezTo>
                  <a:pt x="2783891" y="870442"/>
                  <a:pt x="2767165" y="829389"/>
                  <a:pt x="2767165" y="788337"/>
                </a:cubicBezTo>
                <a:cubicBezTo>
                  <a:pt x="2767165" y="747284"/>
                  <a:pt x="2783891" y="706231"/>
                  <a:pt x="2808218" y="681904"/>
                </a:cubicBezTo>
                <a:cubicBezTo>
                  <a:pt x="2865996" y="624126"/>
                  <a:pt x="2964066" y="624126"/>
                  <a:pt x="3021835" y="681904"/>
                </a:cubicBezTo>
                <a:cubicBezTo>
                  <a:pt x="3046162" y="706231"/>
                  <a:pt x="3062888" y="747284"/>
                  <a:pt x="3062888" y="788337"/>
                </a:cubicBezTo>
                <a:cubicBezTo>
                  <a:pt x="3062888" y="829389"/>
                  <a:pt x="3046162" y="870442"/>
                  <a:pt x="3021835" y="894769"/>
                </a:cubicBezTo>
                <a:cubicBezTo>
                  <a:pt x="2997508" y="919096"/>
                  <a:pt x="2956455" y="935822"/>
                  <a:pt x="2915403" y="935822"/>
                </a:cubicBezTo>
                <a:cubicBezTo>
                  <a:pt x="2873597" y="944185"/>
                  <a:pt x="2832545" y="927459"/>
                  <a:pt x="2808218" y="894769"/>
                </a:cubicBezTo>
                <a:close/>
                <a:moveTo>
                  <a:pt x="1954502" y="968512"/>
                </a:moveTo>
                <a:cubicBezTo>
                  <a:pt x="1978828" y="992838"/>
                  <a:pt x="1995554" y="1033891"/>
                  <a:pt x="1995554" y="1074944"/>
                </a:cubicBezTo>
                <a:cubicBezTo>
                  <a:pt x="1995554" y="1115997"/>
                  <a:pt x="1978828" y="1157049"/>
                  <a:pt x="1954502" y="1181376"/>
                </a:cubicBezTo>
                <a:cubicBezTo>
                  <a:pt x="1930175" y="1205703"/>
                  <a:pt x="1889122" y="1222429"/>
                  <a:pt x="1848069" y="1222429"/>
                </a:cubicBezTo>
                <a:cubicBezTo>
                  <a:pt x="1807016" y="1222429"/>
                  <a:pt x="1765964" y="1205703"/>
                  <a:pt x="1741637" y="1181376"/>
                </a:cubicBezTo>
                <a:cubicBezTo>
                  <a:pt x="1717310" y="1157049"/>
                  <a:pt x="1700584" y="1115997"/>
                  <a:pt x="1700584" y="1074944"/>
                </a:cubicBezTo>
                <a:cubicBezTo>
                  <a:pt x="1700584" y="1033891"/>
                  <a:pt x="1717310" y="992838"/>
                  <a:pt x="1741637" y="968512"/>
                </a:cubicBezTo>
                <a:cubicBezTo>
                  <a:pt x="1798663" y="910733"/>
                  <a:pt x="1896732" y="910733"/>
                  <a:pt x="1954502" y="968512"/>
                </a:cubicBezTo>
                <a:close/>
                <a:moveTo>
                  <a:pt x="1174528" y="1748485"/>
                </a:moveTo>
                <a:cubicBezTo>
                  <a:pt x="1198855" y="1772812"/>
                  <a:pt x="1215581" y="1813865"/>
                  <a:pt x="1215581" y="1854918"/>
                </a:cubicBezTo>
                <a:cubicBezTo>
                  <a:pt x="1215581" y="1895970"/>
                  <a:pt x="1198855" y="1937023"/>
                  <a:pt x="1174528" y="1961350"/>
                </a:cubicBezTo>
                <a:cubicBezTo>
                  <a:pt x="1141838" y="1985677"/>
                  <a:pt x="1109148" y="2002403"/>
                  <a:pt x="1068095" y="2002403"/>
                </a:cubicBezTo>
                <a:cubicBezTo>
                  <a:pt x="1027043" y="2002403"/>
                  <a:pt x="985990" y="1985677"/>
                  <a:pt x="961663" y="1961350"/>
                </a:cubicBezTo>
                <a:cubicBezTo>
                  <a:pt x="937336" y="1937023"/>
                  <a:pt x="920610" y="1895970"/>
                  <a:pt x="920610" y="1854918"/>
                </a:cubicBezTo>
                <a:cubicBezTo>
                  <a:pt x="920610" y="1813865"/>
                  <a:pt x="937336" y="1772812"/>
                  <a:pt x="961663" y="1748485"/>
                </a:cubicBezTo>
                <a:cubicBezTo>
                  <a:pt x="1018680" y="1690707"/>
                  <a:pt x="1116749" y="1690707"/>
                  <a:pt x="1174528" y="1748485"/>
                </a:cubicBezTo>
                <a:close/>
                <a:moveTo>
                  <a:pt x="936584" y="2922251"/>
                </a:moveTo>
                <a:cubicBezTo>
                  <a:pt x="936584" y="2963304"/>
                  <a:pt x="919858" y="3004357"/>
                  <a:pt x="895531" y="3028683"/>
                </a:cubicBezTo>
                <a:cubicBezTo>
                  <a:pt x="862841" y="3053010"/>
                  <a:pt x="830151" y="3069736"/>
                  <a:pt x="789099" y="3069736"/>
                </a:cubicBezTo>
                <a:cubicBezTo>
                  <a:pt x="748046" y="3069736"/>
                  <a:pt x="715356" y="3053010"/>
                  <a:pt x="682666" y="3028683"/>
                </a:cubicBezTo>
                <a:cubicBezTo>
                  <a:pt x="658339" y="2995994"/>
                  <a:pt x="641614" y="2963304"/>
                  <a:pt x="641614" y="2922251"/>
                </a:cubicBezTo>
                <a:cubicBezTo>
                  <a:pt x="641614" y="2881198"/>
                  <a:pt x="658339" y="2840146"/>
                  <a:pt x="682666" y="2815819"/>
                </a:cubicBezTo>
                <a:cubicBezTo>
                  <a:pt x="740445" y="2758040"/>
                  <a:pt x="838514" y="2758040"/>
                  <a:pt x="896283" y="2815819"/>
                </a:cubicBezTo>
                <a:cubicBezTo>
                  <a:pt x="919858" y="2840146"/>
                  <a:pt x="936584" y="2881198"/>
                  <a:pt x="936584" y="2922251"/>
                </a:cubicBezTo>
                <a:close/>
                <a:moveTo>
                  <a:pt x="1174528" y="3874799"/>
                </a:moveTo>
                <a:cubicBezTo>
                  <a:pt x="1198855" y="3899125"/>
                  <a:pt x="1215581" y="3940178"/>
                  <a:pt x="1215581" y="3981231"/>
                </a:cubicBezTo>
                <a:cubicBezTo>
                  <a:pt x="1215581" y="4022284"/>
                  <a:pt x="1198855" y="4063336"/>
                  <a:pt x="1174528" y="4087663"/>
                </a:cubicBezTo>
                <a:cubicBezTo>
                  <a:pt x="1150201" y="4111990"/>
                  <a:pt x="1109148" y="4128716"/>
                  <a:pt x="1068095" y="4128716"/>
                </a:cubicBezTo>
                <a:cubicBezTo>
                  <a:pt x="1027043" y="4128716"/>
                  <a:pt x="985990" y="4111990"/>
                  <a:pt x="961663" y="4087663"/>
                </a:cubicBezTo>
                <a:cubicBezTo>
                  <a:pt x="937336" y="4063336"/>
                  <a:pt x="920610" y="4022284"/>
                  <a:pt x="920610" y="3981231"/>
                </a:cubicBezTo>
                <a:cubicBezTo>
                  <a:pt x="920610" y="3940178"/>
                  <a:pt x="937336" y="3899125"/>
                  <a:pt x="961663" y="3874799"/>
                </a:cubicBezTo>
                <a:cubicBezTo>
                  <a:pt x="1018680" y="3825383"/>
                  <a:pt x="1116749" y="3825383"/>
                  <a:pt x="1174528" y="3874799"/>
                </a:cubicBezTo>
                <a:close/>
                <a:moveTo>
                  <a:pt x="1954502" y="4654773"/>
                </a:moveTo>
                <a:cubicBezTo>
                  <a:pt x="1978828" y="4679099"/>
                  <a:pt x="1995554" y="4720152"/>
                  <a:pt x="1995554" y="4761205"/>
                </a:cubicBezTo>
                <a:cubicBezTo>
                  <a:pt x="1995554" y="4802258"/>
                  <a:pt x="1978828" y="4843310"/>
                  <a:pt x="1954502" y="4867637"/>
                </a:cubicBezTo>
                <a:cubicBezTo>
                  <a:pt x="1930175" y="4891964"/>
                  <a:pt x="1889122" y="4908690"/>
                  <a:pt x="1848069" y="4908690"/>
                </a:cubicBezTo>
                <a:cubicBezTo>
                  <a:pt x="1807016" y="4908690"/>
                  <a:pt x="1765964" y="4891964"/>
                  <a:pt x="1741637" y="4867637"/>
                </a:cubicBezTo>
                <a:cubicBezTo>
                  <a:pt x="1717310" y="4843310"/>
                  <a:pt x="1700584" y="4802258"/>
                  <a:pt x="1700584" y="4761205"/>
                </a:cubicBezTo>
                <a:cubicBezTo>
                  <a:pt x="1700584" y="4720152"/>
                  <a:pt x="1717310" y="4679099"/>
                  <a:pt x="1741637" y="4654773"/>
                </a:cubicBezTo>
                <a:cubicBezTo>
                  <a:pt x="1798663" y="4597756"/>
                  <a:pt x="1896732" y="4605357"/>
                  <a:pt x="1954502" y="4654773"/>
                </a:cubicBezTo>
                <a:close/>
                <a:moveTo>
                  <a:pt x="3021844" y="4942132"/>
                </a:moveTo>
                <a:cubicBezTo>
                  <a:pt x="3046171" y="4966459"/>
                  <a:pt x="3062897" y="5007512"/>
                  <a:pt x="3062897" y="5048565"/>
                </a:cubicBezTo>
                <a:cubicBezTo>
                  <a:pt x="3062897" y="5089617"/>
                  <a:pt x="3046171" y="5122307"/>
                  <a:pt x="3021844" y="5154997"/>
                </a:cubicBezTo>
                <a:cubicBezTo>
                  <a:pt x="2997518" y="5187687"/>
                  <a:pt x="2956465" y="5196050"/>
                  <a:pt x="2915412" y="5196050"/>
                </a:cubicBezTo>
                <a:cubicBezTo>
                  <a:pt x="2874359" y="5196050"/>
                  <a:pt x="2833307" y="5179324"/>
                  <a:pt x="2808980" y="5154997"/>
                </a:cubicBezTo>
                <a:cubicBezTo>
                  <a:pt x="2784653" y="5130670"/>
                  <a:pt x="2767927" y="5089617"/>
                  <a:pt x="2767927" y="5048565"/>
                </a:cubicBezTo>
                <a:cubicBezTo>
                  <a:pt x="2767927" y="5007512"/>
                  <a:pt x="2784653" y="4966459"/>
                  <a:pt x="2808980" y="4942132"/>
                </a:cubicBezTo>
                <a:cubicBezTo>
                  <a:pt x="2865996" y="4885115"/>
                  <a:pt x="2964066" y="4885115"/>
                  <a:pt x="3021844" y="4942132"/>
                </a:cubicBezTo>
                <a:close/>
                <a:moveTo>
                  <a:pt x="4089178" y="4654773"/>
                </a:moveTo>
                <a:cubicBezTo>
                  <a:pt x="4113505" y="4687462"/>
                  <a:pt x="4130231" y="4720152"/>
                  <a:pt x="4130231" y="4761205"/>
                </a:cubicBezTo>
                <a:cubicBezTo>
                  <a:pt x="4130231" y="4802258"/>
                  <a:pt x="4113505" y="4843310"/>
                  <a:pt x="4089178" y="4867637"/>
                </a:cubicBezTo>
                <a:cubicBezTo>
                  <a:pt x="4056488" y="4891964"/>
                  <a:pt x="4023798" y="4908690"/>
                  <a:pt x="3982745" y="4908690"/>
                </a:cubicBezTo>
                <a:cubicBezTo>
                  <a:pt x="3941693" y="4908690"/>
                  <a:pt x="3909003" y="4891964"/>
                  <a:pt x="3876313" y="4867637"/>
                </a:cubicBezTo>
                <a:cubicBezTo>
                  <a:pt x="3851986" y="4834947"/>
                  <a:pt x="3835261" y="4802258"/>
                  <a:pt x="3835261" y="4761205"/>
                </a:cubicBezTo>
                <a:cubicBezTo>
                  <a:pt x="3835261" y="4720152"/>
                  <a:pt x="3851986" y="4679099"/>
                  <a:pt x="3876313" y="4654773"/>
                </a:cubicBezTo>
                <a:cubicBezTo>
                  <a:pt x="3933330" y="4597756"/>
                  <a:pt x="4031399" y="4597756"/>
                  <a:pt x="4089178" y="4654773"/>
                </a:cubicBezTo>
                <a:close/>
                <a:moveTo>
                  <a:pt x="4869152" y="3874799"/>
                </a:moveTo>
                <a:cubicBezTo>
                  <a:pt x="4893478" y="3907488"/>
                  <a:pt x="4910205" y="3940178"/>
                  <a:pt x="4910205" y="3981231"/>
                </a:cubicBezTo>
                <a:cubicBezTo>
                  <a:pt x="4910205" y="4022284"/>
                  <a:pt x="4893478" y="4063336"/>
                  <a:pt x="4869152" y="4087663"/>
                </a:cubicBezTo>
                <a:cubicBezTo>
                  <a:pt x="4844825" y="4111990"/>
                  <a:pt x="4803772" y="4128716"/>
                  <a:pt x="4762719" y="4128716"/>
                </a:cubicBezTo>
                <a:cubicBezTo>
                  <a:pt x="4721667" y="4128716"/>
                  <a:pt x="4680614" y="4111990"/>
                  <a:pt x="4656287" y="4087663"/>
                </a:cubicBezTo>
                <a:cubicBezTo>
                  <a:pt x="4631960" y="4063336"/>
                  <a:pt x="4615234" y="4022284"/>
                  <a:pt x="4615234" y="3981231"/>
                </a:cubicBezTo>
                <a:cubicBezTo>
                  <a:pt x="4615234" y="3940178"/>
                  <a:pt x="4631960" y="3899125"/>
                  <a:pt x="4656287" y="3874799"/>
                </a:cubicBezTo>
                <a:cubicBezTo>
                  <a:pt x="4713313" y="3825383"/>
                  <a:pt x="4811382" y="3825383"/>
                  <a:pt x="4869152" y="3874799"/>
                </a:cubicBezTo>
                <a:close/>
                <a:moveTo>
                  <a:pt x="5197564" y="2922251"/>
                </a:moveTo>
                <a:cubicBezTo>
                  <a:pt x="5197564" y="2963304"/>
                  <a:pt x="5180838" y="3004357"/>
                  <a:pt x="5156512" y="3028683"/>
                </a:cubicBezTo>
                <a:cubicBezTo>
                  <a:pt x="5132185" y="3053010"/>
                  <a:pt x="5091132" y="3069736"/>
                  <a:pt x="5050079" y="3069736"/>
                </a:cubicBezTo>
                <a:cubicBezTo>
                  <a:pt x="5009026" y="3069736"/>
                  <a:pt x="4967974" y="3053010"/>
                  <a:pt x="4943647" y="3028683"/>
                </a:cubicBezTo>
                <a:cubicBezTo>
                  <a:pt x="4919320" y="3004357"/>
                  <a:pt x="4902594" y="2963304"/>
                  <a:pt x="4902594" y="2922251"/>
                </a:cubicBezTo>
                <a:cubicBezTo>
                  <a:pt x="4902594" y="2881198"/>
                  <a:pt x="4919320" y="2840146"/>
                  <a:pt x="4943647" y="2815819"/>
                </a:cubicBezTo>
                <a:cubicBezTo>
                  <a:pt x="5001425" y="2758040"/>
                  <a:pt x="5099495" y="2758040"/>
                  <a:pt x="5157264" y="2815819"/>
                </a:cubicBezTo>
                <a:cubicBezTo>
                  <a:pt x="5180838" y="2840146"/>
                  <a:pt x="5197564" y="2881198"/>
                  <a:pt x="5197564" y="2922251"/>
                </a:cubicBezTo>
                <a:close/>
                <a:moveTo>
                  <a:pt x="4655534" y="1962102"/>
                </a:moveTo>
                <a:cubicBezTo>
                  <a:pt x="4631208" y="1937776"/>
                  <a:pt x="4614482" y="1896723"/>
                  <a:pt x="4614482" y="1855670"/>
                </a:cubicBezTo>
                <a:cubicBezTo>
                  <a:pt x="4614482" y="1814617"/>
                  <a:pt x="4631208" y="1773565"/>
                  <a:pt x="4655534" y="1749238"/>
                </a:cubicBezTo>
                <a:cubicBezTo>
                  <a:pt x="4713313" y="1691459"/>
                  <a:pt x="4811382" y="1691459"/>
                  <a:pt x="4869152" y="1749238"/>
                </a:cubicBezTo>
                <a:cubicBezTo>
                  <a:pt x="4893478" y="1781927"/>
                  <a:pt x="4910205" y="1814617"/>
                  <a:pt x="4910205" y="1855670"/>
                </a:cubicBezTo>
                <a:cubicBezTo>
                  <a:pt x="4910205" y="1896723"/>
                  <a:pt x="4893478" y="1937776"/>
                  <a:pt x="4869152" y="1962102"/>
                </a:cubicBezTo>
                <a:cubicBezTo>
                  <a:pt x="4844825" y="1986429"/>
                  <a:pt x="4803772" y="2003155"/>
                  <a:pt x="4762719" y="2003155"/>
                </a:cubicBezTo>
                <a:cubicBezTo>
                  <a:pt x="4720914" y="2011518"/>
                  <a:pt x="4679861" y="1994792"/>
                  <a:pt x="4655534" y="1962102"/>
                </a:cubicBezTo>
                <a:close/>
                <a:moveTo>
                  <a:pt x="4089178" y="968512"/>
                </a:moveTo>
                <a:cubicBezTo>
                  <a:pt x="4113505" y="992838"/>
                  <a:pt x="4130231" y="1033891"/>
                  <a:pt x="4130231" y="1074944"/>
                </a:cubicBezTo>
                <a:cubicBezTo>
                  <a:pt x="4130231" y="1115997"/>
                  <a:pt x="4113505" y="1157049"/>
                  <a:pt x="4089178" y="1181376"/>
                </a:cubicBezTo>
                <a:cubicBezTo>
                  <a:pt x="4056488" y="1205703"/>
                  <a:pt x="4023798" y="1222429"/>
                  <a:pt x="3982745" y="1222429"/>
                </a:cubicBezTo>
                <a:cubicBezTo>
                  <a:pt x="3941693" y="1222429"/>
                  <a:pt x="3909003" y="1205703"/>
                  <a:pt x="3876313" y="1181376"/>
                </a:cubicBezTo>
                <a:cubicBezTo>
                  <a:pt x="3851986" y="1157049"/>
                  <a:pt x="3835261" y="1115997"/>
                  <a:pt x="3835261" y="1074944"/>
                </a:cubicBezTo>
                <a:cubicBezTo>
                  <a:pt x="3835261" y="1033891"/>
                  <a:pt x="3851986" y="992838"/>
                  <a:pt x="3876313" y="968512"/>
                </a:cubicBezTo>
                <a:cubicBezTo>
                  <a:pt x="3933330" y="910733"/>
                  <a:pt x="4031399" y="910733"/>
                  <a:pt x="4089178" y="968512"/>
                </a:cubicBezTo>
                <a:close/>
                <a:moveTo>
                  <a:pt x="2758812" y="2922251"/>
                </a:moveTo>
                <a:lnTo>
                  <a:pt x="2758812" y="1543231"/>
                </a:lnTo>
                <a:cubicBezTo>
                  <a:pt x="2758812" y="1461126"/>
                  <a:pt x="2824191" y="1395746"/>
                  <a:pt x="2906297" y="1395746"/>
                </a:cubicBezTo>
                <a:cubicBezTo>
                  <a:pt x="2988402" y="1395746"/>
                  <a:pt x="3054534" y="1461126"/>
                  <a:pt x="3054534" y="1543231"/>
                </a:cubicBezTo>
                <a:lnTo>
                  <a:pt x="3054534" y="2766413"/>
                </a:lnTo>
                <a:lnTo>
                  <a:pt x="3883924" y="2766413"/>
                </a:lnTo>
                <a:cubicBezTo>
                  <a:pt x="3966029" y="2766413"/>
                  <a:pt x="4031409" y="2831792"/>
                  <a:pt x="4031409" y="2913898"/>
                </a:cubicBezTo>
                <a:cubicBezTo>
                  <a:pt x="4031409" y="2996003"/>
                  <a:pt x="3966029" y="3061383"/>
                  <a:pt x="3883924" y="3061383"/>
                </a:cubicBezTo>
                <a:lnTo>
                  <a:pt x="2914650" y="3061383"/>
                </a:lnTo>
                <a:cubicBezTo>
                  <a:pt x="2832545" y="3070498"/>
                  <a:pt x="2758812" y="3004357"/>
                  <a:pt x="2758812" y="292225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" name="Forma libre 266">
            <a:extLst>
              <a:ext uri="{FF2B5EF4-FFF2-40B4-BE49-F238E27FC236}">
                <a16:creationId xmlns:a16="http://schemas.microsoft.com/office/drawing/2014/main" xmlns="" id="{BAA18C5E-DA7B-454F-BCEC-E566691E465C}"/>
              </a:ext>
            </a:extLst>
          </p:cNvPr>
          <p:cNvSpPr/>
          <p:nvPr/>
        </p:nvSpPr>
        <p:spPr>
          <a:xfrm>
            <a:off x="4269259" y="1492204"/>
            <a:ext cx="301831" cy="160779"/>
          </a:xfrm>
          <a:custGeom>
            <a:avLst/>
            <a:gdLst>
              <a:gd name="connsiteX0" fmla="*/ 5823428 w 5829300"/>
              <a:gd name="connsiteY0" fmla="*/ 2064296 h 3105150"/>
              <a:gd name="connsiteX1" fmla="*/ 4888501 w 5829300"/>
              <a:gd name="connsiteY1" fmla="*/ 1208608 h 3105150"/>
              <a:gd name="connsiteX2" fmla="*/ 4845220 w 5829300"/>
              <a:gd name="connsiteY2" fmla="*/ 1208608 h 3105150"/>
              <a:gd name="connsiteX3" fmla="*/ 4830570 w 5829300"/>
              <a:gd name="connsiteY3" fmla="*/ 1165327 h 3105150"/>
              <a:gd name="connsiteX4" fmla="*/ 4039481 w 5829300"/>
              <a:gd name="connsiteY4" fmla="*/ 546706 h 3105150"/>
              <a:gd name="connsiteX5" fmla="*/ 3651261 w 5829300"/>
              <a:gd name="connsiteY5" fmla="*/ 633270 h 3105150"/>
              <a:gd name="connsiteX6" fmla="*/ 3600655 w 5829300"/>
              <a:gd name="connsiteY6" fmla="*/ 654577 h 3105150"/>
              <a:gd name="connsiteX7" fmla="*/ 3564698 w 5829300"/>
              <a:gd name="connsiteY7" fmla="*/ 611295 h 3105150"/>
              <a:gd name="connsiteX8" fmla="*/ 2327457 w 5829300"/>
              <a:gd name="connsiteY8" fmla="*/ 0 h 3105150"/>
              <a:gd name="connsiteX9" fmla="*/ 1284660 w 5829300"/>
              <a:gd name="connsiteY9" fmla="*/ 410194 h 3105150"/>
              <a:gd name="connsiteX10" fmla="*/ 781236 w 5829300"/>
              <a:gd name="connsiteY10" fmla="*/ 1431684 h 3105150"/>
              <a:gd name="connsiteX11" fmla="*/ 781236 w 5829300"/>
              <a:gd name="connsiteY11" fmla="*/ 1496273 h 3105150"/>
              <a:gd name="connsiteX12" fmla="*/ 781236 w 5829300"/>
              <a:gd name="connsiteY12" fmla="*/ 1510922 h 3105150"/>
              <a:gd name="connsiteX13" fmla="*/ 766586 w 5829300"/>
              <a:gd name="connsiteY13" fmla="*/ 1510922 h 3105150"/>
              <a:gd name="connsiteX14" fmla="*/ 709322 w 5829300"/>
              <a:gd name="connsiteY14" fmla="*/ 1518247 h 3105150"/>
              <a:gd name="connsiteX15" fmla="*/ 177265 w 5829300"/>
              <a:gd name="connsiteY15" fmla="*/ 1805921 h 3105150"/>
              <a:gd name="connsiteX16" fmla="*/ 76709 w 5829300"/>
              <a:gd name="connsiteY16" fmla="*/ 2640292 h 3105150"/>
              <a:gd name="connsiteX17" fmla="*/ 810534 w 5829300"/>
              <a:gd name="connsiteY17" fmla="*/ 3107750 h 3105150"/>
              <a:gd name="connsiteX18" fmla="*/ 1680872 w 5829300"/>
              <a:gd name="connsiteY18" fmla="*/ 3107750 h 3105150"/>
              <a:gd name="connsiteX19" fmla="*/ 3745168 w 5829300"/>
              <a:gd name="connsiteY19" fmla="*/ 3107750 h 3105150"/>
              <a:gd name="connsiteX20" fmla="*/ 4888520 w 5829300"/>
              <a:gd name="connsiteY20" fmla="*/ 3107750 h 3105150"/>
              <a:gd name="connsiteX21" fmla="*/ 5118921 w 5829300"/>
              <a:gd name="connsiteY21" fmla="*/ 3079118 h 3105150"/>
              <a:gd name="connsiteX22" fmla="*/ 5823428 w 5829300"/>
              <a:gd name="connsiteY22" fmla="*/ 2064296 h 3105150"/>
              <a:gd name="connsiteX23" fmla="*/ 5054313 w 5829300"/>
              <a:gd name="connsiteY23" fmla="*/ 2826753 h 3105150"/>
              <a:gd name="connsiteX24" fmla="*/ 4889168 w 5829300"/>
              <a:gd name="connsiteY24" fmla="*/ 2848061 h 3105150"/>
              <a:gd name="connsiteX25" fmla="*/ 3745816 w 5829300"/>
              <a:gd name="connsiteY25" fmla="*/ 2848061 h 3105150"/>
              <a:gd name="connsiteX26" fmla="*/ 2860829 w 5829300"/>
              <a:gd name="connsiteY26" fmla="*/ 2848061 h 3105150"/>
              <a:gd name="connsiteX27" fmla="*/ 1681519 w 5829300"/>
              <a:gd name="connsiteY27" fmla="*/ 2848061 h 3105150"/>
              <a:gd name="connsiteX28" fmla="*/ 811182 w 5829300"/>
              <a:gd name="connsiteY28" fmla="*/ 2848061 h 3105150"/>
              <a:gd name="connsiteX29" fmla="*/ 322407 w 5829300"/>
              <a:gd name="connsiteY29" fmla="*/ 2531754 h 3105150"/>
              <a:gd name="connsiteX30" fmla="*/ 401645 w 5829300"/>
              <a:gd name="connsiteY30" fmla="*/ 1971065 h 3105150"/>
              <a:gd name="connsiteX31" fmla="*/ 761233 w 5829300"/>
              <a:gd name="connsiteY31" fmla="*/ 1783947 h 3105150"/>
              <a:gd name="connsiteX32" fmla="*/ 797190 w 5829300"/>
              <a:gd name="connsiteY32" fmla="*/ 1783947 h 3105150"/>
              <a:gd name="connsiteX33" fmla="*/ 1005616 w 5829300"/>
              <a:gd name="connsiteY33" fmla="*/ 1712033 h 3105150"/>
              <a:gd name="connsiteX34" fmla="*/ 1062880 w 5829300"/>
              <a:gd name="connsiteY34" fmla="*/ 1503607 h 3105150"/>
              <a:gd name="connsiteX35" fmla="*/ 1062880 w 5829300"/>
              <a:gd name="connsiteY35" fmla="*/ 1460325 h 3105150"/>
              <a:gd name="connsiteX36" fmla="*/ 1479732 w 5829300"/>
              <a:gd name="connsiteY36" fmla="*/ 611972 h 3105150"/>
              <a:gd name="connsiteX37" fmla="*/ 2342745 w 5829300"/>
              <a:gd name="connsiteY37" fmla="*/ 273691 h 3105150"/>
              <a:gd name="connsiteX38" fmla="*/ 3370893 w 5829300"/>
              <a:gd name="connsiteY38" fmla="*/ 784441 h 3105150"/>
              <a:gd name="connsiteX39" fmla="*/ 3593968 w 5829300"/>
              <a:gd name="connsiteY39" fmla="*/ 942927 h 3105150"/>
              <a:gd name="connsiteX40" fmla="*/ 3773762 w 5829300"/>
              <a:gd name="connsiteY40" fmla="*/ 885663 h 3105150"/>
              <a:gd name="connsiteX41" fmla="*/ 4054102 w 5829300"/>
              <a:gd name="connsiteY41" fmla="*/ 821074 h 3105150"/>
              <a:gd name="connsiteX42" fmla="*/ 4593483 w 5829300"/>
              <a:gd name="connsiteY42" fmla="*/ 1252575 h 3105150"/>
              <a:gd name="connsiteX43" fmla="*/ 4902465 w 5829300"/>
              <a:gd name="connsiteY43" fmla="*/ 1482976 h 3105150"/>
              <a:gd name="connsiteX44" fmla="*/ 5571035 w 5829300"/>
              <a:gd name="connsiteY44" fmla="*/ 2101596 h 3105150"/>
              <a:gd name="connsiteX45" fmla="*/ 5054313 w 5829300"/>
              <a:gd name="connsiteY45" fmla="*/ 2826753 h 310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829300" h="3105150">
                <a:moveTo>
                  <a:pt x="5823428" y="2064296"/>
                </a:moveTo>
                <a:cubicBezTo>
                  <a:pt x="5766163" y="1568196"/>
                  <a:pt x="5384602" y="1222601"/>
                  <a:pt x="4888501" y="1208608"/>
                </a:cubicBezTo>
                <a:cubicBezTo>
                  <a:pt x="4873852" y="1208608"/>
                  <a:pt x="4859869" y="1208608"/>
                  <a:pt x="4845220" y="1208608"/>
                </a:cubicBezTo>
                <a:cubicBezTo>
                  <a:pt x="4837895" y="1193959"/>
                  <a:pt x="4837895" y="1179976"/>
                  <a:pt x="4830570" y="1165327"/>
                </a:cubicBezTo>
                <a:cubicBezTo>
                  <a:pt x="4715366" y="784431"/>
                  <a:pt x="4413718" y="546706"/>
                  <a:pt x="4039481" y="546706"/>
                </a:cubicBezTo>
                <a:cubicBezTo>
                  <a:pt x="3910293" y="546706"/>
                  <a:pt x="3780448" y="575339"/>
                  <a:pt x="3651261" y="633270"/>
                </a:cubicBezTo>
                <a:cubicBezTo>
                  <a:pt x="3636612" y="640594"/>
                  <a:pt x="3615304" y="647919"/>
                  <a:pt x="3600655" y="654577"/>
                </a:cubicBezTo>
                <a:cubicBezTo>
                  <a:pt x="3593330" y="639928"/>
                  <a:pt x="3579347" y="625945"/>
                  <a:pt x="3564698" y="611295"/>
                </a:cubicBezTo>
                <a:cubicBezTo>
                  <a:pt x="3262374" y="223075"/>
                  <a:pt x="2809565" y="0"/>
                  <a:pt x="2327457" y="0"/>
                </a:cubicBezTo>
                <a:cubicBezTo>
                  <a:pt x="1939237" y="0"/>
                  <a:pt x="1572325" y="143837"/>
                  <a:pt x="1284660" y="410194"/>
                </a:cubicBezTo>
                <a:cubicBezTo>
                  <a:pt x="989662" y="683209"/>
                  <a:pt x="817202" y="1028814"/>
                  <a:pt x="781236" y="1431684"/>
                </a:cubicBezTo>
                <a:cubicBezTo>
                  <a:pt x="781236" y="1452991"/>
                  <a:pt x="781236" y="1474965"/>
                  <a:pt x="781236" y="1496273"/>
                </a:cubicBezTo>
                <a:cubicBezTo>
                  <a:pt x="781236" y="1496273"/>
                  <a:pt x="781236" y="1503597"/>
                  <a:pt x="781236" y="1510922"/>
                </a:cubicBezTo>
                <a:cubicBezTo>
                  <a:pt x="773911" y="1510922"/>
                  <a:pt x="773911" y="1510922"/>
                  <a:pt x="766586" y="1510922"/>
                </a:cubicBezTo>
                <a:cubicBezTo>
                  <a:pt x="745279" y="1510922"/>
                  <a:pt x="723304" y="1510922"/>
                  <a:pt x="709322" y="1518247"/>
                </a:cubicBezTo>
                <a:cubicBezTo>
                  <a:pt x="486246" y="1546879"/>
                  <a:pt x="306452" y="1640777"/>
                  <a:pt x="177265" y="1805921"/>
                </a:cubicBezTo>
                <a:cubicBezTo>
                  <a:pt x="-17179" y="2057629"/>
                  <a:pt x="-53135" y="2345303"/>
                  <a:pt x="76709" y="2640292"/>
                </a:cubicBezTo>
                <a:cubicBezTo>
                  <a:pt x="213222" y="2942615"/>
                  <a:pt x="472254" y="3107750"/>
                  <a:pt x="810534" y="3107750"/>
                </a:cubicBezTo>
                <a:cubicBezTo>
                  <a:pt x="1098209" y="3107750"/>
                  <a:pt x="1393198" y="3107750"/>
                  <a:pt x="1680872" y="3107750"/>
                </a:cubicBezTo>
                <a:lnTo>
                  <a:pt x="3745168" y="3107750"/>
                </a:lnTo>
                <a:cubicBezTo>
                  <a:pt x="4126063" y="3107750"/>
                  <a:pt x="4507625" y="3107750"/>
                  <a:pt x="4888520" y="3107750"/>
                </a:cubicBezTo>
                <a:cubicBezTo>
                  <a:pt x="4975084" y="3107750"/>
                  <a:pt x="5047007" y="3100426"/>
                  <a:pt x="5118921" y="3079118"/>
                </a:cubicBezTo>
                <a:cubicBezTo>
                  <a:pt x="5571720" y="2970581"/>
                  <a:pt x="5881359" y="2524430"/>
                  <a:pt x="5823428" y="2064296"/>
                </a:cubicBezTo>
                <a:close/>
                <a:moveTo>
                  <a:pt x="5054313" y="2826753"/>
                </a:moveTo>
                <a:cubicBezTo>
                  <a:pt x="5003706" y="2841403"/>
                  <a:pt x="4946433" y="2841403"/>
                  <a:pt x="4889168" y="2848061"/>
                </a:cubicBezTo>
                <a:cubicBezTo>
                  <a:pt x="4508273" y="2848061"/>
                  <a:pt x="4126711" y="2848061"/>
                  <a:pt x="3745816" y="2848061"/>
                </a:cubicBezTo>
                <a:lnTo>
                  <a:pt x="2860829" y="2848061"/>
                </a:lnTo>
                <a:lnTo>
                  <a:pt x="1681519" y="2848061"/>
                </a:lnTo>
                <a:cubicBezTo>
                  <a:pt x="1393845" y="2848061"/>
                  <a:pt x="1098856" y="2848061"/>
                  <a:pt x="811182" y="2848061"/>
                </a:cubicBezTo>
                <a:cubicBezTo>
                  <a:pt x="580782" y="2848061"/>
                  <a:pt x="415637" y="2740181"/>
                  <a:pt x="322407" y="2531754"/>
                </a:cubicBezTo>
                <a:cubicBezTo>
                  <a:pt x="229176" y="2330653"/>
                  <a:pt x="257818" y="2150859"/>
                  <a:pt x="401645" y="1971065"/>
                </a:cubicBezTo>
                <a:cubicBezTo>
                  <a:pt x="488208" y="1863185"/>
                  <a:pt x="602747" y="1805921"/>
                  <a:pt x="761233" y="1783947"/>
                </a:cubicBezTo>
                <a:cubicBezTo>
                  <a:pt x="775882" y="1783947"/>
                  <a:pt x="789865" y="1783947"/>
                  <a:pt x="797190" y="1783947"/>
                </a:cubicBezTo>
                <a:cubicBezTo>
                  <a:pt x="861779" y="1783947"/>
                  <a:pt x="941027" y="1776622"/>
                  <a:pt x="1005616" y="1712033"/>
                </a:cubicBezTo>
                <a:cubicBezTo>
                  <a:pt x="1062880" y="1647444"/>
                  <a:pt x="1062880" y="1568196"/>
                  <a:pt x="1062880" y="1503607"/>
                </a:cubicBezTo>
                <a:cubicBezTo>
                  <a:pt x="1062880" y="1488958"/>
                  <a:pt x="1062880" y="1474975"/>
                  <a:pt x="1062880" y="1460325"/>
                </a:cubicBezTo>
                <a:cubicBezTo>
                  <a:pt x="1091512" y="1122045"/>
                  <a:pt x="1228025" y="841705"/>
                  <a:pt x="1479732" y="611972"/>
                </a:cubicBezTo>
                <a:cubicBezTo>
                  <a:pt x="1716791" y="388896"/>
                  <a:pt x="2026439" y="273691"/>
                  <a:pt x="2342745" y="273691"/>
                </a:cubicBezTo>
                <a:cubicBezTo>
                  <a:pt x="2745614" y="273691"/>
                  <a:pt x="3119185" y="460810"/>
                  <a:pt x="3370893" y="784441"/>
                </a:cubicBezTo>
                <a:cubicBezTo>
                  <a:pt x="3435482" y="871004"/>
                  <a:pt x="3493422" y="942927"/>
                  <a:pt x="3593968" y="942927"/>
                </a:cubicBezTo>
                <a:cubicBezTo>
                  <a:pt x="3651232" y="942927"/>
                  <a:pt x="3694523" y="921620"/>
                  <a:pt x="3773762" y="885663"/>
                </a:cubicBezTo>
                <a:cubicBezTo>
                  <a:pt x="3866993" y="842381"/>
                  <a:pt x="3960881" y="821074"/>
                  <a:pt x="4054102" y="821074"/>
                </a:cubicBezTo>
                <a:cubicBezTo>
                  <a:pt x="4305809" y="821074"/>
                  <a:pt x="4506911" y="986218"/>
                  <a:pt x="4593483" y="1252575"/>
                </a:cubicBezTo>
                <a:cubicBezTo>
                  <a:pt x="4650748" y="1439694"/>
                  <a:pt x="4701364" y="1482976"/>
                  <a:pt x="4902465" y="1482976"/>
                </a:cubicBezTo>
                <a:cubicBezTo>
                  <a:pt x="5262053" y="1490301"/>
                  <a:pt x="5528410" y="1734684"/>
                  <a:pt x="5571035" y="2101596"/>
                </a:cubicBezTo>
                <a:cubicBezTo>
                  <a:pt x="5601019" y="2423884"/>
                  <a:pt x="5377943" y="2747505"/>
                  <a:pt x="5054313" y="2826753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" name="Forma libre 268">
            <a:extLst>
              <a:ext uri="{FF2B5EF4-FFF2-40B4-BE49-F238E27FC236}">
                <a16:creationId xmlns:a16="http://schemas.microsoft.com/office/drawing/2014/main" xmlns="" id="{257B3DA4-3077-B244-88B6-A04ADBE40015}"/>
              </a:ext>
            </a:extLst>
          </p:cNvPr>
          <p:cNvSpPr/>
          <p:nvPr/>
        </p:nvSpPr>
        <p:spPr>
          <a:xfrm>
            <a:off x="4983499" y="1393573"/>
            <a:ext cx="301338" cy="297392"/>
          </a:xfrm>
          <a:custGeom>
            <a:avLst/>
            <a:gdLst>
              <a:gd name="connsiteX0" fmla="*/ 3668335 w 5819775"/>
              <a:gd name="connsiteY0" fmla="*/ 5745259 h 5743575"/>
              <a:gd name="connsiteX1" fmla="*/ 3638655 w 5819775"/>
              <a:gd name="connsiteY1" fmla="*/ 5745259 h 5743575"/>
              <a:gd name="connsiteX2" fmla="*/ 3265951 w 5819775"/>
              <a:gd name="connsiteY2" fmla="*/ 5469186 h 5743575"/>
              <a:gd name="connsiteX3" fmla="*/ 3250768 w 5819775"/>
              <a:gd name="connsiteY3" fmla="*/ 5447098 h 5743575"/>
              <a:gd name="connsiteX4" fmla="*/ 3011967 w 5819775"/>
              <a:gd name="connsiteY4" fmla="*/ 5313205 h 5743575"/>
              <a:gd name="connsiteX5" fmla="*/ 3005061 w 5819775"/>
              <a:gd name="connsiteY5" fmla="*/ 5313205 h 5743575"/>
              <a:gd name="connsiteX6" fmla="*/ 2833897 w 5819775"/>
              <a:gd name="connsiteY6" fmla="*/ 5313205 h 5743575"/>
              <a:gd name="connsiteX7" fmla="*/ 2825611 w 5819775"/>
              <a:gd name="connsiteY7" fmla="*/ 5313205 h 5743575"/>
              <a:gd name="connsiteX8" fmla="*/ 2586809 w 5819775"/>
              <a:gd name="connsiteY8" fmla="*/ 5447098 h 5743575"/>
              <a:gd name="connsiteX9" fmla="*/ 2571626 w 5819775"/>
              <a:gd name="connsiteY9" fmla="*/ 5469186 h 5743575"/>
              <a:gd name="connsiteX10" fmla="*/ 2198923 w 5819775"/>
              <a:gd name="connsiteY10" fmla="*/ 5745259 h 5743575"/>
              <a:gd name="connsiteX11" fmla="*/ 2131971 w 5819775"/>
              <a:gd name="connsiteY11" fmla="*/ 5745259 h 5743575"/>
              <a:gd name="connsiteX12" fmla="*/ 1706813 w 5819775"/>
              <a:gd name="connsiteY12" fmla="*/ 5588592 h 5743575"/>
              <a:gd name="connsiteX13" fmla="*/ 1654359 w 5819775"/>
              <a:gd name="connsiteY13" fmla="*/ 5551320 h 5743575"/>
              <a:gd name="connsiteX14" fmla="*/ 1550146 w 5819775"/>
              <a:gd name="connsiteY14" fmla="*/ 5096492 h 5743575"/>
              <a:gd name="connsiteX15" fmla="*/ 1557738 w 5819775"/>
              <a:gd name="connsiteY15" fmla="*/ 5066812 h 5743575"/>
              <a:gd name="connsiteX16" fmla="*/ 1461116 w 5819775"/>
              <a:gd name="connsiteY16" fmla="*/ 4813514 h 5743575"/>
              <a:gd name="connsiteX17" fmla="*/ 1453525 w 5819775"/>
              <a:gd name="connsiteY17" fmla="*/ 4805922 h 5743575"/>
              <a:gd name="connsiteX18" fmla="*/ 1319632 w 5819775"/>
              <a:gd name="connsiteY18" fmla="*/ 4694108 h 5743575"/>
              <a:gd name="connsiteX19" fmla="*/ 1319632 w 5819775"/>
              <a:gd name="connsiteY19" fmla="*/ 4694108 h 5743575"/>
              <a:gd name="connsiteX20" fmla="*/ 1133285 w 5819775"/>
              <a:gd name="connsiteY20" fmla="*/ 4627157 h 5743575"/>
              <a:gd name="connsiteX21" fmla="*/ 1043559 w 5819775"/>
              <a:gd name="connsiteY21" fmla="*/ 4642340 h 5743575"/>
              <a:gd name="connsiteX22" fmla="*/ 1013879 w 5819775"/>
              <a:gd name="connsiteY22" fmla="*/ 4649931 h 5743575"/>
              <a:gd name="connsiteX23" fmla="*/ 544554 w 5819775"/>
              <a:gd name="connsiteY23" fmla="*/ 4620252 h 5743575"/>
              <a:gd name="connsiteX24" fmla="*/ 499691 w 5819775"/>
              <a:gd name="connsiteY24" fmla="*/ 4575389 h 5743575"/>
              <a:gd name="connsiteX25" fmla="*/ 276073 w 5819775"/>
              <a:gd name="connsiteY25" fmla="*/ 4195094 h 5743575"/>
              <a:gd name="connsiteX26" fmla="*/ 260890 w 5819775"/>
              <a:gd name="connsiteY26" fmla="*/ 4135734 h 5743575"/>
              <a:gd name="connsiteX27" fmla="*/ 469325 w 5819775"/>
              <a:gd name="connsiteY27" fmla="*/ 3710576 h 5743575"/>
              <a:gd name="connsiteX28" fmla="*/ 491414 w 5819775"/>
              <a:gd name="connsiteY28" fmla="*/ 3695393 h 5743575"/>
              <a:gd name="connsiteX29" fmla="*/ 581139 w 5819775"/>
              <a:gd name="connsiteY29" fmla="*/ 3434503 h 5743575"/>
              <a:gd name="connsiteX30" fmla="*/ 581139 w 5819775"/>
              <a:gd name="connsiteY30" fmla="*/ 3426912 h 5743575"/>
              <a:gd name="connsiteX31" fmla="*/ 551459 w 5819775"/>
              <a:gd name="connsiteY31" fmla="*/ 3255748 h 5743575"/>
              <a:gd name="connsiteX32" fmla="*/ 551459 w 5819775"/>
              <a:gd name="connsiteY32" fmla="*/ 3248156 h 5743575"/>
              <a:gd name="connsiteX33" fmla="*/ 380295 w 5819775"/>
              <a:gd name="connsiteY33" fmla="*/ 3039721 h 5743575"/>
              <a:gd name="connsiteX34" fmla="*/ 350615 w 5819775"/>
              <a:gd name="connsiteY34" fmla="*/ 3032129 h 5743575"/>
              <a:gd name="connsiteX35" fmla="*/ 7591 w 5819775"/>
              <a:gd name="connsiteY35" fmla="*/ 2696697 h 5743575"/>
              <a:gd name="connsiteX36" fmla="*/ 0 w 5819775"/>
              <a:gd name="connsiteY36" fmla="*/ 2637356 h 5743575"/>
              <a:gd name="connsiteX37" fmla="*/ 74543 w 5819775"/>
              <a:gd name="connsiteY37" fmla="*/ 2219790 h 5743575"/>
              <a:gd name="connsiteX38" fmla="*/ 104223 w 5819775"/>
              <a:gd name="connsiteY38" fmla="*/ 2167335 h 5743575"/>
              <a:gd name="connsiteX39" fmla="*/ 543868 w 5819775"/>
              <a:gd name="connsiteY39" fmla="*/ 1965805 h 5743575"/>
              <a:gd name="connsiteX40" fmla="*/ 573548 w 5819775"/>
              <a:gd name="connsiteY40" fmla="*/ 1965805 h 5743575"/>
              <a:gd name="connsiteX41" fmla="*/ 804758 w 5819775"/>
              <a:gd name="connsiteY41" fmla="*/ 1824321 h 5743575"/>
              <a:gd name="connsiteX42" fmla="*/ 812349 w 5819775"/>
              <a:gd name="connsiteY42" fmla="*/ 1816729 h 5743575"/>
              <a:gd name="connsiteX43" fmla="*/ 902075 w 5819775"/>
              <a:gd name="connsiteY43" fmla="*/ 1667654 h 5743575"/>
              <a:gd name="connsiteX44" fmla="*/ 909666 w 5819775"/>
              <a:gd name="connsiteY44" fmla="*/ 1660062 h 5743575"/>
              <a:gd name="connsiteX45" fmla="*/ 917258 w 5819775"/>
              <a:gd name="connsiteY45" fmla="*/ 1383990 h 5743575"/>
              <a:gd name="connsiteX46" fmla="*/ 902075 w 5819775"/>
              <a:gd name="connsiteY46" fmla="*/ 1361901 h 5743575"/>
              <a:gd name="connsiteX47" fmla="*/ 857212 w 5819775"/>
              <a:gd name="connsiteY47" fmla="*/ 869802 h 5743575"/>
              <a:gd name="connsiteX48" fmla="*/ 886892 w 5819775"/>
              <a:gd name="connsiteY48" fmla="*/ 817347 h 5743575"/>
              <a:gd name="connsiteX49" fmla="*/ 1200236 w 5819775"/>
              <a:gd name="connsiteY49" fmla="*/ 556458 h 5743575"/>
              <a:gd name="connsiteX50" fmla="*/ 1252690 w 5819775"/>
              <a:gd name="connsiteY50" fmla="*/ 534369 h 5743575"/>
              <a:gd name="connsiteX51" fmla="*/ 1729607 w 5819775"/>
              <a:gd name="connsiteY51" fmla="*/ 661366 h 5743575"/>
              <a:gd name="connsiteX52" fmla="*/ 1751695 w 5819775"/>
              <a:gd name="connsiteY52" fmla="*/ 676549 h 5743575"/>
              <a:gd name="connsiteX53" fmla="*/ 1915963 w 5819775"/>
              <a:gd name="connsiteY53" fmla="*/ 735909 h 5743575"/>
              <a:gd name="connsiteX54" fmla="*/ 2020176 w 5819775"/>
              <a:gd name="connsiteY54" fmla="*/ 720726 h 5743575"/>
              <a:gd name="connsiteX55" fmla="*/ 2020176 w 5819775"/>
              <a:gd name="connsiteY55" fmla="*/ 720726 h 5743575"/>
              <a:gd name="connsiteX56" fmla="*/ 2191341 w 5819775"/>
              <a:gd name="connsiteY56" fmla="*/ 661366 h 5743575"/>
              <a:gd name="connsiteX57" fmla="*/ 2370096 w 5819775"/>
              <a:gd name="connsiteY57" fmla="*/ 452930 h 5743575"/>
              <a:gd name="connsiteX58" fmla="*/ 2377688 w 5819775"/>
              <a:gd name="connsiteY58" fmla="*/ 430842 h 5743575"/>
              <a:gd name="connsiteX59" fmla="*/ 2660666 w 5819775"/>
              <a:gd name="connsiteY59" fmla="*/ 20876 h 5743575"/>
              <a:gd name="connsiteX60" fmla="*/ 2713120 w 5819775"/>
              <a:gd name="connsiteY60" fmla="*/ 5694 h 5743575"/>
              <a:gd name="connsiteX61" fmla="*/ 3115494 w 5819775"/>
              <a:gd name="connsiteY61" fmla="*/ 5694 h 5743575"/>
              <a:gd name="connsiteX62" fmla="*/ 3167948 w 5819775"/>
              <a:gd name="connsiteY62" fmla="*/ 20876 h 5743575"/>
              <a:gd name="connsiteX63" fmla="*/ 3450927 w 5819775"/>
              <a:gd name="connsiteY63" fmla="*/ 423251 h 5743575"/>
              <a:gd name="connsiteX64" fmla="*/ 3458518 w 5819775"/>
              <a:gd name="connsiteY64" fmla="*/ 452930 h 5743575"/>
              <a:gd name="connsiteX65" fmla="*/ 3637274 w 5819775"/>
              <a:gd name="connsiteY65" fmla="*/ 661366 h 5743575"/>
              <a:gd name="connsiteX66" fmla="*/ 3637274 w 5819775"/>
              <a:gd name="connsiteY66" fmla="*/ 661366 h 5743575"/>
              <a:gd name="connsiteX67" fmla="*/ 3808438 w 5819775"/>
              <a:gd name="connsiteY67" fmla="*/ 720726 h 5743575"/>
              <a:gd name="connsiteX68" fmla="*/ 3808438 w 5819775"/>
              <a:gd name="connsiteY68" fmla="*/ 720726 h 5743575"/>
              <a:gd name="connsiteX69" fmla="*/ 3912651 w 5819775"/>
              <a:gd name="connsiteY69" fmla="*/ 742814 h 5743575"/>
              <a:gd name="connsiteX70" fmla="*/ 4076919 w 5819775"/>
              <a:gd name="connsiteY70" fmla="*/ 683455 h 5743575"/>
              <a:gd name="connsiteX71" fmla="*/ 4099008 w 5819775"/>
              <a:gd name="connsiteY71" fmla="*/ 668272 h 5743575"/>
              <a:gd name="connsiteX72" fmla="*/ 4575924 w 5819775"/>
              <a:gd name="connsiteY72" fmla="*/ 541275 h 5743575"/>
              <a:gd name="connsiteX73" fmla="*/ 4628379 w 5819775"/>
              <a:gd name="connsiteY73" fmla="*/ 563363 h 5743575"/>
              <a:gd name="connsiteX74" fmla="*/ 4941722 w 5819775"/>
              <a:gd name="connsiteY74" fmla="*/ 824253 h 5743575"/>
              <a:gd name="connsiteX75" fmla="*/ 4971403 w 5819775"/>
              <a:gd name="connsiteY75" fmla="*/ 876707 h 5743575"/>
              <a:gd name="connsiteX76" fmla="*/ 4926540 w 5819775"/>
              <a:gd name="connsiteY76" fmla="*/ 1368807 h 5743575"/>
              <a:gd name="connsiteX77" fmla="*/ 4911357 w 5819775"/>
              <a:gd name="connsiteY77" fmla="*/ 1390895 h 5743575"/>
              <a:gd name="connsiteX78" fmla="*/ 4918948 w 5819775"/>
              <a:gd name="connsiteY78" fmla="*/ 1666968 h 5743575"/>
              <a:gd name="connsiteX79" fmla="*/ 4926540 w 5819775"/>
              <a:gd name="connsiteY79" fmla="*/ 1674559 h 5743575"/>
              <a:gd name="connsiteX80" fmla="*/ 5016266 w 5819775"/>
              <a:gd name="connsiteY80" fmla="*/ 1823635 h 5743575"/>
              <a:gd name="connsiteX81" fmla="*/ 5023857 w 5819775"/>
              <a:gd name="connsiteY81" fmla="*/ 1831227 h 5743575"/>
              <a:gd name="connsiteX82" fmla="*/ 5255067 w 5819775"/>
              <a:gd name="connsiteY82" fmla="*/ 1972711 h 5743575"/>
              <a:gd name="connsiteX83" fmla="*/ 5284746 w 5819775"/>
              <a:gd name="connsiteY83" fmla="*/ 1972711 h 5743575"/>
              <a:gd name="connsiteX84" fmla="*/ 5724392 w 5819775"/>
              <a:gd name="connsiteY84" fmla="*/ 2174241 h 5743575"/>
              <a:gd name="connsiteX85" fmla="*/ 5754072 w 5819775"/>
              <a:gd name="connsiteY85" fmla="*/ 2226695 h 5743575"/>
              <a:gd name="connsiteX86" fmla="*/ 5828614 w 5819775"/>
              <a:gd name="connsiteY86" fmla="*/ 2644262 h 5743575"/>
              <a:gd name="connsiteX87" fmla="*/ 5821023 w 5819775"/>
              <a:gd name="connsiteY87" fmla="*/ 2703621 h 5743575"/>
              <a:gd name="connsiteX88" fmla="*/ 5477999 w 5819775"/>
              <a:gd name="connsiteY88" fmla="*/ 3039054 h 5743575"/>
              <a:gd name="connsiteX89" fmla="*/ 5448319 w 5819775"/>
              <a:gd name="connsiteY89" fmla="*/ 3046645 h 5743575"/>
              <a:gd name="connsiteX90" fmla="*/ 5277155 w 5819775"/>
              <a:gd name="connsiteY90" fmla="*/ 3262672 h 5743575"/>
              <a:gd name="connsiteX91" fmla="*/ 5277155 w 5819775"/>
              <a:gd name="connsiteY91" fmla="*/ 3270263 h 5743575"/>
              <a:gd name="connsiteX92" fmla="*/ 5247475 w 5819775"/>
              <a:gd name="connsiteY92" fmla="*/ 3441428 h 5743575"/>
              <a:gd name="connsiteX93" fmla="*/ 5247475 w 5819775"/>
              <a:gd name="connsiteY93" fmla="*/ 3449019 h 5743575"/>
              <a:gd name="connsiteX94" fmla="*/ 5337201 w 5819775"/>
              <a:gd name="connsiteY94" fmla="*/ 3680229 h 5743575"/>
              <a:gd name="connsiteX95" fmla="*/ 5359289 w 5819775"/>
              <a:gd name="connsiteY95" fmla="*/ 3702318 h 5743575"/>
              <a:gd name="connsiteX96" fmla="*/ 5567725 w 5819775"/>
              <a:gd name="connsiteY96" fmla="*/ 4127475 h 5743575"/>
              <a:gd name="connsiteX97" fmla="*/ 5552542 w 5819775"/>
              <a:gd name="connsiteY97" fmla="*/ 4186835 h 5743575"/>
              <a:gd name="connsiteX98" fmla="*/ 5328923 w 5819775"/>
              <a:gd name="connsiteY98" fmla="*/ 4567131 h 5743575"/>
              <a:gd name="connsiteX99" fmla="*/ 5284061 w 5819775"/>
              <a:gd name="connsiteY99" fmla="*/ 4611993 h 5743575"/>
              <a:gd name="connsiteX100" fmla="*/ 5015580 w 5819775"/>
              <a:gd name="connsiteY100" fmla="*/ 4678944 h 5743575"/>
              <a:gd name="connsiteX101" fmla="*/ 5015580 w 5819775"/>
              <a:gd name="connsiteY101" fmla="*/ 4678944 h 5743575"/>
              <a:gd name="connsiteX102" fmla="*/ 4814049 w 5819775"/>
              <a:gd name="connsiteY102" fmla="*/ 4641673 h 5743575"/>
              <a:gd name="connsiteX103" fmla="*/ 4784370 w 5819775"/>
              <a:gd name="connsiteY103" fmla="*/ 4634082 h 5743575"/>
              <a:gd name="connsiteX104" fmla="*/ 4784370 w 5819775"/>
              <a:gd name="connsiteY104" fmla="*/ 4634082 h 5743575"/>
              <a:gd name="connsiteX105" fmla="*/ 4694644 w 5819775"/>
              <a:gd name="connsiteY105" fmla="*/ 4618899 h 5743575"/>
              <a:gd name="connsiteX106" fmla="*/ 4515889 w 5819775"/>
              <a:gd name="connsiteY106" fmla="*/ 4685850 h 5743575"/>
              <a:gd name="connsiteX107" fmla="*/ 4508297 w 5819775"/>
              <a:gd name="connsiteY107" fmla="*/ 4685850 h 5743575"/>
              <a:gd name="connsiteX108" fmla="*/ 4374404 w 5819775"/>
              <a:gd name="connsiteY108" fmla="*/ 4797664 h 5743575"/>
              <a:gd name="connsiteX109" fmla="*/ 4366813 w 5819775"/>
              <a:gd name="connsiteY109" fmla="*/ 4805256 h 5743575"/>
              <a:gd name="connsiteX110" fmla="*/ 4262600 w 5819775"/>
              <a:gd name="connsiteY110" fmla="*/ 5050962 h 5743575"/>
              <a:gd name="connsiteX111" fmla="*/ 4270191 w 5819775"/>
              <a:gd name="connsiteY111" fmla="*/ 5095825 h 5743575"/>
              <a:gd name="connsiteX112" fmla="*/ 4270191 w 5819775"/>
              <a:gd name="connsiteY112" fmla="*/ 5095825 h 5743575"/>
              <a:gd name="connsiteX113" fmla="*/ 4158377 w 5819775"/>
              <a:gd name="connsiteY113" fmla="*/ 5535471 h 5743575"/>
              <a:gd name="connsiteX114" fmla="*/ 4105923 w 5819775"/>
              <a:gd name="connsiteY114" fmla="*/ 5572742 h 5743575"/>
              <a:gd name="connsiteX115" fmla="*/ 3680765 w 5819775"/>
              <a:gd name="connsiteY115" fmla="*/ 5729409 h 5743575"/>
              <a:gd name="connsiteX116" fmla="*/ 3668335 w 5819775"/>
              <a:gd name="connsiteY116" fmla="*/ 5745259 h 5743575"/>
              <a:gd name="connsiteX117" fmla="*/ 1849698 w 5819775"/>
              <a:gd name="connsiteY117" fmla="*/ 5349781 h 5743575"/>
              <a:gd name="connsiteX118" fmla="*/ 2163042 w 5819775"/>
              <a:gd name="connsiteY118" fmla="*/ 5461595 h 5743575"/>
              <a:gd name="connsiteX119" fmla="*/ 2327310 w 5819775"/>
              <a:gd name="connsiteY119" fmla="*/ 5320111 h 5743575"/>
              <a:gd name="connsiteX120" fmla="*/ 2342493 w 5819775"/>
              <a:gd name="connsiteY120" fmla="*/ 5290430 h 5743575"/>
              <a:gd name="connsiteX121" fmla="*/ 2804913 w 5819775"/>
              <a:gd name="connsiteY121" fmla="*/ 5029541 h 5743575"/>
              <a:gd name="connsiteX122" fmla="*/ 2812504 w 5819775"/>
              <a:gd name="connsiteY122" fmla="*/ 5029541 h 5743575"/>
              <a:gd name="connsiteX123" fmla="*/ 2820095 w 5819775"/>
              <a:gd name="connsiteY123" fmla="*/ 5029541 h 5743575"/>
              <a:gd name="connsiteX124" fmla="*/ 2991260 w 5819775"/>
              <a:gd name="connsiteY124" fmla="*/ 5029541 h 5743575"/>
              <a:gd name="connsiteX125" fmla="*/ 2998851 w 5819775"/>
              <a:gd name="connsiteY125" fmla="*/ 5029541 h 5743575"/>
              <a:gd name="connsiteX126" fmla="*/ 3006442 w 5819775"/>
              <a:gd name="connsiteY126" fmla="*/ 5029541 h 5743575"/>
              <a:gd name="connsiteX127" fmla="*/ 3468862 w 5819775"/>
              <a:gd name="connsiteY127" fmla="*/ 5290430 h 5743575"/>
              <a:gd name="connsiteX128" fmla="*/ 3484045 w 5819775"/>
              <a:gd name="connsiteY128" fmla="*/ 5320111 h 5743575"/>
              <a:gd name="connsiteX129" fmla="*/ 3648313 w 5819775"/>
              <a:gd name="connsiteY129" fmla="*/ 5461595 h 5743575"/>
              <a:gd name="connsiteX130" fmla="*/ 3961657 w 5819775"/>
              <a:gd name="connsiteY130" fmla="*/ 5349781 h 5743575"/>
              <a:gd name="connsiteX131" fmla="*/ 3991337 w 5819775"/>
              <a:gd name="connsiteY131" fmla="*/ 5133754 h 5743575"/>
              <a:gd name="connsiteX132" fmla="*/ 3983746 w 5819775"/>
              <a:gd name="connsiteY132" fmla="*/ 5104074 h 5743575"/>
              <a:gd name="connsiteX133" fmla="*/ 4170093 w 5819775"/>
              <a:gd name="connsiteY133" fmla="*/ 4604383 h 5743575"/>
              <a:gd name="connsiteX134" fmla="*/ 4177684 w 5819775"/>
              <a:gd name="connsiteY134" fmla="*/ 4596791 h 5743575"/>
              <a:gd name="connsiteX135" fmla="*/ 4185275 w 5819775"/>
              <a:gd name="connsiteY135" fmla="*/ 4589200 h 5743575"/>
              <a:gd name="connsiteX136" fmla="*/ 4319169 w 5819775"/>
              <a:gd name="connsiteY136" fmla="*/ 4477386 h 5743575"/>
              <a:gd name="connsiteX137" fmla="*/ 4326760 w 5819775"/>
              <a:gd name="connsiteY137" fmla="*/ 4469794 h 5743575"/>
              <a:gd name="connsiteX138" fmla="*/ 4334351 w 5819775"/>
              <a:gd name="connsiteY138" fmla="*/ 4462203 h 5743575"/>
              <a:gd name="connsiteX139" fmla="*/ 4684967 w 5819775"/>
              <a:gd name="connsiteY139" fmla="*/ 4335206 h 5743575"/>
              <a:gd name="connsiteX140" fmla="*/ 4856131 w 5819775"/>
              <a:gd name="connsiteY140" fmla="*/ 4364886 h 5743575"/>
              <a:gd name="connsiteX141" fmla="*/ 4885811 w 5819775"/>
              <a:gd name="connsiteY141" fmla="*/ 4372478 h 5743575"/>
              <a:gd name="connsiteX142" fmla="*/ 4997625 w 5819775"/>
              <a:gd name="connsiteY142" fmla="*/ 4394566 h 5743575"/>
              <a:gd name="connsiteX143" fmla="*/ 4997625 w 5819775"/>
              <a:gd name="connsiteY143" fmla="*/ 4394566 h 5743575"/>
              <a:gd name="connsiteX144" fmla="*/ 5101848 w 5819775"/>
              <a:gd name="connsiteY144" fmla="*/ 4372478 h 5743575"/>
              <a:gd name="connsiteX145" fmla="*/ 5266115 w 5819775"/>
              <a:gd name="connsiteY145" fmla="*/ 4089499 h 5743575"/>
              <a:gd name="connsiteX146" fmla="*/ 5154301 w 5819775"/>
              <a:gd name="connsiteY146" fmla="*/ 3895561 h 5743575"/>
              <a:gd name="connsiteX147" fmla="*/ 5132213 w 5819775"/>
              <a:gd name="connsiteY147" fmla="*/ 3873472 h 5743575"/>
              <a:gd name="connsiteX148" fmla="*/ 4953457 w 5819775"/>
              <a:gd name="connsiteY148" fmla="*/ 3373781 h 5743575"/>
              <a:gd name="connsiteX149" fmla="*/ 4953457 w 5819775"/>
              <a:gd name="connsiteY149" fmla="*/ 3366190 h 5743575"/>
              <a:gd name="connsiteX150" fmla="*/ 4953457 w 5819775"/>
              <a:gd name="connsiteY150" fmla="*/ 3358599 h 5743575"/>
              <a:gd name="connsiteX151" fmla="*/ 4983137 w 5819775"/>
              <a:gd name="connsiteY151" fmla="*/ 3187434 h 5743575"/>
              <a:gd name="connsiteX152" fmla="*/ 4983137 w 5819775"/>
              <a:gd name="connsiteY152" fmla="*/ 3172251 h 5743575"/>
              <a:gd name="connsiteX153" fmla="*/ 4983137 w 5819775"/>
              <a:gd name="connsiteY153" fmla="*/ 3164660 h 5743575"/>
              <a:gd name="connsiteX154" fmla="*/ 5318570 w 5819775"/>
              <a:gd name="connsiteY154" fmla="*/ 2754694 h 5743575"/>
              <a:gd name="connsiteX155" fmla="*/ 5348249 w 5819775"/>
              <a:gd name="connsiteY155" fmla="*/ 2739512 h 5743575"/>
              <a:gd name="connsiteX156" fmla="*/ 5527005 w 5819775"/>
              <a:gd name="connsiteY156" fmla="*/ 2590436 h 5743575"/>
              <a:gd name="connsiteX157" fmla="*/ 5474551 w 5819775"/>
              <a:gd name="connsiteY157" fmla="*/ 2284683 h 5743575"/>
              <a:gd name="connsiteX158" fmla="*/ 5258524 w 5819775"/>
              <a:gd name="connsiteY158" fmla="*/ 2202549 h 5743575"/>
              <a:gd name="connsiteX159" fmla="*/ 5221253 w 5819775"/>
              <a:gd name="connsiteY159" fmla="*/ 2202549 h 5743575"/>
              <a:gd name="connsiteX160" fmla="*/ 4766424 w 5819775"/>
              <a:gd name="connsiteY160" fmla="*/ 1934068 h 5743575"/>
              <a:gd name="connsiteX161" fmla="*/ 4758833 w 5819775"/>
              <a:gd name="connsiteY161" fmla="*/ 1926477 h 5743575"/>
              <a:gd name="connsiteX162" fmla="*/ 4669108 w 5819775"/>
              <a:gd name="connsiteY162" fmla="*/ 1769800 h 5743575"/>
              <a:gd name="connsiteX163" fmla="*/ 4661516 w 5819775"/>
              <a:gd name="connsiteY163" fmla="*/ 1762208 h 5743575"/>
              <a:gd name="connsiteX164" fmla="*/ 4653925 w 5819775"/>
              <a:gd name="connsiteY164" fmla="*/ 1754617 h 5743575"/>
              <a:gd name="connsiteX165" fmla="*/ 4646333 w 5819775"/>
              <a:gd name="connsiteY165" fmla="*/ 1225246 h 5743575"/>
              <a:gd name="connsiteX166" fmla="*/ 4661516 w 5819775"/>
              <a:gd name="connsiteY166" fmla="*/ 1195566 h 5743575"/>
              <a:gd name="connsiteX167" fmla="*/ 4698788 w 5819775"/>
              <a:gd name="connsiteY167" fmla="*/ 964356 h 5743575"/>
              <a:gd name="connsiteX168" fmla="*/ 4467578 w 5819775"/>
              <a:gd name="connsiteY168" fmla="*/ 770418 h 5743575"/>
              <a:gd name="connsiteX169" fmla="*/ 4243959 w 5819775"/>
              <a:gd name="connsiteY169" fmla="*/ 844960 h 5743575"/>
              <a:gd name="connsiteX170" fmla="*/ 4214279 w 5819775"/>
              <a:gd name="connsiteY170" fmla="*/ 867049 h 5743575"/>
              <a:gd name="connsiteX171" fmla="*/ 3923709 w 5819775"/>
              <a:gd name="connsiteY171" fmla="*/ 994046 h 5743575"/>
              <a:gd name="connsiteX172" fmla="*/ 3737362 w 5819775"/>
              <a:gd name="connsiteY172" fmla="*/ 964366 h 5743575"/>
              <a:gd name="connsiteX173" fmla="*/ 3729771 w 5819775"/>
              <a:gd name="connsiteY173" fmla="*/ 964366 h 5743575"/>
              <a:gd name="connsiteX174" fmla="*/ 3722180 w 5819775"/>
              <a:gd name="connsiteY174" fmla="*/ 964366 h 5743575"/>
              <a:gd name="connsiteX175" fmla="*/ 3557911 w 5819775"/>
              <a:gd name="connsiteY175" fmla="*/ 905006 h 5743575"/>
              <a:gd name="connsiteX176" fmla="*/ 3550320 w 5819775"/>
              <a:gd name="connsiteY176" fmla="*/ 905006 h 5743575"/>
              <a:gd name="connsiteX177" fmla="*/ 3542729 w 5819775"/>
              <a:gd name="connsiteY177" fmla="*/ 905006 h 5743575"/>
              <a:gd name="connsiteX178" fmla="*/ 3192113 w 5819775"/>
              <a:gd name="connsiteY178" fmla="*/ 502632 h 5743575"/>
              <a:gd name="connsiteX179" fmla="*/ 3184522 w 5819775"/>
              <a:gd name="connsiteY179" fmla="*/ 472952 h 5743575"/>
              <a:gd name="connsiteX180" fmla="*/ 3065117 w 5819775"/>
              <a:gd name="connsiteY180" fmla="*/ 271422 h 5743575"/>
              <a:gd name="connsiteX181" fmla="*/ 2766955 w 5819775"/>
              <a:gd name="connsiteY181" fmla="*/ 271422 h 5743575"/>
              <a:gd name="connsiteX182" fmla="*/ 2647550 w 5819775"/>
              <a:gd name="connsiteY182" fmla="*/ 472952 h 5743575"/>
              <a:gd name="connsiteX183" fmla="*/ 2639959 w 5819775"/>
              <a:gd name="connsiteY183" fmla="*/ 502632 h 5743575"/>
              <a:gd name="connsiteX184" fmla="*/ 2289343 w 5819775"/>
              <a:gd name="connsiteY184" fmla="*/ 905006 h 5743575"/>
              <a:gd name="connsiteX185" fmla="*/ 2281752 w 5819775"/>
              <a:gd name="connsiteY185" fmla="*/ 905006 h 5743575"/>
              <a:gd name="connsiteX186" fmla="*/ 2274161 w 5819775"/>
              <a:gd name="connsiteY186" fmla="*/ 905006 h 5743575"/>
              <a:gd name="connsiteX187" fmla="*/ 2109892 w 5819775"/>
              <a:gd name="connsiteY187" fmla="*/ 964366 h 5743575"/>
              <a:gd name="connsiteX188" fmla="*/ 2102301 w 5819775"/>
              <a:gd name="connsiteY188" fmla="*/ 964366 h 5743575"/>
              <a:gd name="connsiteX189" fmla="*/ 2094710 w 5819775"/>
              <a:gd name="connsiteY189" fmla="*/ 964366 h 5743575"/>
              <a:gd name="connsiteX190" fmla="*/ 1908362 w 5819775"/>
              <a:gd name="connsiteY190" fmla="*/ 994046 h 5743575"/>
              <a:gd name="connsiteX191" fmla="*/ 1572930 w 5819775"/>
              <a:gd name="connsiteY191" fmla="*/ 874640 h 5743575"/>
              <a:gd name="connsiteX192" fmla="*/ 1543250 w 5819775"/>
              <a:gd name="connsiteY192" fmla="*/ 852552 h 5743575"/>
              <a:gd name="connsiteX193" fmla="*/ 1319632 w 5819775"/>
              <a:gd name="connsiteY193" fmla="*/ 778009 h 5743575"/>
              <a:gd name="connsiteX194" fmla="*/ 1088422 w 5819775"/>
              <a:gd name="connsiteY194" fmla="*/ 971948 h 5743575"/>
              <a:gd name="connsiteX195" fmla="*/ 1125693 w 5819775"/>
              <a:gd name="connsiteY195" fmla="*/ 1203158 h 5743575"/>
              <a:gd name="connsiteX196" fmla="*/ 1140876 w 5819775"/>
              <a:gd name="connsiteY196" fmla="*/ 1232838 h 5743575"/>
              <a:gd name="connsiteX197" fmla="*/ 1133285 w 5819775"/>
              <a:gd name="connsiteY197" fmla="*/ 1762208 h 5743575"/>
              <a:gd name="connsiteX198" fmla="*/ 1133285 w 5819775"/>
              <a:gd name="connsiteY198" fmla="*/ 1769800 h 5743575"/>
              <a:gd name="connsiteX199" fmla="*/ 1125693 w 5819775"/>
              <a:gd name="connsiteY199" fmla="*/ 1777391 h 5743575"/>
              <a:gd name="connsiteX200" fmla="*/ 1035968 w 5819775"/>
              <a:gd name="connsiteY200" fmla="*/ 1926467 h 5743575"/>
              <a:gd name="connsiteX201" fmla="*/ 1028376 w 5819775"/>
              <a:gd name="connsiteY201" fmla="*/ 1941650 h 5743575"/>
              <a:gd name="connsiteX202" fmla="*/ 573548 w 5819775"/>
              <a:gd name="connsiteY202" fmla="*/ 2210131 h 5743575"/>
              <a:gd name="connsiteX203" fmla="*/ 543868 w 5819775"/>
              <a:gd name="connsiteY203" fmla="*/ 2210131 h 5743575"/>
              <a:gd name="connsiteX204" fmla="*/ 327841 w 5819775"/>
              <a:gd name="connsiteY204" fmla="*/ 2292265 h 5743575"/>
              <a:gd name="connsiteX205" fmla="*/ 275387 w 5819775"/>
              <a:gd name="connsiteY205" fmla="*/ 2598018 h 5743575"/>
              <a:gd name="connsiteX206" fmla="*/ 454142 w 5819775"/>
              <a:gd name="connsiteY206" fmla="*/ 2747093 h 5743575"/>
              <a:gd name="connsiteX207" fmla="*/ 483822 w 5819775"/>
              <a:gd name="connsiteY207" fmla="*/ 2762276 h 5743575"/>
              <a:gd name="connsiteX208" fmla="*/ 819255 w 5819775"/>
              <a:gd name="connsiteY208" fmla="*/ 3172242 h 5743575"/>
              <a:gd name="connsiteX209" fmla="*/ 819255 w 5819775"/>
              <a:gd name="connsiteY209" fmla="*/ 3179833 h 5743575"/>
              <a:gd name="connsiteX210" fmla="*/ 819255 w 5819775"/>
              <a:gd name="connsiteY210" fmla="*/ 3195016 h 5743575"/>
              <a:gd name="connsiteX211" fmla="*/ 848935 w 5819775"/>
              <a:gd name="connsiteY211" fmla="*/ 3366180 h 5743575"/>
              <a:gd name="connsiteX212" fmla="*/ 848935 w 5819775"/>
              <a:gd name="connsiteY212" fmla="*/ 3373772 h 5743575"/>
              <a:gd name="connsiteX213" fmla="*/ 848935 w 5819775"/>
              <a:gd name="connsiteY213" fmla="*/ 3381363 h 5743575"/>
              <a:gd name="connsiteX214" fmla="*/ 670179 w 5819775"/>
              <a:gd name="connsiteY214" fmla="*/ 3881054 h 5743575"/>
              <a:gd name="connsiteX215" fmla="*/ 648091 w 5819775"/>
              <a:gd name="connsiteY215" fmla="*/ 3903143 h 5743575"/>
              <a:gd name="connsiteX216" fmla="*/ 536277 w 5819775"/>
              <a:gd name="connsiteY216" fmla="*/ 4097081 h 5743575"/>
              <a:gd name="connsiteX217" fmla="*/ 700545 w 5819775"/>
              <a:gd name="connsiteY217" fmla="*/ 4380060 h 5743575"/>
              <a:gd name="connsiteX218" fmla="*/ 924163 w 5819775"/>
              <a:gd name="connsiteY218" fmla="*/ 4372468 h 5743575"/>
              <a:gd name="connsiteX219" fmla="*/ 953843 w 5819775"/>
              <a:gd name="connsiteY219" fmla="*/ 4364877 h 5743575"/>
              <a:gd name="connsiteX220" fmla="*/ 1125007 w 5819775"/>
              <a:gd name="connsiteY220" fmla="*/ 4335197 h 5743575"/>
              <a:gd name="connsiteX221" fmla="*/ 1475623 w 5819775"/>
              <a:gd name="connsiteY221" fmla="*/ 4462194 h 5743575"/>
              <a:gd name="connsiteX222" fmla="*/ 1483214 w 5819775"/>
              <a:gd name="connsiteY222" fmla="*/ 4462194 h 5743575"/>
              <a:gd name="connsiteX223" fmla="*/ 1498397 w 5819775"/>
              <a:gd name="connsiteY223" fmla="*/ 4469785 h 5743575"/>
              <a:gd name="connsiteX224" fmla="*/ 1632290 w 5819775"/>
              <a:gd name="connsiteY224" fmla="*/ 4581599 h 5743575"/>
              <a:gd name="connsiteX225" fmla="*/ 1639881 w 5819775"/>
              <a:gd name="connsiteY225" fmla="*/ 4589190 h 5743575"/>
              <a:gd name="connsiteX226" fmla="*/ 1647473 w 5819775"/>
              <a:gd name="connsiteY226" fmla="*/ 4596782 h 5743575"/>
              <a:gd name="connsiteX227" fmla="*/ 1833820 w 5819775"/>
              <a:gd name="connsiteY227" fmla="*/ 5096473 h 5743575"/>
              <a:gd name="connsiteX228" fmla="*/ 1826228 w 5819775"/>
              <a:gd name="connsiteY228" fmla="*/ 5126153 h 5743575"/>
              <a:gd name="connsiteX229" fmla="*/ 1849698 w 5819775"/>
              <a:gd name="connsiteY229" fmla="*/ 5349781 h 5743575"/>
              <a:gd name="connsiteX230" fmla="*/ 2915336 w 5819775"/>
              <a:gd name="connsiteY230" fmla="*/ 4366267 h 5743575"/>
              <a:gd name="connsiteX231" fmla="*/ 1461811 w 5819775"/>
              <a:gd name="connsiteY231" fmla="*/ 2912733 h 5743575"/>
              <a:gd name="connsiteX232" fmla="*/ 2915336 w 5819775"/>
              <a:gd name="connsiteY232" fmla="*/ 1451608 h 5743575"/>
              <a:gd name="connsiteX233" fmla="*/ 4368861 w 5819775"/>
              <a:gd name="connsiteY233" fmla="*/ 2905132 h 5743575"/>
              <a:gd name="connsiteX234" fmla="*/ 2915336 w 5819775"/>
              <a:gd name="connsiteY234" fmla="*/ 4366267 h 5743575"/>
              <a:gd name="connsiteX235" fmla="*/ 2915336 w 5819775"/>
              <a:gd name="connsiteY235" fmla="*/ 1727004 h 5743575"/>
              <a:gd name="connsiteX236" fmla="*/ 1730293 w 5819775"/>
              <a:gd name="connsiteY236" fmla="*/ 2912047 h 5743575"/>
              <a:gd name="connsiteX237" fmla="*/ 2915336 w 5819775"/>
              <a:gd name="connsiteY237" fmla="*/ 4090195 h 5743575"/>
              <a:gd name="connsiteX238" fmla="*/ 4100379 w 5819775"/>
              <a:gd name="connsiteY238" fmla="*/ 2905151 h 5743575"/>
              <a:gd name="connsiteX239" fmla="*/ 2915336 w 5819775"/>
              <a:gd name="connsiteY239" fmla="*/ 1727004 h 574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</a:cxnLst>
            <a:rect l="l" t="t" r="r" b="b"/>
            <a:pathLst>
              <a:path w="5819775" h="5743575">
                <a:moveTo>
                  <a:pt x="3668335" y="5745259"/>
                </a:moveTo>
                <a:cubicBezTo>
                  <a:pt x="3660743" y="5745259"/>
                  <a:pt x="3646246" y="5745259"/>
                  <a:pt x="3638655" y="5745259"/>
                </a:cubicBezTo>
                <a:cubicBezTo>
                  <a:pt x="3481988" y="5715579"/>
                  <a:pt x="3340494" y="5611366"/>
                  <a:pt x="3265951" y="5469186"/>
                </a:cubicBezTo>
                <a:cubicBezTo>
                  <a:pt x="3258360" y="5461595"/>
                  <a:pt x="3258360" y="5454004"/>
                  <a:pt x="3250768" y="5447098"/>
                </a:cubicBezTo>
                <a:cubicBezTo>
                  <a:pt x="3243177" y="5431915"/>
                  <a:pt x="3183817" y="5320101"/>
                  <a:pt x="3011967" y="5313205"/>
                </a:cubicBezTo>
                <a:lnTo>
                  <a:pt x="3005061" y="5313205"/>
                </a:lnTo>
                <a:cubicBezTo>
                  <a:pt x="2945702" y="5313205"/>
                  <a:pt x="2893247" y="5313205"/>
                  <a:pt x="2833897" y="5313205"/>
                </a:cubicBezTo>
                <a:lnTo>
                  <a:pt x="2825611" y="5313205"/>
                </a:lnTo>
                <a:cubicBezTo>
                  <a:pt x="2646855" y="5313205"/>
                  <a:pt x="2586809" y="5440202"/>
                  <a:pt x="2586809" y="5447098"/>
                </a:cubicBezTo>
                <a:cubicBezTo>
                  <a:pt x="2579218" y="5454689"/>
                  <a:pt x="2579218" y="5462280"/>
                  <a:pt x="2571626" y="5469186"/>
                </a:cubicBezTo>
                <a:cubicBezTo>
                  <a:pt x="2497084" y="5610671"/>
                  <a:pt x="2355599" y="5714893"/>
                  <a:pt x="2198923" y="5745259"/>
                </a:cubicBezTo>
                <a:cubicBezTo>
                  <a:pt x="2176834" y="5752850"/>
                  <a:pt x="2154060" y="5752850"/>
                  <a:pt x="2131971" y="5745259"/>
                </a:cubicBezTo>
                <a:cubicBezTo>
                  <a:pt x="1990487" y="5707988"/>
                  <a:pt x="1841402" y="5655533"/>
                  <a:pt x="1706813" y="5588592"/>
                </a:cubicBezTo>
                <a:cubicBezTo>
                  <a:pt x="1684725" y="5581000"/>
                  <a:pt x="1669542" y="5566503"/>
                  <a:pt x="1654359" y="5551320"/>
                </a:cubicBezTo>
                <a:cubicBezTo>
                  <a:pt x="1557738" y="5424323"/>
                  <a:pt x="1512875" y="5253159"/>
                  <a:pt x="1550146" y="5096492"/>
                </a:cubicBezTo>
                <a:cubicBezTo>
                  <a:pt x="1550146" y="5088900"/>
                  <a:pt x="1550146" y="5081309"/>
                  <a:pt x="1557738" y="5066812"/>
                </a:cubicBezTo>
                <a:cubicBezTo>
                  <a:pt x="1557738" y="5051629"/>
                  <a:pt x="1587418" y="4925328"/>
                  <a:pt x="1461116" y="4813514"/>
                </a:cubicBezTo>
                <a:lnTo>
                  <a:pt x="1453525" y="4805922"/>
                </a:lnTo>
                <a:cubicBezTo>
                  <a:pt x="1408662" y="4768651"/>
                  <a:pt x="1363799" y="4731380"/>
                  <a:pt x="1319632" y="4694108"/>
                </a:cubicBezTo>
                <a:lnTo>
                  <a:pt x="1319632" y="4694108"/>
                </a:lnTo>
                <a:cubicBezTo>
                  <a:pt x="1260272" y="4649246"/>
                  <a:pt x="1200226" y="4627157"/>
                  <a:pt x="1133285" y="4627157"/>
                </a:cubicBezTo>
                <a:cubicBezTo>
                  <a:pt x="1080830" y="4627157"/>
                  <a:pt x="1043559" y="4642340"/>
                  <a:pt x="1043559" y="4642340"/>
                </a:cubicBezTo>
                <a:cubicBezTo>
                  <a:pt x="1035968" y="4649931"/>
                  <a:pt x="1028376" y="4649931"/>
                  <a:pt x="1013879" y="4649931"/>
                </a:cubicBezTo>
                <a:cubicBezTo>
                  <a:pt x="864803" y="4709291"/>
                  <a:pt x="686038" y="4702386"/>
                  <a:pt x="544554" y="4620252"/>
                </a:cubicBezTo>
                <a:cubicBezTo>
                  <a:pt x="522465" y="4612660"/>
                  <a:pt x="507282" y="4598163"/>
                  <a:pt x="499691" y="4575389"/>
                </a:cubicBezTo>
                <a:cubicBezTo>
                  <a:pt x="417557" y="4455983"/>
                  <a:pt x="343014" y="4329682"/>
                  <a:pt x="276073" y="4195094"/>
                </a:cubicBezTo>
                <a:cubicBezTo>
                  <a:pt x="268481" y="4173005"/>
                  <a:pt x="260890" y="4157822"/>
                  <a:pt x="260890" y="4135734"/>
                </a:cubicBezTo>
                <a:cubicBezTo>
                  <a:pt x="260890" y="3971465"/>
                  <a:pt x="343024" y="3807893"/>
                  <a:pt x="469325" y="3710576"/>
                </a:cubicBezTo>
                <a:cubicBezTo>
                  <a:pt x="476917" y="3702984"/>
                  <a:pt x="484508" y="3695393"/>
                  <a:pt x="491414" y="3695393"/>
                </a:cubicBezTo>
                <a:cubicBezTo>
                  <a:pt x="499005" y="3687801"/>
                  <a:pt x="603228" y="3605667"/>
                  <a:pt x="581139" y="3434503"/>
                </a:cubicBezTo>
                <a:cubicBezTo>
                  <a:pt x="581139" y="3434503"/>
                  <a:pt x="581139" y="3434503"/>
                  <a:pt x="581139" y="3426912"/>
                </a:cubicBezTo>
                <a:cubicBezTo>
                  <a:pt x="565956" y="3374458"/>
                  <a:pt x="559051" y="3315098"/>
                  <a:pt x="551459" y="3255748"/>
                </a:cubicBezTo>
                <a:cubicBezTo>
                  <a:pt x="551459" y="3248156"/>
                  <a:pt x="551459" y="3248156"/>
                  <a:pt x="551459" y="3248156"/>
                </a:cubicBezTo>
                <a:cubicBezTo>
                  <a:pt x="521780" y="3076992"/>
                  <a:pt x="380295" y="3039721"/>
                  <a:pt x="380295" y="3039721"/>
                </a:cubicBezTo>
                <a:cubicBezTo>
                  <a:pt x="372704" y="3039721"/>
                  <a:pt x="365112" y="3032129"/>
                  <a:pt x="350615" y="3032129"/>
                </a:cubicBezTo>
                <a:cubicBezTo>
                  <a:pt x="193939" y="2979675"/>
                  <a:pt x="60046" y="2853374"/>
                  <a:pt x="7591" y="2696697"/>
                </a:cubicBezTo>
                <a:cubicBezTo>
                  <a:pt x="0" y="2674627"/>
                  <a:pt x="0" y="2659444"/>
                  <a:pt x="0" y="2637356"/>
                </a:cubicBezTo>
                <a:cubicBezTo>
                  <a:pt x="15183" y="2503463"/>
                  <a:pt x="37271" y="2361283"/>
                  <a:pt x="74543" y="2219790"/>
                </a:cubicBezTo>
                <a:cubicBezTo>
                  <a:pt x="82134" y="2197701"/>
                  <a:pt x="89726" y="2182518"/>
                  <a:pt x="104223" y="2167335"/>
                </a:cubicBezTo>
                <a:cubicBezTo>
                  <a:pt x="216037" y="2033442"/>
                  <a:pt x="380295" y="1958900"/>
                  <a:pt x="543868" y="1965805"/>
                </a:cubicBezTo>
                <a:cubicBezTo>
                  <a:pt x="551459" y="1965805"/>
                  <a:pt x="559051" y="1965805"/>
                  <a:pt x="573548" y="1965805"/>
                </a:cubicBezTo>
                <a:cubicBezTo>
                  <a:pt x="610819" y="1965805"/>
                  <a:pt x="730225" y="1958214"/>
                  <a:pt x="804758" y="1824321"/>
                </a:cubicBezTo>
                <a:cubicBezTo>
                  <a:pt x="804758" y="1824321"/>
                  <a:pt x="804758" y="1816729"/>
                  <a:pt x="812349" y="1816729"/>
                </a:cubicBezTo>
                <a:cubicBezTo>
                  <a:pt x="834438" y="1771867"/>
                  <a:pt x="864803" y="1720108"/>
                  <a:pt x="902075" y="1667654"/>
                </a:cubicBezTo>
                <a:cubicBezTo>
                  <a:pt x="902075" y="1667654"/>
                  <a:pt x="902075" y="1660062"/>
                  <a:pt x="909666" y="1660062"/>
                </a:cubicBezTo>
                <a:cubicBezTo>
                  <a:pt x="991800" y="1510987"/>
                  <a:pt x="924849" y="1399173"/>
                  <a:pt x="917258" y="1383990"/>
                </a:cubicBezTo>
                <a:cubicBezTo>
                  <a:pt x="909666" y="1376398"/>
                  <a:pt x="909666" y="1368807"/>
                  <a:pt x="902075" y="1361901"/>
                </a:cubicBezTo>
                <a:cubicBezTo>
                  <a:pt x="812349" y="1212826"/>
                  <a:pt x="790261" y="1034060"/>
                  <a:pt x="857212" y="869802"/>
                </a:cubicBezTo>
                <a:cubicBezTo>
                  <a:pt x="864803" y="854619"/>
                  <a:pt x="872395" y="832530"/>
                  <a:pt x="886892" y="817347"/>
                </a:cubicBezTo>
                <a:cubicBezTo>
                  <a:pt x="983513" y="720726"/>
                  <a:pt x="1088422" y="631000"/>
                  <a:pt x="1200236" y="556458"/>
                </a:cubicBezTo>
                <a:cubicBezTo>
                  <a:pt x="1215419" y="541275"/>
                  <a:pt x="1237507" y="534369"/>
                  <a:pt x="1252690" y="534369"/>
                </a:cubicBezTo>
                <a:cubicBezTo>
                  <a:pt x="1423854" y="497098"/>
                  <a:pt x="1603305" y="549552"/>
                  <a:pt x="1729607" y="661366"/>
                </a:cubicBezTo>
                <a:cubicBezTo>
                  <a:pt x="1737198" y="668957"/>
                  <a:pt x="1744789" y="668957"/>
                  <a:pt x="1751695" y="676549"/>
                </a:cubicBezTo>
                <a:cubicBezTo>
                  <a:pt x="1751695" y="676549"/>
                  <a:pt x="1818646" y="735909"/>
                  <a:pt x="1915963" y="735909"/>
                </a:cubicBezTo>
                <a:cubicBezTo>
                  <a:pt x="1945643" y="735909"/>
                  <a:pt x="1982914" y="728317"/>
                  <a:pt x="2020176" y="720726"/>
                </a:cubicBezTo>
                <a:lnTo>
                  <a:pt x="2020176" y="720726"/>
                </a:lnTo>
                <a:cubicBezTo>
                  <a:pt x="2079536" y="698637"/>
                  <a:pt x="2139582" y="675863"/>
                  <a:pt x="2191341" y="661366"/>
                </a:cubicBezTo>
                <a:cubicBezTo>
                  <a:pt x="2348017" y="602006"/>
                  <a:pt x="2370096" y="467427"/>
                  <a:pt x="2370096" y="452930"/>
                </a:cubicBezTo>
                <a:cubicBezTo>
                  <a:pt x="2370096" y="445339"/>
                  <a:pt x="2370096" y="437748"/>
                  <a:pt x="2377688" y="430842"/>
                </a:cubicBezTo>
                <a:cubicBezTo>
                  <a:pt x="2399776" y="259678"/>
                  <a:pt x="2504685" y="103001"/>
                  <a:pt x="2660666" y="20876"/>
                </a:cubicBezTo>
                <a:cubicBezTo>
                  <a:pt x="2675849" y="13285"/>
                  <a:pt x="2697937" y="5694"/>
                  <a:pt x="2713120" y="5694"/>
                </a:cubicBezTo>
                <a:cubicBezTo>
                  <a:pt x="2862196" y="-1898"/>
                  <a:pt x="2966418" y="-1898"/>
                  <a:pt x="3115494" y="5694"/>
                </a:cubicBezTo>
                <a:cubicBezTo>
                  <a:pt x="3137583" y="5694"/>
                  <a:pt x="3152766" y="13285"/>
                  <a:pt x="3167948" y="20876"/>
                </a:cubicBezTo>
                <a:cubicBezTo>
                  <a:pt x="3324616" y="103010"/>
                  <a:pt x="3428838" y="252086"/>
                  <a:pt x="3450927" y="423251"/>
                </a:cubicBezTo>
                <a:cubicBezTo>
                  <a:pt x="3450927" y="430842"/>
                  <a:pt x="3458518" y="438433"/>
                  <a:pt x="3458518" y="452930"/>
                </a:cubicBezTo>
                <a:cubicBezTo>
                  <a:pt x="3458518" y="468113"/>
                  <a:pt x="3480607" y="594415"/>
                  <a:pt x="3637274" y="661366"/>
                </a:cubicBezTo>
                <a:lnTo>
                  <a:pt x="3637274" y="661366"/>
                </a:lnTo>
                <a:cubicBezTo>
                  <a:pt x="3696633" y="676549"/>
                  <a:pt x="3756679" y="698637"/>
                  <a:pt x="3808438" y="720726"/>
                </a:cubicBezTo>
                <a:lnTo>
                  <a:pt x="3808438" y="720726"/>
                </a:lnTo>
                <a:cubicBezTo>
                  <a:pt x="3845709" y="735909"/>
                  <a:pt x="3882981" y="742814"/>
                  <a:pt x="3912651" y="742814"/>
                </a:cubicBezTo>
                <a:cubicBezTo>
                  <a:pt x="4016864" y="742814"/>
                  <a:pt x="4076919" y="683455"/>
                  <a:pt x="4076919" y="683455"/>
                </a:cubicBezTo>
                <a:cubicBezTo>
                  <a:pt x="4084511" y="675863"/>
                  <a:pt x="4092102" y="668272"/>
                  <a:pt x="4099008" y="668272"/>
                </a:cubicBezTo>
                <a:cubicBezTo>
                  <a:pt x="4226005" y="556458"/>
                  <a:pt x="4404760" y="504003"/>
                  <a:pt x="4575924" y="541275"/>
                </a:cubicBezTo>
                <a:cubicBezTo>
                  <a:pt x="4598013" y="548866"/>
                  <a:pt x="4613196" y="556458"/>
                  <a:pt x="4628379" y="563363"/>
                </a:cubicBezTo>
                <a:cubicBezTo>
                  <a:pt x="4740193" y="645497"/>
                  <a:pt x="4844406" y="734528"/>
                  <a:pt x="4941722" y="824253"/>
                </a:cubicBezTo>
                <a:cubicBezTo>
                  <a:pt x="4956905" y="839436"/>
                  <a:pt x="4963811" y="853933"/>
                  <a:pt x="4971403" y="876707"/>
                </a:cubicBezTo>
                <a:cubicBezTo>
                  <a:pt x="5030762" y="1040975"/>
                  <a:pt x="5016266" y="1219731"/>
                  <a:pt x="4926540" y="1368807"/>
                </a:cubicBezTo>
                <a:cubicBezTo>
                  <a:pt x="4926540" y="1376398"/>
                  <a:pt x="4918948" y="1383990"/>
                  <a:pt x="4911357" y="1390895"/>
                </a:cubicBezTo>
                <a:cubicBezTo>
                  <a:pt x="4903765" y="1397801"/>
                  <a:pt x="4836814" y="1517892"/>
                  <a:pt x="4918948" y="1666968"/>
                </a:cubicBezTo>
                <a:cubicBezTo>
                  <a:pt x="4918948" y="1666968"/>
                  <a:pt x="4918948" y="1674559"/>
                  <a:pt x="4926540" y="1674559"/>
                </a:cubicBezTo>
                <a:cubicBezTo>
                  <a:pt x="4956220" y="1727014"/>
                  <a:pt x="4985899" y="1771181"/>
                  <a:pt x="5016266" y="1823635"/>
                </a:cubicBezTo>
                <a:cubicBezTo>
                  <a:pt x="5016266" y="1823635"/>
                  <a:pt x="5016266" y="1831227"/>
                  <a:pt x="5023857" y="1831227"/>
                </a:cubicBezTo>
                <a:cubicBezTo>
                  <a:pt x="5098400" y="1958223"/>
                  <a:pt x="5217795" y="1972711"/>
                  <a:pt x="5255067" y="1972711"/>
                </a:cubicBezTo>
                <a:cubicBezTo>
                  <a:pt x="5262658" y="1972711"/>
                  <a:pt x="5277155" y="1972711"/>
                  <a:pt x="5284746" y="1972711"/>
                </a:cubicBezTo>
                <a:cubicBezTo>
                  <a:pt x="5449015" y="1965120"/>
                  <a:pt x="5620179" y="2039662"/>
                  <a:pt x="5724392" y="2174241"/>
                </a:cubicBezTo>
                <a:cubicBezTo>
                  <a:pt x="5739575" y="2189424"/>
                  <a:pt x="5746480" y="2211512"/>
                  <a:pt x="5754072" y="2226695"/>
                </a:cubicBezTo>
                <a:cubicBezTo>
                  <a:pt x="5791343" y="2360588"/>
                  <a:pt x="5813431" y="2502768"/>
                  <a:pt x="5828614" y="2644262"/>
                </a:cubicBezTo>
                <a:cubicBezTo>
                  <a:pt x="5828614" y="2666350"/>
                  <a:pt x="5828614" y="2681533"/>
                  <a:pt x="5821023" y="2703621"/>
                </a:cubicBezTo>
                <a:cubicBezTo>
                  <a:pt x="5761663" y="2867890"/>
                  <a:pt x="5634676" y="2986600"/>
                  <a:pt x="5477999" y="3039054"/>
                </a:cubicBezTo>
                <a:cubicBezTo>
                  <a:pt x="5470408" y="3046645"/>
                  <a:pt x="5462816" y="3046645"/>
                  <a:pt x="5448319" y="3046645"/>
                </a:cubicBezTo>
                <a:cubicBezTo>
                  <a:pt x="5433137" y="3046645"/>
                  <a:pt x="5306835" y="3091508"/>
                  <a:pt x="5277155" y="3262672"/>
                </a:cubicBezTo>
                <a:lnTo>
                  <a:pt x="5277155" y="3270263"/>
                </a:lnTo>
                <a:cubicBezTo>
                  <a:pt x="5269563" y="3329624"/>
                  <a:pt x="5261972" y="3389669"/>
                  <a:pt x="5247475" y="3441428"/>
                </a:cubicBezTo>
                <a:lnTo>
                  <a:pt x="5247475" y="3449019"/>
                </a:lnTo>
                <a:cubicBezTo>
                  <a:pt x="5225387" y="3598095"/>
                  <a:pt x="5337201" y="3680229"/>
                  <a:pt x="5337201" y="3680229"/>
                </a:cubicBezTo>
                <a:cubicBezTo>
                  <a:pt x="5344792" y="3687821"/>
                  <a:pt x="5352383" y="3695412"/>
                  <a:pt x="5359289" y="3702318"/>
                </a:cubicBezTo>
                <a:cubicBezTo>
                  <a:pt x="5486286" y="3806531"/>
                  <a:pt x="5567725" y="3963207"/>
                  <a:pt x="5567725" y="4127475"/>
                </a:cubicBezTo>
                <a:cubicBezTo>
                  <a:pt x="5567725" y="4149564"/>
                  <a:pt x="5560134" y="4172338"/>
                  <a:pt x="5552542" y="4186835"/>
                </a:cubicBezTo>
                <a:cubicBezTo>
                  <a:pt x="5493182" y="4313832"/>
                  <a:pt x="5418649" y="4447725"/>
                  <a:pt x="5328923" y="4567131"/>
                </a:cubicBezTo>
                <a:cubicBezTo>
                  <a:pt x="5313740" y="4582313"/>
                  <a:pt x="5299244" y="4596811"/>
                  <a:pt x="5284061" y="4611993"/>
                </a:cubicBezTo>
                <a:cubicBezTo>
                  <a:pt x="5201926" y="4656856"/>
                  <a:pt x="5112896" y="4678944"/>
                  <a:pt x="5015580" y="4678944"/>
                </a:cubicBezTo>
                <a:lnTo>
                  <a:pt x="5015580" y="4678944"/>
                </a:lnTo>
                <a:cubicBezTo>
                  <a:pt x="4948628" y="4678944"/>
                  <a:pt x="4874095" y="4663762"/>
                  <a:pt x="4814049" y="4641673"/>
                </a:cubicBezTo>
                <a:cubicBezTo>
                  <a:pt x="4806458" y="4641673"/>
                  <a:pt x="4798867" y="4634082"/>
                  <a:pt x="4784370" y="4634082"/>
                </a:cubicBezTo>
                <a:lnTo>
                  <a:pt x="4784370" y="4634082"/>
                </a:lnTo>
                <a:cubicBezTo>
                  <a:pt x="4784370" y="4634082"/>
                  <a:pt x="4747098" y="4618899"/>
                  <a:pt x="4694644" y="4618899"/>
                </a:cubicBezTo>
                <a:cubicBezTo>
                  <a:pt x="4627693" y="4618899"/>
                  <a:pt x="4567647" y="4640988"/>
                  <a:pt x="4515889" y="4685850"/>
                </a:cubicBezTo>
                <a:cubicBezTo>
                  <a:pt x="4515889" y="4685850"/>
                  <a:pt x="4515889" y="4685850"/>
                  <a:pt x="4508297" y="4685850"/>
                </a:cubicBezTo>
                <a:cubicBezTo>
                  <a:pt x="4471026" y="4723121"/>
                  <a:pt x="4426163" y="4760393"/>
                  <a:pt x="4374404" y="4797664"/>
                </a:cubicBezTo>
                <a:cubicBezTo>
                  <a:pt x="4374404" y="4797664"/>
                  <a:pt x="4366813" y="4797664"/>
                  <a:pt x="4366813" y="4805256"/>
                </a:cubicBezTo>
                <a:cubicBezTo>
                  <a:pt x="4254999" y="4901877"/>
                  <a:pt x="4254999" y="5006786"/>
                  <a:pt x="4262600" y="5050962"/>
                </a:cubicBezTo>
                <a:cubicBezTo>
                  <a:pt x="4270191" y="5066145"/>
                  <a:pt x="4270191" y="5080643"/>
                  <a:pt x="4270191" y="5095825"/>
                </a:cubicBezTo>
                <a:lnTo>
                  <a:pt x="4270191" y="5095825"/>
                </a:lnTo>
                <a:cubicBezTo>
                  <a:pt x="4299871" y="5252493"/>
                  <a:pt x="4262600" y="5416075"/>
                  <a:pt x="4158377" y="5535471"/>
                </a:cubicBezTo>
                <a:cubicBezTo>
                  <a:pt x="4143194" y="5550653"/>
                  <a:pt x="4128697" y="5565150"/>
                  <a:pt x="4105923" y="5572742"/>
                </a:cubicBezTo>
                <a:cubicBezTo>
                  <a:pt x="3972030" y="5632102"/>
                  <a:pt x="3822945" y="5684556"/>
                  <a:pt x="3680765" y="5729409"/>
                </a:cubicBezTo>
                <a:cubicBezTo>
                  <a:pt x="3690414" y="5745259"/>
                  <a:pt x="3675926" y="5745259"/>
                  <a:pt x="3668335" y="5745259"/>
                </a:cubicBezTo>
                <a:close/>
                <a:moveTo>
                  <a:pt x="1849698" y="5349781"/>
                </a:moveTo>
                <a:cubicBezTo>
                  <a:pt x="1953911" y="5394643"/>
                  <a:pt x="2058133" y="5431915"/>
                  <a:pt x="2163042" y="5461595"/>
                </a:cubicBezTo>
                <a:cubicBezTo>
                  <a:pt x="2237585" y="5439506"/>
                  <a:pt x="2296935" y="5387052"/>
                  <a:pt x="2327310" y="5320111"/>
                </a:cubicBezTo>
                <a:cubicBezTo>
                  <a:pt x="2334902" y="5312519"/>
                  <a:pt x="2334902" y="5304928"/>
                  <a:pt x="2342493" y="5290430"/>
                </a:cubicBezTo>
                <a:cubicBezTo>
                  <a:pt x="2401853" y="5186218"/>
                  <a:pt x="2550928" y="5037132"/>
                  <a:pt x="2804913" y="5029541"/>
                </a:cubicBezTo>
                <a:cubicBezTo>
                  <a:pt x="2812504" y="5029541"/>
                  <a:pt x="2812504" y="5029541"/>
                  <a:pt x="2812504" y="5029541"/>
                </a:cubicBezTo>
                <a:lnTo>
                  <a:pt x="2820095" y="5029541"/>
                </a:lnTo>
                <a:cubicBezTo>
                  <a:pt x="2879455" y="5029541"/>
                  <a:pt x="2931910" y="5029541"/>
                  <a:pt x="2991260" y="5029541"/>
                </a:cubicBezTo>
                <a:lnTo>
                  <a:pt x="2998851" y="5029541"/>
                </a:lnTo>
                <a:lnTo>
                  <a:pt x="3006442" y="5029541"/>
                </a:lnTo>
                <a:cubicBezTo>
                  <a:pt x="3252150" y="5037132"/>
                  <a:pt x="3408817" y="5186218"/>
                  <a:pt x="3468862" y="5290430"/>
                </a:cubicBezTo>
                <a:cubicBezTo>
                  <a:pt x="3476454" y="5298022"/>
                  <a:pt x="3484045" y="5305613"/>
                  <a:pt x="3484045" y="5320111"/>
                </a:cubicBezTo>
                <a:cubicBezTo>
                  <a:pt x="3513725" y="5387062"/>
                  <a:pt x="3573771" y="5439516"/>
                  <a:pt x="3648313" y="5461595"/>
                </a:cubicBezTo>
                <a:cubicBezTo>
                  <a:pt x="3752526" y="5431915"/>
                  <a:pt x="3864340" y="5394643"/>
                  <a:pt x="3961657" y="5349781"/>
                </a:cubicBezTo>
                <a:cubicBezTo>
                  <a:pt x="3998928" y="5282830"/>
                  <a:pt x="4014111" y="5208296"/>
                  <a:pt x="3991337" y="5133754"/>
                </a:cubicBezTo>
                <a:cubicBezTo>
                  <a:pt x="3991337" y="5126163"/>
                  <a:pt x="3983746" y="5111665"/>
                  <a:pt x="3983746" y="5104074"/>
                </a:cubicBezTo>
                <a:cubicBezTo>
                  <a:pt x="3961657" y="4984668"/>
                  <a:pt x="3983746" y="4776233"/>
                  <a:pt x="4170093" y="4604383"/>
                </a:cubicBezTo>
                <a:lnTo>
                  <a:pt x="4177684" y="4596791"/>
                </a:lnTo>
                <a:lnTo>
                  <a:pt x="4185275" y="4589200"/>
                </a:lnTo>
                <a:cubicBezTo>
                  <a:pt x="4237730" y="4551929"/>
                  <a:pt x="4275001" y="4514657"/>
                  <a:pt x="4319169" y="4477386"/>
                </a:cubicBezTo>
                <a:lnTo>
                  <a:pt x="4326760" y="4469794"/>
                </a:lnTo>
                <a:cubicBezTo>
                  <a:pt x="4326760" y="4469794"/>
                  <a:pt x="4334351" y="4469794"/>
                  <a:pt x="4334351" y="4462203"/>
                </a:cubicBezTo>
                <a:cubicBezTo>
                  <a:pt x="4438564" y="4380069"/>
                  <a:pt x="4557970" y="4335206"/>
                  <a:pt x="4684967" y="4335206"/>
                </a:cubicBezTo>
                <a:cubicBezTo>
                  <a:pt x="4759509" y="4335206"/>
                  <a:pt x="4818860" y="4350389"/>
                  <a:pt x="4856131" y="4364886"/>
                </a:cubicBezTo>
                <a:cubicBezTo>
                  <a:pt x="4863723" y="4364886"/>
                  <a:pt x="4878219" y="4372478"/>
                  <a:pt x="4885811" y="4372478"/>
                </a:cubicBezTo>
                <a:cubicBezTo>
                  <a:pt x="4923082" y="4387661"/>
                  <a:pt x="4960353" y="4394566"/>
                  <a:pt x="4997625" y="4394566"/>
                </a:cubicBezTo>
                <a:lnTo>
                  <a:pt x="4997625" y="4394566"/>
                </a:lnTo>
                <a:cubicBezTo>
                  <a:pt x="5034896" y="4394566"/>
                  <a:pt x="5072167" y="4386975"/>
                  <a:pt x="5101848" y="4372478"/>
                </a:cubicBezTo>
                <a:cubicBezTo>
                  <a:pt x="5161207" y="4282752"/>
                  <a:pt x="5221253" y="4186131"/>
                  <a:pt x="5266115" y="4089499"/>
                </a:cubicBezTo>
                <a:cubicBezTo>
                  <a:pt x="5258524" y="4014957"/>
                  <a:pt x="5213662" y="3940423"/>
                  <a:pt x="5154301" y="3895561"/>
                </a:cubicBezTo>
                <a:cubicBezTo>
                  <a:pt x="5146710" y="3887969"/>
                  <a:pt x="5139119" y="3880378"/>
                  <a:pt x="5132213" y="3873472"/>
                </a:cubicBezTo>
                <a:cubicBezTo>
                  <a:pt x="5035592" y="3791338"/>
                  <a:pt x="4916186" y="3620174"/>
                  <a:pt x="4953457" y="3373781"/>
                </a:cubicBezTo>
                <a:lnTo>
                  <a:pt x="4953457" y="3366190"/>
                </a:lnTo>
                <a:lnTo>
                  <a:pt x="4953457" y="3358599"/>
                </a:lnTo>
                <a:cubicBezTo>
                  <a:pt x="4968641" y="3306144"/>
                  <a:pt x="4975546" y="3246784"/>
                  <a:pt x="4983137" y="3187434"/>
                </a:cubicBezTo>
                <a:cubicBezTo>
                  <a:pt x="4983137" y="3179843"/>
                  <a:pt x="4983137" y="3179843"/>
                  <a:pt x="4983137" y="3172251"/>
                </a:cubicBezTo>
                <a:lnTo>
                  <a:pt x="4983137" y="3164660"/>
                </a:lnTo>
                <a:cubicBezTo>
                  <a:pt x="5035592" y="2918953"/>
                  <a:pt x="5206756" y="2799548"/>
                  <a:pt x="5318570" y="2754694"/>
                </a:cubicBezTo>
                <a:cubicBezTo>
                  <a:pt x="5326161" y="2747103"/>
                  <a:pt x="5333753" y="2747103"/>
                  <a:pt x="5348249" y="2739512"/>
                </a:cubicBezTo>
                <a:cubicBezTo>
                  <a:pt x="5422793" y="2717423"/>
                  <a:pt x="5489734" y="2664969"/>
                  <a:pt x="5527005" y="2590436"/>
                </a:cubicBezTo>
                <a:cubicBezTo>
                  <a:pt x="5511823" y="2486223"/>
                  <a:pt x="5497325" y="2382000"/>
                  <a:pt x="5474551" y="2284683"/>
                </a:cubicBezTo>
                <a:cubicBezTo>
                  <a:pt x="5415191" y="2225324"/>
                  <a:pt x="5340658" y="2194958"/>
                  <a:pt x="5258524" y="2202549"/>
                </a:cubicBezTo>
                <a:cubicBezTo>
                  <a:pt x="5243341" y="2202549"/>
                  <a:pt x="5236436" y="2202549"/>
                  <a:pt x="5221253" y="2202549"/>
                </a:cubicBezTo>
                <a:cubicBezTo>
                  <a:pt x="5139119" y="2202549"/>
                  <a:pt x="4915500" y="2172869"/>
                  <a:pt x="4766424" y="1934068"/>
                </a:cubicBezTo>
                <a:lnTo>
                  <a:pt x="4758833" y="1926477"/>
                </a:lnTo>
                <a:cubicBezTo>
                  <a:pt x="4729153" y="1867117"/>
                  <a:pt x="4699473" y="1822254"/>
                  <a:pt x="4669108" y="1769800"/>
                </a:cubicBezTo>
                <a:lnTo>
                  <a:pt x="4661516" y="1762208"/>
                </a:lnTo>
                <a:cubicBezTo>
                  <a:pt x="4661516" y="1762208"/>
                  <a:pt x="4661516" y="1754617"/>
                  <a:pt x="4653925" y="1754617"/>
                </a:cubicBezTo>
                <a:cubicBezTo>
                  <a:pt x="4534519" y="1530999"/>
                  <a:pt x="4586973" y="1329459"/>
                  <a:pt x="4646333" y="1225246"/>
                </a:cubicBezTo>
                <a:cubicBezTo>
                  <a:pt x="4653925" y="1217655"/>
                  <a:pt x="4653925" y="1210063"/>
                  <a:pt x="4661516" y="1195566"/>
                </a:cubicBezTo>
                <a:cubicBezTo>
                  <a:pt x="4706379" y="1128615"/>
                  <a:pt x="4720876" y="1046490"/>
                  <a:pt x="4698788" y="964356"/>
                </a:cubicBezTo>
                <a:cubicBezTo>
                  <a:pt x="4624245" y="897405"/>
                  <a:pt x="4549712" y="830463"/>
                  <a:pt x="4467578" y="770418"/>
                </a:cubicBezTo>
                <a:cubicBezTo>
                  <a:pt x="4385444" y="762826"/>
                  <a:pt x="4303309" y="792506"/>
                  <a:pt x="4243959" y="844960"/>
                </a:cubicBezTo>
                <a:cubicBezTo>
                  <a:pt x="4236368" y="852552"/>
                  <a:pt x="4228776" y="860143"/>
                  <a:pt x="4214279" y="867049"/>
                </a:cubicBezTo>
                <a:cubicBezTo>
                  <a:pt x="4206688" y="919503"/>
                  <a:pt x="4094874" y="994046"/>
                  <a:pt x="3923709" y="994046"/>
                </a:cubicBezTo>
                <a:cubicBezTo>
                  <a:pt x="3864350" y="994046"/>
                  <a:pt x="3796713" y="986454"/>
                  <a:pt x="3737362" y="964366"/>
                </a:cubicBezTo>
                <a:lnTo>
                  <a:pt x="3729771" y="964366"/>
                </a:lnTo>
                <a:lnTo>
                  <a:pt x="3722180" y="964366"/>
                </a:lnTo>
                <a:cubicBezTo>
                  <a:pt x="3669726" y="942277"/>
                  <a:pt x="3610366" y="919503"/>
                  <a:pt x="3557911" y="905006"/>
                </a:cubicBezTo>
                <a:lnTo>
                  <a:pt x="3550320" y="905006"/>
                </a:lnTo>
                <a:cubicBezTo>
                  <a:pt x="3550320" y="905006"/>
                  <a:pt x="3550320" y="905006"/>
                  <a:pt x="3542729" y="905006"/>
                </a:cubicBezTo>
                <a:cubicBezTo>
                  <a:pt x="3311519" y="815280"/>
                  <a:pt x="3214888" y="622028"/>
                  <a:pt x="3192113" y="502632"/>
                </a:cubicBezTo>
                <a:cubicBezTo>
                  <a:pt x="3192113" y="495040"/>
                  <a:pt x="3184522" y="480543"/>
                  <a:pt x="3184522" y="472952"/>
                </a:cubicBezTo>
                <a:cubicBezTo>
                  <a:pt x="3176931" y="390818"/>
                  <a:pt x="3132068" y="316285"/>
                  <a:pt x="3065117" y="271422"/>
                </a:cubicBezTo>
                <a:cubicBezTo>
                  <a:pt x="2953303" y="263831"/>
                  <a:pt x="2878769" y="263831"/>
                  <a:pt x="2766955" y="271422"/>
                </a:cubicBezTo>
                <a:cubicBezTo>
                  <a:pt x="2700004" y="316285"/>
                  <a:pt x="2655142" y="390827"/>
                  <a:pt x="2647550" y="472952"/>
                </a:cubicBezTo>
                <a:cubicBezTo>
                  <a:pt x="2647550" y="480543"/>
                  <a:pt x="2647550" y="495040"/>
                  <a:pt x="2639959" y="502632"/>
                </a:cubicBezTo>
                <a:cubicBezTo>
                  <a:pt x="2617870" y="622037"/>
                  <a:pt x="2528145" y="815976"/>
                  <a:pt x="2289343" y="905006"/>
                </a:cubicBezTo>
                <a:cubicBezTo>
                  <a:pt x="2289343" y="905006"/>
                  <a:pt x="2289343" y="905006"/>
                  <a:pt x="2281752" y="905006"/>
                </a:cubicBezTo>
                <a:lnTo>
                  <a:pt x="2274161" y="905006"/>
                </a:lnTo>
                <a:cubicBezTo>
                  <a:pt x="2221706" y="920189"/>
                  <a:pt x="2162347" y="942277"/>
                  <a:pt x="2109892" y="964366"/>
                </a:cubicBezTo>
                <a:lnTo>
                  <a:pt x="2102301" y="964366"/>
                </a:lnTo>
                <a:lnTo>
                  <a:pt x="2094710" y="964366"/>
                </a:lnTo>
                <a:cubicBezTo>
                  <a:pt x="2035350" y="986454"/>
                  <a:pt x="1975304" y="994046"/>
                  <a:pt x="1908362" y="994046"/>
                </a:cubicBezTo>
                <a:cubicBezTo>
                  <a:pt x="1737198" y="994046"/>
                  <a:pt x="1625384" y="919503"/>
                  <a:pt x="1572930" y="874640"/>
                </a:cubicBezTo>
                <a:cubicBezTo>
                  <a:pt x="1565339" y="867049"/>
                  <a:pt x="1557747" y="859457"/>
                  <a:pt x="1543250" y="852552"/>
                </a:cubicBezTo>
                <a:cubicBezTo>
                  <a:pt x="1483890" y="793192"/>
                  <a:pt x="1401766" y="762826"/>
                  <a:pt x="1319632" y="778009"/>
                </a:cubicBezTo>
                <a:cubicBezTo>
                  <a:pt x="1237498" y="837369"/>
                  <a:pt x="1162955" y="905006"/>
                  <a:pt x="1088422" y="971948"/>
                </a:cubicBezTo>
                <a:cubicBezTo>
                  <a:pt x="1066333" y="1054082"/>
                  <a:pt x="1080830" y="1136216"/>
                  <a:pt x="1125693" y="1203158"/>
                </a:cubicBezTo>
                <a:cubicBezTo>
                  <a:pt x="1133285" y="1210749"/>
                  <a:pt x="1133285" y="1218340"/>
                  <a:pt x="1140876" y="1232838"/>
                </a:cubicBezTo>
                <a:cubicBezTo>
                  <a:pt x="1200236" y="1337060"/>
                  <a:pt x="1252690" y="1546181"/>
                  <a:pt x="1133285" y="1762208"/>
                </a:cubicBezTo>
                <a:lnTo>
                  <a:pt x="1133285" y="1769800"/>
                </a:lnTo>
                <a:lnTo>
                  <a:pt x="1125693" y="1777391"/>
                </a:lnTo>
                <a:cubicBezTo>
                  <a:pt x="1096013" y="1829845"/>
                  <a:pt x="1066333" y="1874013"/>
                  <a:pt x="1035968" y="1926467"/>
                </a:cubicBezTo>
                <a:cubicBezTo>
                  <a:pt x="1035968" y="1934059"/>
                  <a:pt x="1028376" y="1934059"/>
                  <a:pt x="1028376" y="1941650"/>
                </a:cubicBezTo>
                <a:cubicBezTo>
                  <a:pt x="879300" y="2180451"/>
                  <a:pt x="655672" y="2210131"/>
                  <a:pt x="573548" y="2210131"/>
                </a:cubicBezTo>
                <a:cubicBezTo>
                  <a:pt x="565956" y="2210131"/>
                  <a:pt x="551459" y="2210131"/>
                  <a:pt x="543868" y="2210131"/>
                </a:cubicBezTo>
                <a:cubicBezTo>
                  <a:pt x="461734" y="2202540"/>
                  <a:pt x="387191" y="2232220"/>
                  <a:pt x="327841" y="2292265"/>
                </a:cubicBezTo>
                <a:cubicBezTo>
                  <a:pt x="305753" y="2396488"/>
                  <a:pt x="282978" y="2500701"/>
                  <a:pt x="275387" y="2598018"/>
                </a:cubicBezTo>
                <a:cubicBezTo>
                  <a:pt x="312658" y="2672560"/>
                  <a:pt x="372008" y="2725015"/>
                  <a:pt x="454142" y="2747093"/>
                </a:cubicBezTo>
                <a:cubicBezTo>
                  <a:pt x="461734" y="2747093"/>
                  <a:pt x="476231" y="2754685"/>
                  <a:pt x="483822" y="2762276"/>
                </a:cubicBezTo>
                <a:cubicBezTo>
                  <a:pt x="595636" y="2807139"/>
                  <a:pt x="766801" y="2926544"/>
                  <a:pt x="819255" y="3172242"/>
                </a:cubicBezTo>
                <a:lnTo>
                  <a:pt x="819255" y="3179833"/>
                </a:lnTo>
                <a:cubicBezTo>
                  <a:pt x="819255" y="3187425"/>
                  <a:pt x="819255" y="3187425"/>
                  <a:pt x="819255" y="3195016"/>
                </a:cubicBezTo>
                <a:cubicBezTo>
                  <a:pt x="826846" y="3254376"/>
                  <a:pt x="834438" y="3306830"/>
                  <a:pt x="848935" y="3366180"/>
                </a:cubicBezTo>
                <a:lnTo>
                  <a:pt x="848935" y="3373772"/>
                </a:lnTo>
                <a:lnTo>
                  <a:pt x="848935" y="3381363"/>
                </a:lnTo>
                <a:cubicBezTo>
                  <a:pt x="886206" y="3627070"/>
                  <a:pt x="766801" y="3798930"/>
                  <a:pt x="670179" y="3881054"/>
                </a:cubicBezTo>
                <a:cubicBezTo>
                  <a:pt x="662588" y="3888646"/>
                  <a:pt x="654996" y="3896237"/>
                  <a:pt x="648091" y="3903143"/>
                </a:cubicBezTo>
                <a:cubicBezTo>
                  <a:pt x="581139" y="3948006"/>
                  <a:pt x="543878" y="4022548"/>
                  <a:pt x="536277" y="4097081"/>
                </a:cubicBezTo>
                <a:cubicBezTo>
                  <a:pt x="588731" y="4193703"/>
                  <a:pt x="640490" y="4291020"/>
                  <a:pt x="700545" y="4380060"/>
                </a:cubicBezTo>
                <a:cubicBezTo>
                  <a:pt x="767496" y="4409739"/>
                  <a:pt x="849620" y="4409739"/>
                  <a:pt x="924163" y="4372468"/>
                </a:cubicBezTo>
                <a:cubicBezTo>
                  <a:pt x="931755" y="4364877"/>
                  <a:pt x="946252" y="4364877"/>
                  <a:pt x="953843" y="4364877"/>
                </a:cubicBezTo>
                <a:cubicBezTo>
                  <a:pt x="991114" y="4349694"/>
                  <a:pt x="1050465" y="4335197"/>
                  <a:pt x="1125007" y="4335197"/>
                </a:cubicBezTo>
                <a:cubicBezTo>
                  <a:pt x="1252004" y="4335197"/>
                  <a:pt x="1370714" y="4380060"/>
                  <a:pt x="1475623" y="4462194"/>
                </a:cubicBezTo>
                <a:cubicBezTo>
                  <a:pt x="1475623" y="4462194"/>
                  <a:pt x="1475623" y="4462194"/>
                  <a:pt x="1483214" y="4462194"/>
                </a:cubicBezTo>
                <a:cubicBezTo>
                  <a:pt x="1490805" y="4462194"/>
                  <a:pt x="1490805" y="4469785"/>
                  <a:pt x="1498397" y="4469785"/>
                </a:cubicBezTo>
                <a:cubicBezTo>
                  <a:pt x="1535668" y="4507056"/>
                  <a:pt x="1580531" y="4544328"/>
                  <a:pt x="1632290" y="4581599"/>
                </a:cubicBezTo>
                <a:lnTo>
                  <a:pt x="1639881" y="4589190"/>
                </a:lnTo>
                <a:lnTo>
                  <a:pt x="1647473" y="4596782"/>
                </a:lnTo>
                <a:cubicBezTo>
                  <a:pt x="1833820" y="4761050"/>
                  <a:pt x="1855908" y="4977077"/>
                  <a:pt x="1833820" y="5096473"/>
                </a:cubicBezTo>
                <a:cubicBezTo>
                  <a:pt x="1833820" y="5104064"/>
                  <a:pt x="1833820" y="5118561"/>
                  <a:pt x="1826228" y="5126153"/>
                </a:cubicBezTo>
                <a:cubicBezTo>
                  <a:pt x="1797244" y="5208296"/>
                  <a:pt x="1812427" y="5282830"/>
                  <a:pt x="1849698" y="5349781"/>
                </a:cubicBezTo>
                <a:close/>
                <a:moveTo>
                  <a:pt x="2915336" y="4366267"/>
                </a:moveTo>
                <a:cubicBezTo>
                  <a:pt x="2110578" y="4366267"/>
                  <a:pt x="1461811" y="3710595"/>
                  <a:pt x="1461811" y="2912733"/>
                </a:cubicBezTo>
                <a:cubicBezTo>
                  <a:pt x="1461811" y="2114872"/>
                  <a:pt x="2110588" y="1451608"/>
                  <a:pt x="2915336" y="1451608"/>
                </a:cubicBezTo>
                <a:cubicBezTo>
                  <a:pt x="3720084" y="1451608"/>
                  <a:pt x="4368861" y="2107280"/>
                  <a:pt x="4368861" y="2905132"/>
                </a:cubicBezTo>
                <a:cubicBezTo>
                  <a:pt x="4368861" y="3702984"/>
                  <a:pt x="3720094" y="4366267"/>
                  <a:pt x="2915336" y="4366267"/>
                </a:cubicBezTo>
                <a:close/>
                <a:moveTo>
                  <a:pt x="2915336" y="1727004"/>
                </a:moveTo>
                <a:cubicBezTo>
                  <a:pt x="2266560" y="1727004"/>
                  <a:pt x="1730293" y="2256375"/>
                  <a:pt x="1730293" y="2912047"/>
                </a:cubicBezTo>
                <a:cubicBezTo>
                  <a:pt x="1730293" y="3567720"/>
                  <a:pt x="2266569" y="4090195"/>
                  <a:pt x="2915336" y="4090195"/>
                </a:cubicBezTo>
                <a:cubicBezTo>
                  <a:pt x="3564103" y="4090195"/>
                  <a:pt x="4100379" y="3560824"/>
                  <a:pt x="4100379" y="2905151"/>
                </a:cubicBezTo>
                <a:cubicBezTo>
                  <a:pt x="4100379" y="2249479"/>
                  <a:pt x="3564112" y="1727004"/>
                  <a:pt x="2915336" y="172700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0" name="Forma libre 270">
            <a:extLst>
              <a:ext uri="{FF2B5EF4-FFF2-40B4-BE49-F238E27FC236}">
                <a16:creationId xmlns:a16="http://schemas.microsoft.com/office/drawing/2014/main" xmlns="" id="{10AC1155-3554-3448-8E10-2918B46A002D}"/>
              </a:ext>
            </a:extLst>
          </p:cNvPr>
          <p:cNvSpPr/>
          <p:nvPr/>
        </p:nvSpPr>
        <p:spPr>
          <a:xfrm>
            <a:off x="5003153" y="5359499"/>
            <a:ext cx="301338" cy="176068"/>
          </a:xfrm>
          <a:custGeom>
            <a:avLst/>
            <a:gdLst>
              <a:gd name="connsiteX0" fmla="*/ 5753624 w 5819775"/>
              <a:gd name="connsiteY0" fmla="*/ 1494665 h 3400425"/>
              <a:gd name="connsiteX1" fmla="*/ 5697407 w 5819775"/>
              <a:gd name="connsiteY1" fmla="*/ 1424066 h 3400425"/>
              <a:gd name="connsiteX2" fmla="*/ 4151338 w 5819775"/>
              <a:gd name="connsiteY2" fmla="*/ 280037 h 3400425"/>
              <a:gd name="connsiteX3" fmla="*/ 1771764 w 5819775"/>
              <a:gd name="connsiteY3" fmla="*/ 244737 h 3400425"/>
              <a:gd name="connsiteX4" fmla="*/ 126987 w 5819775"/>
              <a:gd name="connsiteY4" fmla="*/ 1437791 h 3400425"/>
              <a:gd name="connsiteX5" fmla="*/ 126987 w 5819775"/>
              <a:gd name="connsiteY5" fmla="*/ 1974506 h 3400425"/>
              <a:gd name="connsiteX6" fmla="*/ 1496539 w 5819775"/>
              <a:gd name="connsiteY6" fmla="*/ 3033534 h 3400425"/>
              <a:gd name="connsiteX7" fmla="*/ 2068554 w 5819775"/>
              <a:gd name="connsiteY7" fmla="*/ 3273449 h 3400425"/>
              <a:gd name="connsiteX8" fmla="*/ 2936710 w 5819775"/>
              <a:gd name="connsiteY8" fmla="*/ 3407466 h 3400425"/>
              <a:gd name="connsiteX9" fmla="*/ 2936710 w 5819775"/>
              <a:gd name="connsiteY9" fmla="*/ 3407466 h 3400425"/>
              <a:gd name="connsiteX10" fmla="*/ 3148517 w 5819775"/>
              <a:gd name="connsiteY10" fmla="*/ 3400275 h 3400425"/>
              <a:gd name="connsiteX11" fmla="*/ 3551215 w 5819775"/>
              <a:gd name="connsiteY11" fmla="*/ 3336867 h 3400425"/>
              <a:gd name="connsiteX12" fmla="*/ 5760815 w 5819775"/>
              <a:gd name="connsiteY12" fmla="*/ 1924814 h 3400425"/>
              <a:gd name="connsiteX13" fmla="*/ 5753624 w 5819775"/>
              <a:gd name="connsiteY13" fmla="*/ 1494665 h 3400425"/>
              <a:gd name="connsiteX14" fmla="*/ 5549008 w 5819775"/>
              <a:gd name="connsiteY14" fmla="*/ 1748964 h 3400425"/>
              <a:gd name="connsiteX15" fmla="*/ 3473415 w 5819775"/>
              <a:gd name="connsiteY15" fmla="*/ 3083226 h 3400425"/>
              <a:gd name="connsiteX16" fmla="*/ 3106017 w 5819775"/>
              <a:gd name="connsiteY16" fmla="*/ 3139442 h 3400425"/>
              <a:gd name="connsiteX17" fmla="*/ 2131962 w 5819775"/>
              <a:gd name="connsiteY17" fmla="*/ 3026352 h 3400425"/>
              <a:gd name="connsiteX18" fmla="*/ 1609630 w 5819775"/>
              <a:gd name="connsiteY18" fmla="*/ 2800162 h 3400425"/>
              <a:gd name="connsiteX19" fmla="*/ 310667 w 5819775"/>
              <a:gd name="connsiteY19" fmla="*/ 1790807 h 3400425"/>
              <a:gd name="connsiteX20" fmla="*/ 310667 w 5819775"/>
              <a:gd name="connsiteY20" fmla="*/ 1607108 h 3400425"/>
              <a:gd name="connsiteX21" fmla="*/ 1863928 w 5819775"/>
              <a:gd name="connsiteY21" fmla="*/ 477462 h 3400425"/>
              <a:gd name="connsiteX22" fmla="*/ 2908583 w 5819775"/>
              <a:gd name="connsiteY22" fmla="*/ 251272 h 3400425"/>
              <a:gd name="connsiteX23" fmla="*/ 4031037 w 5819775"/>
              <a:gd name="connsiteY23" fmla="*/ 512761 h 3400425"/>
              <a:gd name="connsiteX24" fmla="*/ 5499316 w 5819775"/>
              <a:gd name="connsiteY24" fmla="*/ 1599916 h 3400425"/>
              <a:gd name="connsiteX25" fmla="*/ 5541807 w 5819775"/>
              <a:gd name="connsiteY25" fmla="*/ 1649599 h 3400425"/>
              <a:gd name="connsiteX26" fmla="*/ 5549008 w 5819775"/>
              <a:gd name="connsiteY26" fmla="*/ 1748964 h 3400425"/>
              <a:gd name="connsiteX27" fmla="*/ 2894210 w 5819775"/>
              <a:gd name="connsiteY27" fmla="*/ 732408 h 3400425"/>
              <a:gd name="connsiteX28" fmla="*/ 1905772 w 5819775"/>
              <a:gd name="connsiteY28" fmla="*/ 1720846 h 3400425"/>
              <a:gd name="connsiteX29" fmla="*/ 2894210 w 5819775"/>
              <a:gd name="connsiteY29" fmla="*/ 2709284 h 3400425"/>
              <a:gd name="connsiteX30" fmla="*/ 3882647 w 5819775"/>
              <a:gd name="connsiteY30" fmla="*/ 1720846 h 3400425"/>
              <a:gd name="connsiteX31" fmla="*/ 2894210 w 5819775"/>
              <a:gd name="connsiteY31" fmla="*/ 732408 h 3400425"/>
              <a:gd name="connsiteX32" fmla="*/ 2894210 w 5819775"/>
              <a:gd name="connsiteY32" fmla="*/ 2454985 h 3400425"/>
              <a:gd name="connsiteX33" fmla="*/ 2167262 w 5819775"/>
              <a:gd name="connsiteY33" fmla="*/ 1728037 h 3400425"/>
              <a:gd name="connsiteX34" fmla="*/ 2894210 w 5819775"/>
              <a:gd name="connsiteY34" fmla="*/ 1000441 h 3400425"/>
              <a:gd name="connsiteX35" fmla="*/ 3621157 w 5819775"/>
              <a:gd name="connsiteY35" fmla="*/ 1727389 h 3400425"/>
              <a:gd name="connsiteX36" fmla="*/ 2894210 w 5819775"/>
              <a:gd name="connsiteY36" fmla="*/ 2454985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819775" h="3400425">
                <a:moveTo>
                  <a:pt x="5753624" y="1494665"/>
                </a:moveTo>
                <a:cubicBezTo>
                  <a:pt x="5732707" y="1473748"/>
                  <a:pt x="5711133" y="1444983"/>
                  <a:pt x="5697407" y="1424066"/>
                </a:cubicBezTo>
                <a:cubicBezTo>
                  <a:pt x="5238493" y="922660"/>
                  <a:pt x="4716161" y="541537"/>
                  <a:pt x="4151338" y="280037"/>
                </a:cubicBezTo>
                <a:cubicBezTo>
                  <a:pt x="3360325" y="-80170"/>
                  <a:pt x="2555586" y="-93895"/>
                  <a:pt x="1771764" y="244737"/>
                </a:cubicBezTo>
                <a:cubicBezTo>
                  <a:pt x="1171642" y="499036"/>
                  <a:pt x="627736" y="894542"/>
                  <a:pt x="126987" y="1437791"/>
                </a:cubicBezTo>
                <a:cubicBezTo>
                  <a:pt x="-42329" y="1614299"/>
                  <a:pt x="-42329" y="1790807"/>
                  <a:pt x="126987" y="1974506"/>
                </a:cubicBezTo>
                <a:cubicBezTo>
                  <a:pt x="515293" y="2405303"/>
                  <a:pt x="974207" y="2758318"/>
                  <a:pt x="1496539" y="3033534"/>
                </a:cubicBezTo>
                <a:cubicBezTo>
                  <a:pt x="1687430" y="3132251"/>
                  <a:pt x="1877663" y="3217233"/>
                  <a:pt x="2068554" y="3273449"/>
                </a:cubicBezTo>
                <a:cubicBezTo>
                  <a:pt x="2350961" y="3358431"/>
                  <a:pt x="2640568" y="3407466"/>
                  <a:pt x="2936710" y="3407466"/>
                </a:cubicBezTo>
                <a:lnTo>
                  <a:pt x="2936710" y="3407466"/>
                </a:lnTo>
                <a:cubicBezTo>
                  <a:pt x="3007309" y="3407466"/>
                  <a:pt x="3077918" y="3407466"/>
                  <a:pt x="3148517" y="3400275"/>
                </a:cubicBezTo>
                <a:cubicBezTo>
                  <a:pt x="3275343" y="3385892"/>
                  <a:pt x="3416551" y="3372167"/>
                  <a:pt x="3551215" y="3336867"/>
                </a:cubicBezTo>
                <a:cubicBezTo>
                  <a:pt x="4355954" y="3132251"/>
                  <a:pt x="5083559" y="2673336"/>
                  <a:pt x="5760815" y="1924814"/>
                </a:cubicBezTo>
                <a:cubicBezTo>
                  <a:pt x="5852989" y="1797989"/>
                  <a:pt x="5852989" y="1628672"/>
                  <a:pt x="5753624" y="1494665"/>
                </a:cubicBezTo>
                <a:close/>
                <a:moveTo>
                  <a:pt x="5549008" y="1748964"/>
                </a:moveTo>
                <a:cubicBezTo>
                  <a:pt x="4906394" y="2454995"/>
                  <a:pt x="4228472" y="2892992"/>
                  <a:pt x="3473415" y="3083226"/>
                </a:cubicBezTo>
                <a:cubicBezTo>
                  <a:pt x="3353134" y="3111334"/>
                  <a:pt x="3219117" y="3125717"/>
                  <a:pt x="3106017" y="3139442"/>
                </a:cubicBezTo>
                <a:cubicBezTo>
                  <a:pt x="2781110" y="3160359"/>
                  <a:pt x="2449668" y="3125060"/>
                  <a:pt x="2131962" y="3026352"/>
                </a:cubicBezTo>
                <a:cubicBezTo>
                  <a:pt x="1955454" y="2970135"/>
                  <a:pt x="1778946" y="2899527"/>
                  <a:pt x="1609630" y="2800162"/>
                </a:cubicBezTo>
                <a:cubicBezTo>
                  <a:pt x="1115416" y="2538672"/>
                  <a:pt x="677409" y="2200039"/>
                  <a:pt x="310667" y="1790807"/>
                </a:cubicBezTo>
                <a:cubicBezTo>
                  <a:pt x="232877" y="1705825"/>
                  <a:pt x="232877" y="1684898"/>
                  <a:pt x="310667" y="1607108"/>
                </a:cubicBezTo>
                <a:cubicBezTo>
                  <a:pt x="790508" y="1091967"/>
                  <a:pt x="1299105" y="717387"/>
                  <a:pt x="1863928" y="477462"/>
                </a:cubicBezTo>
                <a:cubicBezTo>
                  <a:pt x="2209753" y="329062"/>
                  <a:pt x="2562768" y="251272"/>
                  <a:pt x="2908583" y="251272"/>
                </a:cubicBezTo>
                <a:cubicBezTo>
                  <a:pt x="3282515" y="251272"/>
                  <a:pt x="3657105" y="336254"/>
                  <a:pt x="4031037" y="512761"/>
                </a:cubicBezTo>
                <a:cubicBezTo>
                  <a:pt x="4567752" y="759869"/>
                  <a:pt x="5061966" y="1127267"/>
                  <a:pt x="5499316" y="1599916"/>
                </a:cubicBezTo>
                <a:cubicBezTo>
                  <a:pt x="5513699" y="1614299"/>
                  <a:pt x="5527424" y="1635216"/>
                  <a:pt x="5541807" y="1649599"/>
                </a:cubicBezTo>
                <a:cubicBezTo>
                  <a:pt x="5570582" y="1685546"/>
                  <a:pt x="5577117" y="1720846"/>
                  <a:pt x="5549008" y="1748964"/>
                </a:cubicBezTo>
                <a:close/>
                <a:moveTo>
                  <a:pt x="2894210" y="732408"/>
                </a:moveTo>
                <a:cubicBezTo>
                  <a:pt x="2350303" y="732408"/>
                  <a:pt x="1905772" y="1176940"/>
                  <a:pt x="1905772" y="1720846"/>
                </a:cubicBezTo>
                <a:cubicBezTo>
                  <a:pt x="1905772" y="2264752"/>
                  <a:pt x="2350303" y="2709284"/>
                  <a:pt x="2894210" y="2709284"/>
                </a:cubicBezTo>
                <a:cubicBezTo>
                  <a:pt x="3438116" y="2709284"/>
                  <a:pt x="3882647" y="2264752"/>
                  <a:pt x="3882647" y="1720846"/>
                </a:cubicBezTo>
                <a:cubicBezTo>
                  <a:pt x="3889839" y="1176949"/>
                  <a:pt x="3445307" y="732408"/>
                  <a:pt x="2894210" y="732408"/>
                </a:cubicBezTo>
                <a:close/>
                <a:moveTo>
                  <a:pt x="2894210" y="2454985"/>
                </a:moveTo>
                <a:cubicBezTo>
                  <a:pt x="2491511" y="2454985"/>
                  <a:pt x="2167262" y="2130078"/>
                  <a:pt x="2167262" y="1728037"/>
                </a:cubicBezTo>
                <a:cubicBezTo>
                  <a:pt x="2167262" y="1325996"/>
                  <a:pt x="2492169" y="1000441"/>
                  <a:pt x="2894210" y="1000441"/>
                </a:cubicBezTo>
                <a:cubicBezTo>
                  <a:pt x="3296250" y="1000441"/>
                  <a:pt x="3621157" y="1325349"/>
                  <a:pt x="3621157" y="1727389"/>
                </a:cubicBezTo>
                <a:cubicBezTo>
                  <a:pt x="3629006" y="2122896"/>
                  <a:pt x="3296907" y="2454985"/>
                  <a:pt x="2894210" y="245498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1" name="Forma libre 272">
            <a:extLst>
              <a:ext uri="{FF2B5EF4-FFF2-40B4-BE49-F238E27FC236}">
                <a16:creationId xmlns:a16="http://schemas.microsoft.com/office/drawing/2014/main" xmlns="" id="{70090C90-24A5-1941-A2A7-EB0904758501}"/>
              </a:ext>
            </a:extLst>
          </p:cNvPr>
          <p:cNvSpPr/>
          <p:nvPr/>
        </p:nvSpPr>
        <p:spPr>
          <a:xfrm>
            <a:off x="3533484" y="1459831"/>
            <a:ext cx="301338" cy="205166"/>
          </a:xfrm>
          <a:custGeom>
            <a:avLst/>
            <a:gdLst>
              <a:gd name="connsiteX0" fmla="*/ 5300672 w 5819775"/>
              <a:gd name="connsiteY0" fmla="*/ 176213 h 3962400"/>
              <a:gd name="connsiteX1" fmla="*/ 2438886 w 5819775"/>
              <a:gd name="connsiteY1" fmla="*/ 176213 h 3962400"/>
              <a:gd name="connsiteX2" fmla="*/ 1952673 w 5819775"/>
              <a:gd name="connsiteY2" fmla="*/ 0 h 3962400"/>
              <a:gd name="connsiteX3" fmla="*/ 648719 w 5819775"/>
              <a:gd name="connsiteY3" fmla="*/ 0 h 3962400"/>
              <a:gd name="connsiteX4" fmla="*/ 0 w 5819775"/>
              <a:gd name="connsiteY4" fmla="*/ 507749 h 3962400"/>
              <a:gd name="connsiteX5" fmla="*/ 0 w 5819775"/>
              <a:gd name="connsiteY5" fmla="*/ 522103 h 3962400"/>
              <a:gd name="connsiteX6" fmla="*/ 0 w 5819775"/>
              <a:gd name="connsiteY6" fmla="*/ 3369535 h 3962400"/>
              <a:gd name="connsiteX7" fmla="*/ 599113 w 5819775"/>
              <a:gd name="connsiteY7" fmla="*/ 3968649 h 3962400"/>
              <a:gd name="connsiteX8" fmla="*/ 5230178 w 5819775"/>
              <a:gd name="connsiteY8" fmla="*/ 3968649 h 3962400"/>
              <a:gd name="connsiteX9" fmla="*/ 5829291 w 5819775"/>
              <a:gd name="connsiteY9" fmla="*/ 3369535 h 3962400"/>
              <a:gd name="connsiteX10" fmla="*/ 5829291 w 5819775"/>
              <a:gd name="connsiteY10" fmla="*/ 979599 h 3962400"/>
              <a:gd name="connsiteX11" fmla="*/ 5829291 w 5819775"/>
              <a:gd name="connsiteY11" fmla="*/ 697659 h 3962400"/>
              <a:gd name="connsiteX12" fmla="*/ 5300672 w 5819775"/>
              <a:gd name="connsiteY12" fmla="*/ 176213 h 3962400"/>
              <a:gd name="connsiteX13" fmla="*/ 5568249 w 5819775"/>
              <a:gd name="connsiteY13" fmla="*/ 697659 h 3962400"/>
              <a:gd name="connsiteX14" fmla="*/ 5568249 w 5819775"/>
              <a:gd name="connsiteY14" fmla="*/ 852983 h 3962400"/>
              <a:gd name="connsiteX15" fmla="*/ 3559445 w 5819775"/>
              <a:gd name="connsiteY15" fmla="*/ 852983 h 3962400"/>
              <a:gd name="connsiteX16" fmla="*/ 2945968 w 5819775"/>
              <a:gd name="connsiteY16" fmla="*/ 655892 h 3962400"/>
              <a:gd name="connsiteX17" fmla="*/ 2720807 w 5819775"/>
              <a:gd name="connsiteY17" fmla="*/ 430082 h 3962400"/>
              <a:gd name="connsiteX18" fmla="*/ 5307835 w 5819775"/>
              <a:gd name="connsiteY18" fmla="*/ 430082 h 3962400"/>
              <a:gd name="connsiteX19" fmla="*/ 5568249 w 5819775"/>
              <a:gd name="connsiteY19" fmla="*/ 697659 h 3962400"/>
              <a:gd name="connsiteX20" fmla="*/ 5568249 w 5819775"/>
              <a:gd name="connsiteY20" fmla="*/ 3368878 h 3962400"/>
              <a:gd name="connsiteX21" fmla="*/ 5230187 w 5819775"/>
              <a:gd name="connsiteY21" fmla="*/ 3706940 h 3962400"/>
              <a:gd name="connsiteX22" fmla="*/ 599113 w 5819775"/>
              <a:gd name="connsiteY22" fmla="*/ 3706940 h 3962400"/>
              <a:gd name="connsiteX23" fmla="*/ 261052 w 5819775"/>
              <a:gd name="connsiteY23" fmla="*/ 3368878 h 3962400"/>
              <a:gd name="connsiteX24" fmla="*/ 261052 w 5819775"/>
              <a:gd name="connsiteY24" fmla="*/ 528628 h 3962400"/>
              <a:gd name="connsiteX25" fmla="*/ 648719 w 5819775"/>
              <a:gd name="connsiteY25" fmla="*/ 261052 h 3962400"/>
              <a:gd name="connsiteX26" fmla="*/ 1945500 w 5819775"/>
              <a:gd name="connsiteY26" fmla="*/ 261052 h 3962400"/>
              <a:gd name="connsiteX27" fmla="*/ 2312280 w 5819775"/>
              <a:gd name="connsiteY27" fmla="*/ 409204 h 3962400"/>
              <a:gd name="connsiteX28" fmla="*/ 2312280 w 5819775"/>
              <a:gd name="connsiteY28" fmla="*/ 409204 h 3962400"/>
              <a:gd name="connsiteX29" fmla="*/ 2361876 w 5819775"/>
              <a:gd name="connsiteY29" fmla="*/ 458800 h 3962400"/>
              <a:gd name="connsiteX30" fmla="*/ 2756716 w 5819775"/>
              <a:gd name="connsiteY30" fmla="*/ 846468 h 3962400"/>
              <a:gd name="connsiteX31" fmla="*/ 2763898 w 5819775"/>
              <a:gd name="connsiteY31" fmla="*/ 853650 h 3962400"/>
              <a:gd name="connsiteX32" fmla="*/ 3553578 w 5819775"/>
              <a:gd name="connsiteY32" fmla="*/ 1114701 h 3962400"/>
              <a:gd name="connsiteX33" fmla="*/ 5562372 w 5819775"/>
              <a:gd name="connsiteY33" fmla="*/ 1114701 h 3962400"/>
              <a:gd name="connsiteX34" fmla="*/ 5562372 w 5819775"/>
              <a:gd name="connsiteY34" fmla="*/ 3370193 h 3962400"/>
              <a:gd name="connsiteX35" fmla="*/ 5568249 w 5819775"/>
              <a:gd name="connsiteY35" fmla="*/ 3370193 h 3962400"/>
              <a:gd name="connsiteX36" fmla="*/ 5568249 w 5819775"/>
              <a:gd name="connsiteY36" fmla="*/ 3368878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819775" h="3962400">
                <a:moveTo>
                  <a:pt x="5300672" y="176213"/>
                </a:moveTo>
                <a:lnTo>
                  <a:pt x="2438886" y="176213"/>
                </a:lnTo>
                <a:cubicBezTo>
                  <a:pt x="2206552" y="7182"/>
                  <a:pt x="1959855" y="0"/>
                  <a:pt x="1952673" y="0"/>
                </a:cubicBezTo>
                <a:lnTo>
                  <a:pt x="648719" y="0"/>
                </a:lnTo>
                <a:cubicBezTo>
                  <a:pt x="120091" y="0"/>
                  <a:pt x="21536" y="352425"/>
                  <a:pt x="0" y="507749"/>
                </a:cubicBezTo>
                <a:cubicBezTo>
                  <a:pt x="0" y="514931"/>
                  <a:pt x="0" y="514931"/>
                  <a:pt x="0" y="522103"/>
                </a:cubicBezTo>
                <a:lnTo>
                  <a:pt x="0" y="3369535"/>
                </a:lnTo>
                <a:cubicBezTo>
                  <a:pt x="0" y="3701072"/>
                  <a:pt x="267576" y="3968649"/>
                  <a:pt x="599113" y="3968649"/>
                </a:cubicBezTo>
                <a:lnTo>
                  <a:pt x="5230178" y="3968649"/>
                </a:lnTo>
                <a:cubicBezTo>
                  <a:pt x="5561714" y="3968649"/>
                  <a:pt x="5829291" y="3701072"/>
                  <a:pt x="5829291" y="3369535"/>
                </a:cubicBezTo>
                <a:lnTo>
                  <a:pt x="5829291" y="979599"/>
                </a:lnTo>
                <a:lnTo>
                  <a:pt x="5829291" y="697659"/>
                </a:lnTo>
                <a:cubicBezTo>
                  <a:pt x="5829300" y="408546"/>
                  <a:pt x="5589785" y="176213"/>
                  <a:pt x="5300672" y="176213"/>
                </a:cubicBezTo>
                <a:close/>
                <a:moveTo>
                  <a:pt x="5568249" y="697659"/>
                </a:moveTo>
                <a:lnTo>
                  <a:pt x="5568249" y="852983"/>
                </a:lnTo>
                <a:lnTo>
                  <a:pt x="3559445" y="852983"/>
                </a:lnTo>
                <a:cubicBezTo>
                  <a:pt x="3192666" y="852983"/>
                  <a:pt x="3009929" y="719195"/>
                  <a:pt x="2945968" y="655892"/>
                </a:cubicBezTo>
                <a:lnTo>
                  <a:pt x="2720807" y="430082"/>
                </a:lnTo>
                <a:lnTo>
                  <a:pt x="5307835" y="430082"/>
                </a:lnTo>
                <a:cubicBezTo>
                  <a:pt x="5448815" y="436607"/>
                  <a:pt x="5568249" y="556698"/>
                  <a:pt x="5568249" y="697659"/>
                </a:cubicBezTo>
                <a:close/>
                <a:moveTo>
                  <a:pt x="5568249" y="3368878"/>
                </a:moveTo>
                <a:cubicBezTo>
                  <a:pt x="5568249" y="3552263"/>
                  <a:pt x="5420097" y="3706940"/>
                  <a:pt x="5230187" y="3706940"/>
                </a:cubicBezTo>
                <a:lnTo>
                  <a:pt x="599113" y="3706940"/>
                </a:lnTo>
                <a:cubicBezTo>
                  <a:pt x="415728" y="3706940"/>
                  <a:pt x="261052" y="3558788"/>
                  <a:pt x="261052" y="3368878"/>
                </a:cubicBezTo>
                <a:lnTo>
                  <a:pt x="261052" y="528628"/>
                </a:lnTo>
                <a:cubicBezTo>
                  <a:pt x="281940" y="352416"/>
                  <a:pt x="409204" y="261052"/>
                  <a:pt x="648719" y="261052"/>
                </a:cubicBezTo>
                <a:lnTo>
                  <a:pt x="1945500" y="261052"/>
                </a:lnTo>
                <a:cubicBezTo>
                  <a:pt x="1945500" y="261052"/>
                  <a:pt x="2136067" y="268234"/>
                  <a:pt x="2312280" y="409204"/>
                </a:cubicBezTo>
                <a:lnTo>
                  <a:pt x="2312280" y="409204"/>
                </a:lnTo>
                <a:cubicBezTo>
                  <a:pt x="2333168" y="423558"/>
                  <a:pt x="2347522" y="437264"/>
                  <a:pt x="2361876" y="458800"/>
                </a:cubicBezTo>
                <a:lnTo>
                  <a:pt x="2756716" y="846468"/>
                </a:lnTo>
                <a:lnTo>
                  <a:pt x="2763898" y="853650"/>
                </a:lnTo>
                <a:cubicBezTo>
                  <a:pt x="2848737" y="931316"/>
                  <a:pt x="3101959" y="1114701"/>
                  <a:pt x="3553578" y="1114701"/>
                </a:cubicBezTo>
                <a:lnTo>
                  <a:pt x="5562372" y="1114701"/>
                </a:lnTo>
                <a:lnTo>
                  <a:pt x="5562372" y="3370193"/>
                </a:lnTo>
                <a:lnTo>
                  <a:pt x="5568249" y="3370193"/>
                </a:lnTo>
                <a:lnTo>
                  <a:pt x="5568249" y="3368878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2" name="Forma libre 274">
            <a:extLst>
              <a:ext uri="{FF2B5EF4-FFF2-40B4-BE49-F238E27FC236}">
                <a16:creationId xmlns:a16="http://schemas.microsoft.com/office/drawing/2014/main" xmlns="" id="{349C541A-E8BD-2145-8321-87E02C9A1DF9}"/>
              </a:ext>
            </a:extLst>
          </p:cNvPr>
          <p:cNvSpPr/>
          <p:nvPr/>
        </p:nvSpPr>
        <p:spPr>
          <a:xfrm>
            <a:off x="4273559" y="5942754"/>
            <a:ext cx="270805" cy="354647"/>
          </a:xfrm>
          <a:custGeom>
            <a:avLst/>
            <a:gdLst>
              <a:gd name="connsiteX0" fmla="*/ 4803215 w 5230090"/>
              <a:gd name="connsiteY0" fmla="*/ 864879 h 6849340"/>
              <a:gd name="connsiteX1" fmla="*/ 3595869 w 5230090"/>
              <a:gd name="connsiteY1" fmla="*/ 864879 h 6849340"/>
              <a:gd name="connsiteX2" fmla="*/ 2602568 w 5230090"/>
              <a:gd name="connsiteY2" fmla="*/ 0 h 6849340"/>
              <a:gd name="connsiteX3" fmla="*/ 1609257 w 5230090"/>
              <a:gd name="connsiteY3" fmla="*/ 864879 h 6849340"/>
              <a:gd name="connsiteX4" fmla="*/ 419360 w 5230090"/>
              <a:gd name="connsiteY4" fmla="*/ 864879 h 6849340"/>
              <a:gd name="connsiteX5" fmla="*/ 0 w 5230090"/>
              <a:gd name="connsiteY5" fmla="*/ 1284239 h 6849340"/>
              <a:gd name="connsiteX6" fmla="*/ 0 w 5230090"/>
              <a:gd name="connsiteY6" fmla="*/ 1712318 h 6849340"/>
              <a:gd name="connsiteX7" fmla="*/ 359906 w 5230090"/>
              <a:gd name="connsiteY7" fmla="*/ 2122958 h 6849340"/>
              <a:gd name="connsiteX8" fmla="*/ 359906 w 5230090"/>
              <a:gd name="connsiteY8" fmla="*/ 6300701 h 6849340"/>
              <a:gd name="connsiteX9" fmla="*/ 916409 w 5230090"/>
              <a:gd name="connsiteY9" fmla="*/ 6857204 h 6849340"/>
              <a:gd name="connsiteX10" fmla="*/ 4314886 w 5230090"/>
              <a:gd name="connsiteY10" fmla="*/ 6857204 h 6849340"/>
              <a:gd name="connsiteX11" fmla="*/ 4871388 w 5230090"/>
              <a:gd name="connsiteY11" fmla="*/ 6300701 h 6849340"/>
              <a:gd name="connsiteX12" fmla="*/ 4871388 w 5230090"/>
              <a:gd name="connsiteY12" fmla="*/ 2130890 h 6849340"/>
              <a:gd name="connsiteX13" fmla="*/ 5231295 w 5230090"/>
              <a:gd name="connsiteY13" fmla="*/ 1720250 h 6849340"/>
              <a:gd name="connsiteX14" fmla="*/ 5231295 w 5230090"/>
              <a:gd name="connsiteY14" fmla="*/ 1292170 h 6849340"/>
              <a:gd name="connsiteX15" fmla="*/ 4803215 w 5230090"/>
              <a:gd name="connsiteY15" fmla="*/ 864879 h 6849340"/>
              <a:gd name="connsiteX16" fmla="*/ 2602568 w 5230090"/>
              <a:gd name="connsiteY16" fmla="*/ 317096 h 6849340"/>
              <a:gd name="connsiteX17" fmla="*/ 3270054 w 5230090"/>
              <a:gd name="connsiteY17" fmla="*/ 864879 h 6849340"/>
              <a:gd name="connsiteX18" fmla="*/ 1926353 w 5230090"/>
              <a:gd name="connsiteY18" fmla="*/ 864879 h 6849340"/>
              <a:gd name="connsiteX19" fmla="*/ 2602568 w 5230090"/>
              <a:gd name="connsiteY19" fmla="*/ 317096 h 6849340"/>
              <a:gd name="connsiteX20" fmla="*/ 4546361 w 5230090"/>
              <a:gd name="connsiteY20" fmla="*/ 6310218 h 6849340"/>
              <a:gd name="connsiteX21" fmla="*/ 4306954 w 5230090"/>
              <a:gd name="connsiteY21" fmla="*/ 6549624 h 6849340"/>
              <a:gd name="connsiteX22" fmla="*/ 907689 w 5230090"/>
              <a:gd name="connsiteY22" fmla="*/ 6549624 h 6849340"/>
              <a:gd name="connsiteX23" fmla="*/ 668283 w 5230090"/>
              <a:gd name="connsiteY23" fmla="*/ 6310218 h 6849340"/>
              <a:gd name="connsiteX24" fmla="*/ 668283 w 5230090"/>
              <a:gd name="connsiteY24" fmla="*/ 2140397 h 6849340"/>
              <a:gd name="connsiteX25" fmla="*/ 4538446 w 5230090"/>
              <a:gd name="connsiteY25" fmla="*/ 2140397 h 6849340"/>
              <a:gd name="connsiteX26" fmla="*/ 4538446 w 5230090"/>
              <a:gd name="connsiteY26" fmla="*/ 6310218 h 6849340"/>
              <a:gd name="connsiteX27" fmla="*/ 4546361 w 5230090"/>
              <a:gd name="connsiteY27" fmla="*/ 6310218 h 6849340"/>
              <a:gd name="connsiteX28" fmla="*/ 4905479 w 5230090"/>
              <a:gd name="connsiteY28" fmla="*/ 1712318 h 6849340"/>
              <a:gd name="connsiteX29" fmla="*/ 4802419 w 5230090"/>
              <a:gd name="connsiteY29" fmla="*/ 1815378 h 6849340"/>
              <a:gd name="connsiteX30" fmla="*/ 418563 w 5230090"/>
              <a:gd name="connsiteY30" fmla="*/ 1815378 h 6849340"/>
              <a:gd name="connsiteX31" fmla="*/ 315503 w 5230090"/>
              <a:gd name="connsiteY31" fmla="*/ 1712318 h 6849340"/>
              <a:gd name="connsiteX32" fmla="*/ 315503 w 5230090"/>
              <a:gd name="connsiteY32" fmla="*/ 1284239 h 6849340"/>
              <a:gd name="connsiteX33" fmla="*/ 418563 w 5230090"/>
              <a:gd name="connsiteY33" fmla="*/ 1181178 h 6849340"/>
              <a:gd name="connsiteX34" fmla="*/ 4793699 w 5230090"/>
              <a:gd name="connsiteY34" fmla="*/ 1181178 h 6849340"/>
              <a:gd name="connsiteX35" fmla="*/ 4896751 w 5230090"/>
              <a:gd name="connsiteY35" fmla="*/ 1284239 h 6849340"/>
              <a:gd name="connsiteX36" fmla="*/ 4896751 w 5230090"/>
              <a:gd name="connsiteY36" fmla="*/ 1712318 h 6849340"/>
              <a:gd name="connsiteX37" fmla="*/ 4905479 w 5230090"/>
              <a:gd name="connsiteY37" fmla="*/ 1712318 h 6849340"/>
              <a:gd name="connsiteX38" fmla="*/ 1378571 w 5230090"/>
              <a:gd name="connsiteY38" fmla="*/ 5727556 h 6849340"/>
              <a:gd name="connsiteX39" fmla="*/ 1378571 w 5230090"/>
              <a:gd name="connsiteY39" fmla="*/ 3022724 h 6849340"/>
              <a:gd name="connsiteX40" fmla="*/ 1532365 w 5230090"/>
              <a:gd name="connsiteY40" fmla="*/ 2868930 h 6849340"/>
              <a:gd name="connsiteX41" fmla="*/ 1686159 w 5230090"/>
              <a:gd name="connsiteY41" fmla="*/ 3022724 h 6849340"/>
              <a:gd name="connsiteX42" fmla="*/ 1686159 w 5230090"/>
              <a:gd name="connsiteY42" fmla="*/ 5727556 h 6849340"/>
              <a:gd name="connsiteX43" fmla="*/ 1532365 w 5230090"/>
              <a:gd name="connsiteY43" fmla="*/ 5881350 h 6849340"/>
              <a:gd name="connsiteX44" fmla="*/ 1378571 w 5230090"/>
              <a:gd name="connsiteY44" fmla="*/ 5727556 h 6849340"/>
              <a:gd name="connsiteX45" fmla="*/ 2465425 w 5230090"/>
              <a:gd name="connsiteY45" fmla="*/ 5727556 h 6849340"/>
              <a:gd name="connsiteX46" fmla="*/ 2465425 w 5230090"/>
              <a:gd name="connsiteY46" fmla="*/ 3022724 h 6849340"/>
              <a:gd name="connsiteX47" fmla="*/ 2619219 w 5230090"/>
              <a:gd name="connsiteY47" fmla="*/ 2868930 h 6849340"/>
              <a:gd name="connsiteX48" fmla="*/ 2773013 w 5230090"/>
              <a:gd name="connsiteY48" fmla="*/ 3022724 h 6849340"/>
              <a:gd name="connsiteX49" fmla="*/ 2773013 w 5230090"/>
              <a:gd name="connsiteY49" fmla="*/ 5727556 h 6849340"/>
              <a:gd name="connsiteX50" fmla="*/ 2619219 w 5230090"/>
              <a:gd name="connsiteY50" fmla="*/ 5881350 h 6849340"/>
              <a:gd name="connsiteX51" fmla="*/ 2465425 w 5230090"/>
              <a:gd name="connsiteY51" fmla="*/ 5727556 h 6849340"/>
              <a:gd name="connsiteX52" fmla="*/ 3553059 w 5230090"/>
              <a:gd name="connsiteY52" fmla="*/ 5727556 h 6849340"/>
              <a:gd name="connsiteX53" fmla="*/ 3553059 w 5230090"/>
              <a:gd name="connsiteY53" fmla="*/ 3022724 h 6849340"/>
              <a:gd name="connsiteX54" fmla="*/ 3706853 w 5230090"/>
              <a:gd name="connsiteY54" fmla="*/ 2868930 h 6849340"/>
              <a:gd name="connsiteX55" fmla="*/ 3860647 w 5230090"/>
              <a:gd name="connsiteY55" fmla="*/ 3022724 h 6849340"/>
              <a:gd name="connsiteX56" fmla="*/ 3860647 w 5230090"/>
              <a:gd name="connsiteY56" fmla="*/ 5727556 h 6849340"/>
              <a:gd name="connsiteX57" fmla="*/ 3706853 w 5230090"/>
              <a:gd name="connsiteY57" fmla="*/ 5881350 h 6849340"/>
              <a:gd name="connsiteX58" fmla="*/ 3553059 w 5230090"/>
              <a:gd name="connsiteY58" fmla="*/ 5727556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230090" h="6849340">
                <a:moveTo>
                  <a:pt x="4803215" y="864879"/>
                </a:moveTo>
                <a:lnTo>
                  <a:pt x="3595869" y="864879"/>
                </a:lnTo>
                <a:cubicBezTo>
                  <a:pt x="3518977" y="376549"/>
                  <a:pt x="3107540" y="0"/>
                  <a:pt x="2602568" y="0"/>
                </a:cubicBezTo>
                <a:cubicBezTo>
                  <a:pt x="2097596" y="0"/>
                  <a:pt x="1678227" y="376549"/>
                  <a:pt x="1609257" y="864879"/>
                </a:cubicBezTo>
                <a:lnTo>
                  <a:pt x="419360" y="864879"/>
                </a:lnTo>
                <a:cubicBezTo>
                  <a:pt x="187876" y="864879"/>
                  <a:pt x="0" y="1053552"/>
                  <a:pt x="0" y="1284239"/>
                </a:cubicBezTo>
                <a:lnTo>
                  <a:pt x="0" y="1712318"/>
                </a:lnTo>
                <a:cubicBezTo>
                  <a:pt x="0" y="1926362"/>
                  <a:pt x="153794" y="2097587"/>
                  <a:pt x="359906" y="2122958"/>
                </a:cubicBezTo>
                <a:lnTo>
                  <a:pt x="359906" y="6300701"/>
                </a:lnTo>
                <a:cubicBezTo>
                  <a:pt x="359906" y="6609077"/>
                  <a:pt x="608033" y="6857204"/>
                  <a:pt x="916409" y="6857204"/>
                </a:cubicBezTo>
                <a:lnTo>
                  <a:pt x="4314886" y="6857204"/>
                </a:lnTo>
                <a:cubicBezTo>
                  <a:pt x="4623262" y="6857204"/>
                  <a:pt x="4871388" y="6609077"/>
                  <a:pt x="4871388" y="6300701"/>
                </a:cubicBezTo>
                <a:lnTo>
                  <a:pt x="4871388" y="2130890"/>
                </a:lnTo>
                <a:cubicBezTo>
                  <a:pt x="5076704" y="2096799"/>
                  <a:pt x="5231295" y="1925574"/>
                  <a:pt x="5231295" y="1720250"/>
                </a:cubicBezTo>
                <a:lnTo>
                  <a:pt x="5231295" y="1292170"/>
                </a:lnTo>
                <a:cubicBezTo>
                  <a:pt x="5222575" y="1053552"/>
                  <a:pt x="5033902" y="864879"/>
                  <a:pt x="4803215" y="864879"/>
                </a:cubicBezTo>
                <a:close/>
                <a:moveTo>
                  <a:pt x="2602568" y="317096"/>
                </a:moveTo>
                <a:cubicBezTo>
                  <a:pt x="2936315" y="317096"/>
                  <a:pt x="3210600" y="548579"/>
                  <a:pt x="3270054" y="864879"/>
                </a:cubicBezTo>
                <a:lnTo>
                  <a:pt x="1926353" y="864879"/>
                </a:lnTo>
                <a:cubicBezTo>
                  <a:pt x="1994535" y="556502"/>
                  <a:pt x="2268820" y="317096"/>
                  <a:pt x="2602568" y="317096"/>
                </a:cubicBezTo>
                <a:close/>
                <a:moveTo>
                  <a:pt x="4546361" y="6310218"/>
                </a:moveTo>
                <a:cubicBezTo>
                  <a:pt x="4546361" y="6438641"/>
                  <a:pt x="4443309" y="6549624"/>
                  <a:pt x="4306954" y="6549624"/>
                </a:cubicBezTo>
                <a:lnTo>
                  <a:pt x="907689" y="6549624"/>
                </a:lnTo>
                <a:cubicBezTo>
                  <a:pt x="779266" y="6549624"/>
                  <a:pt x="668283" y="6446572"/>
                  <a:pt x="668283" y="6310218"/>
                </a:cubicBezTo>
                <a:lnTo>
                  <a:pt x="668283" y="2140397"/>
                </a:lnTo>
                <a:lnTo>
                  <a:pt x="4538446" y="2140397"/>
                </a:lnTo>
                <a:lnTo>
                  <a:pt x="4538446" y="6310218"/>
                </a:lnTo>
                <a:lnTo>
                  <a:pt x="4546361" y="6310218"/>
                </a:lnTo>
                <a:close/>
                <a:moveTo>
                  <a:pt x="4905479" y="1712318"/>
                </a:moveTo>
                <a:cubicBezTo>
                  <a:pt x="4905479" y="1772568"/>
                  <a:pt x="4862669" y="1815378"/>
                  <a:pt x="4802419" y="1815378"/>
                </a:cubicBezTo>
                <a:lnTo>
                  <a:pt x="418563" y="1815378"/>
                </a:lnTo>
                <a:cubicBezTo>
                  <a:pt x="358313" y="1815378"/>
                  <a:pt x="315503" y="1772568"/>
                  <a:pt x="315503" y="1712318"/>
                </a:cubicBezTo>
                <a:lnTo>
                  <a:pt x="315503" y="1284239"/>
                </a:lnTo>
                <a:cubicBezTo>
                  <a:pt x="315503" y="1223989"/>
                  <a:pt x="358313" y="1181178"/>
                  <a:pt x="418563" y="1181178"/>
                </a:cubicBezTo>
                <a:lnTo>
                  <a:pt x="4793699" y="1181178"/>
                </a:lnTo>
                <a:cubicBezTo>
                  <a:pt x="4853949" y="1181178"/>
                  <a:pt x="4896751" y="1223989"/>
                  <a:pt x="4896751" y="1284239"/>
                </a:cubicBezTo>
                <a:lnTo>
                  <a:pt x="4896751" y="1712318"/>
                </a:lnTo>
                <a:lnTo>
                  <a:pt x="4905479" y="1712318"/>
                </a:lnTo>
                <a:close/>
                <a:moveTo>
                  <a:pt x="1378571" y="5727556"/>
                </a:moveTo>
                <a:lnTo>
                  <a:pt x="1378571" y="3022724"/>
                </a:lnTo>
                <a:cubicBezTo>
                  <a:pt x="1378571" y="2937112"/>
                  <a:pt x="1446744" y="2868930"/>
                  <a:pt x="1532365" y="2868930"/>
                </a:cubicBezTo>
                <a:cubicBezTo>
                  <a:pt x="1617986" y="2868930"/>
                  <a:pt x="1686159" y="2937103"/>
                  <a:pt x="1686159" y="3022724"/>
                </a:cubicBezTo>
                <a:lnTo>
                  <a:pt x="1686159" y="5727556"/>
                </a:lnTo>
                <a:cubicBezTo>
                  <a:pt x="1686159" y="5813168"/>
                  <a:pt x="1617986" y="5881350"/>
                  <a:pt x="1532365" y="5881350"/>
                </a:cubicBezTo>
                <a:cubicBezTo>
                  <a:pt x="1446752" y="5890858"/>
                  <a:pt x="1378571" y="5813168"/>
                  <a:pt x="1378571" y="5727556"/>
                </a:cubicBezTo>
                <a:close/>
                <a:moveTo>
                  <a:pt x="2465425" y="5727556"/>
                </a:moveTo>
                <a:lnTo>
                  <a:pt x="2465425" y="3022724"/>
                </a:lnTo>
                <a:cubicBezTo>
                  <a:pt x="2465425" y="2937112"/>
                  <a:pt x="2533598" y="2868930"/>
                  <a:pt x="2619219" y="2868930"/>
                </a:cubicBezTo>
                <a:cubicBezTo>
                  <a:pt x="2704832" y="2868930"/>
                  <a:pt x="2773013" y="2937103"/>
                  <a:pt x="2773013" y="3022724"/>
                </a:cubicBezTo>
                <a:lnTo>
                  <a:pt x="2773013" y="5727556"/>
                </a:lnTo>
                <a:cubicBezTo>
                  <a:pt x="2773013" y="5813168"/>
                  <a:pt x="2704840" y="5881350"/>
                  <a:pt x="2619219" y="5881350"/>
                </a:cubicBezTo>
                <a:cubicBezTo>
                  <a:pt x="2534386" y="5890858"/>
                  <a:pt x="2465425" y="5813168"/>
                  <a:pt x="2465425" y="5727556"/>
                </a:cubicBezTo>
                <a:close/>
                <a:moveTo>
                  <a:pt x="3553059" y="5727556"/>
                </a:moveTo>
                <a:lnTo>
                  <a:pt x="3553059" y="3022724"/>
                </a:lnTo>
                <a:cubicBezTo>
                  <a:pt x="3553059" y="2937112"/>
                  <a:pt x="3621232" y="2868930"/>
                  <a:pt x="3706853" y="2868930"/>
                </a:cubicBezTo>
                <a:cubicBezTo>
                  <a:pt x="3792474" y="2868930"/>
                  <a:pt x="3860647" y="2937103"/>
                  <a:pt x="3860647" y="3022724"/>
                </a:cubicBezTo>
                <a:lnTo>
                  <a:pt x="3860647" y="5727556"/>
                </a:lnTo>
                <a:cubicBezTo>
                  <a:pt x="3860647" y="5813168"/>
                  <a:pt x="3792474" y="5881350"/>
                  <a:pt x="3706853" y="5881350"/>
                </a:cubicBezTo>
                <a:cubicBezTo>
                  <a:pt x="3629960" y="5890858"/>
                  <a:pt x="3553059" y="5813168"/>
                  <a:pt x="3553059" y="5727556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3" name="Forma libre 276">
            <a:extLst>
              <a:ext uri="{FF2B5EF4-FFF2-40B4-BE49-F238E27FC236}">
                <a16:creationId xmlns:a16="http://schemas.microsoft.com/office/drawing/2014/main" xmlns="" id="{D5B1B53F-52E4-D44F-8916-6C679E65E36E}"/>
              </a:ext>
            </a:extLst>
          </p:cNvPr>
          <p:cNvSpPr/>
          <p:nvPr/>
        </p:nvSpPr>
        <p:spPr>
          <a:xfrm>
            <a:off x="2755364" y="5316036"/>
            <a:ext cx="301831" cy="261883"/>
          </a:xfrm>
          <a:custGeom>
            <a:avLst/>
            <a:gdLst>
              <a:gd name="connsiteX0" fmla="*/ 5503812 w 5829300"/>
              <a:gd name="connsiteY0" fmla="*/ 2857157 h 5057775"/>
              <a:gd name="connsiteX1" fmla="*/ 5503812 w 5829300"/>
              <a:gd name="connsiteY1" fmla="*/ 2592619 h 5057775"/>
              <a:gd name="connsiteX2" fmla="*/ 2911192 w 5829300"/>
              <a:gd name="connsiteY2" fmla="*/ 0 h 5057775"/>
              <a:gd name="connsiteX3" fmla="*/ 319211 w 5829300"/>
              <a:gd name="connsiteY3" fmla="*/ 2592619 h 5057775"/>
              <a:gd name="connsiteX4" fmla="*/ 319211 w 5829300"/>
              <a:gd name="connsiteY4" fmla="*/ 2857157 h 5057775"/>
              <a:gd name="connsiteX5" fmla="*/ 0 w 5829300"/>
              <a:gd name="connsiteY5" fmla="*/ 3339113 h 5057775"/>
              <a:gd name="connsiteX6" fmla="*/ 0 w 5829300"/>
              <a:gd name="connsiteY6" fmla="*/ 4221328 h 5057775"/>
              <a:gd name="connsiteX7" fmla="*/ 522799 w 5829300"/>
              <a:gd name="connsiteY7" fmla="*/ 4744126 h 5057775"/>
              <a:gd name="connsiteX8" fmla="*/ 862108 w 5829300"/>
              <a:gd name="connsiteY8" fmla="*/ 4744126 h 5057775"/>
              <a:gd name="connsiteX9" fmla="*/ 956986 w 5829300"/>
              <a:gd name="connsiteY9" fmla="*/ 4737212 h 5057775"/>
              <a:gd name="connsiteX10" fmla="*/ 1432027 w 5829300"/>
              <a:gd name="connsiteY10" fmla="*/ 5062700 h 5057775"/>
              <a:gd name="connsiteX11" fmla="*/ 1472870 w 5829300"/>
              <a:gd name="connsiteY11" fmla="*/ 5062700 h 5057775"/>
              <a:gd name="connsiteX12" fmla="*/ 1981838 w 5829300"/>
              <a:gd name="connsiteY12" fmla="*/ 4553731 h 5057775"/>
              <a:gd name="connsiteX13" fmla="*/ 1981838 w 5829300"/>
              <a:gd name="connsiteY13" fmla="*/ 3006709 h 5057775"/>
              <a:gd name="connsiteX14" fmla="*/ 1526905 w 5829300"/>
              <a:gd name="connsiteY14" fmla="*/ 2497741 h 5057775"/>
              <a:gd name="connsiteX15" fmla="*/ 2925004 w 5829300"/>
              <a:gd name="connsiteY15" fmla="*/ 1215257 h 5057775"/>
              <a:gd name="connsiteX16" fmla="*/ 4309282 w 5829300"/>
              <a:gd name="connsiteY16" fmla="*/ 2504656 h 5057775"/>
              <a:gd name="connsiteX17" fmla="*/ 3848062 w 5829300"/>
              <a:gd name="connsiteY17" fmla="*/ 3006719 h 5057775"/>
              <a:gd name="connsiteX18" fmla="*/ 3848062 w 5829300"/>
              <a:gd name="connsiteY18" fmla="*/ 4547455 h 5057775"/>
              <a:gd name="connsiteX19" fmla="*/ 4357031 w 5829300"/>
              <a:gd name="connsiteY19" fmla="*/ 5056423 h 5057775"/>
              <a:gd name="connsiteX20" fmla="*/ 4397874 w 5829300"/>
              <a:gd name="connsiteY20" fmla="*/ 5056423 h 5057775"/>
              <a:gd name="connsiteX21" fmla="*/ 4872914 w 5829300"/>
              <a:gd name="connsiteY21" fmla="*/ 4730935 h 5057775"/>
              <a:gd name="connsiteX22" fmla="*/ 4967792 w 5829300"/>
              <a:gd name="connsiteY22" fmla="*/ 4737849 h 5057775"/>
              <a:gd name="connsiteX23" fmla="*/ 5307111 w 5829300"/>
              <a:gd name="connsiteY23" fmla="*/ 4737849 h 5057775"/>
              <a:gd name="connsiteX24" fmla="*/ 5829910 w 5829300"/>
              <a:gd name="connsiteY24" fmla="*/ 4215051 h 5057775"/>
              <a:gd name="connsiteX25" fmla="*/ 5829910 w 5829300"/>
              <a:gd name="connsiteY25" fmla="*/ 3332207 h 5057775"/>
              <a:gd name="connsiteX26" fmla="*/ 5503812 w 5829300"/>
              <a:gd name="connsiteY26" fmla="*/ 2857157 h 5057775"/>
              <a:gd name="connsiteX27" fmla="*/ 515884 w 5829300"/>
              <a:gd name="connsiteY27" fmla="*/ 4485866 h 5057775"/>
              <a:gd name="connsiteX28" fmla="*/ 251346 w 5829300"/>
              <a:gd name="connsiteY28" fmla="*/ 4221328 h 5057775"/>
              <a:gd name="connsiteX29" fmla="*/ 251346 w 5829300"/>
              <a:gd name="connsiteY29" fmla="*/ 3339113 h 5057775"/>
              <a:gd name="connsiteX30" fmla="*/ 461848 w 5829300"/>
              <a:gd name="connsiteY30" fmla="*/ 3081481 h 5057775"/>
              <a:gd name="connsiteX31" fmla="*/ 468763 w 5829300"/>
              <a:gd name="connsiteY31" fmla="*/ 3081481 h 5057775"/>
              <a:gd name="connsiteX32" fmla="*/ 475679 w 5829300"/>
              <a:gd name="connsiteY32" fmla="*/ 3081481 h 5057775"/>
              <a:gd name="connsiteX33" fmla="*/ 516522 w 5829300"/>
              <a:gd name="connsiteY33" fmla="*/ 3074565 h 5057775"/>
              <a:gd name="connsiteX34" fmla="*/ 855840 w 5829300"/>
              <a:gd name="connsiteY34" fmla="*/ 3074565 h 5057775"/>
              <a:gd name="connsiteX35" fmla="*/ 916791 w 5829300"/>
              <a:gd name="connsiteY35" fmla="*/ 3081481 h 5057775"/>
              <a:gd name="connsiteX36" fmla="*/ 916791 w 5829300"/>
              <a:gd name="connsiteY36" fmla="*/ 4472674 h 5057775"/>
              <a:gd name="connsiteX37" fmla="*/ 855840 w 5829300"/>
              <a:gd name="connsiteY37" fmla="*/ 4479589 h 5057775"/>
              <a:gd name="connsiteX38" fmla="*/ 516512 w 5829300"/>
              <a:gd name="connsiteY38" fmla="*/ 4479589 h 5057775"/>
              <a:gd name="connsiteX39" fmla="*/ 516512 w 5829300"/>
              <a:gd name="connsiteY39" fmla="*/ 4485875 h 5057775"/>
              <a:gd name="connsiteX40" fmla="*/ 515884 w 5829300"/>
              <a:gd name="connsiteY40" fmla="*/ 4485875 h 5057775"/>
              <a:gd name="connsiteX41" fmla="*/ 1717310 w 5829300"/>
              <a:gd name="connsiteY41" fmla="*/ 3006709 h 5057775"/>
              <a:gd name="connsiteX42" fmla="*/ 1717310 w 5829300"/>
              <a:gd name="connsiteY42" fmla="*/ 4547445 h 5057775"/>
              <a:gd name="connsiteX43" fmla="*/ 1465964 w 5829300"/>
              <a:gd name="connsiteY43" fmla="*/ 4798790 h 5057775"/>
              <a:gd name="connsiteX44" fmla="*/ 1425121 w 5829300"/>
              <a:gd name="connsiteY44" fmla="*/ 4798790 h 5057775"/>
              <a:gd name="connsiteX45" fmla="*/ 1173775 w 5829300"/>
              <a:gd name="connsiteY45" fmla="*/ 4554360 h 5057775"/>
              <a:gd name="connsiteX46" fmla="*/ 1173775 w 5829300"/>
              <a:gd name="connsiteY46" fmla="*/ 4554360 h 5057775"/>
              <a:gd name="connsiteX47" fmla="*/ 1173775 w 5829300"/>
              <a:gd name="connsiteY47" fmla="*/ 4540539 h 5057775"/>
              <a:gd name="connsiteX48" fmla="*/ 1173775 w 5829300"/>
              <a:gd name="connsiteY48" fmla="*/ 3013624 h 5057775"/>
              <a:gd name="connsiteX49" fmla="*/ 1173775 w 5829300"/>
              <a:gd name="connsiteY49" fmla="*/ 2999804 h 5057775"/>
              <a:gd name="connsiteX50" fmla="*/ 1234726 w 5829300"/>
              <a:gd name="connsiteY50" fmla="*/ 2843975 h 5057775"/>
              <a:gd name="connsiteX51" fmla="*/ 1234726 w 5829300"/>
              <a:gd name="connsiteY51" fmla="*/ 2843975 h 5057775"/>
              <a:gd name="connsiteX52" fmla="*/ 1268654 w 5829300"/>
              <a:gd name="connsiteY52" fmla="*/ 2816952 h 5057775"/>
              <a:gd name="connsiteX53" fmla="*/ 1268654 w 5829300"/>
              <a:gd name="connsiteY53" fmla="*/ 2816952 h 5057775"/>
              <a:gd name="connsiteX54" fmla="*/ 1390555 w 5829300"/>
              <a:gd name="connsiteY54" fmla="*/ 2769194 h 5057775"/>
              <a:gd name="connsiteX55" fmla="*/ 1390555 w 5829300"/>
              <a:gd name="connsiteY55" fmla="*/ 2769194 h 5057775"/>
              <a:gd name="connsiteX56" fmla="*/ 1417577 w 5829300"/>
              <a:gd name="connsiteY56" fmla="*/ 2769194 h 5057775"/>
              <a:gd name="connsiteX57" fmla="*/ 1458420 w 5829300"/>
              <a:gd name="connsiteY57" fmla="*/ 2769194 h 5057775"/>
              <a:gd name="connsiteX58" fmla="*/ 1717310 w 5829300"/>
              <a:gd name="connsiteY58" fmla="*/ 3006709 h 5057775"/>
              <a:gd name="connsiteX59" fmla="*/ 2911821 w 5829300"/>
              <a:gd name="connsiteY59" fmla="*/ 956996 h 5057775"/>
              <a:gd name="connsiteX60" fmla="*/ 1256090 w 5829300"/>
              <a:gd name="connsiteY60" fmla="*/ 2524754 h 5057775"/>
              <a:gd name="connsiteX61" fmla="*/ 1113454 w 5829300"/>
              <a:gd name="connsiteY61" fmla="*/ 2606440 h 5057775"/>
              <a:gd name="connsiteX62" fmla="*/ 1113454 w 5829300"/>
              <a:gd name="connsiteY62" fmla="*/ 2606440 h 5057775"/>
              <a:gd name="connsiteX63" fmla="*/ 1072610 w 5829300"/>
              <a:gd name="connsiteY63" fmla="*/ 2640368 h 5057775"/>
              <a:gd name="connsiteX64" fmla="*/ 1072610 w 5829300"/>
              <a:gd name="connsiteY64" fmla="*/ 2640368 h 5057775"/>
              <a:gd name="connsiteX65" fmla="*/ 1004745 w 5829300"/>
              <a:gd name="connsiteY65" fmla="*/ 2722055 h 5057775"/>
              <a:gd name="connsiteX66" fmla="*/ 997830 w 5829300"/>
              <a:gd name="connsiteY66" fmla="*/ 2728970 h 5057775"/>
              <a:gd name="connsiteX67" fmla="*/ 977722 w 5829300"/>
              <a:gd name="connsiteY67" fmla="*/ 2769813 h 5057775"/>
              <a:gd name="connsiteX68" fmla="*/ 977722 w 5829300"/>
              <a:gd name="connsiteY68" fmla="*/ 2776728 h 5057775"/>
              <a:gd name="connsiteX69" fmla="*/ 957615 w 5829300"/>
              <a:gd name="connsiteY69" fmla="*/ 2824487 h 5057775"/>
              <a:gd name="connsiteX70" fmla="*/ 957615 w 5829300"/>
              <a:gd name="connsiteY70" fmla="*/ 2824487 h 5057775"/>
              <a:gd name="connsiteX71" fmla="*/ 943794 w 5829300"/>
              <a:gd name="connsiteY71" fmla="*/ 2824487 h 5057775"/>
              <a:gd name="connsiteX72" fmla="*/ 862108 w 5829300"/>
              <a:gd name="connsiteY72" fmla="*/ 2817571 h 5057775"/>
              <a:gd name="connsiteX73" fmla="*/ 583749 w 5829300"/>
              <a:gd name="connsiteY73" fmla="*/ 2817571 h 5057775"/>
              <a:gd name="connsiteX74" fmla="*/ 583749 w 5829300"/>
              <a:gd name="connsiteY74" fmla="*/ 2593877 h 5057775"/>
              <a:gd name="connsiteX75" fmla="*/ 2918108 w 5829300"/>
              <a:gd name="connsiteY75" fmla="*/ 259518 h 5057775"/>
              <a:gd name="connsiteX76" fmla="*/ 5252466 w 5829300"/>
              <a:gd name="connsiteY76" fmla="*/ 2593877 h 5057775"/>
              <a:gd name="connsiteX77" fmla="*/ 5252466 w 5829300"/>
              <a:gd name="connsiteY77" fmla="*/ 2817571 h 5057775"/>
              <a:gd name="connsiteX78" fmla="*/ 4974098 w 5829300"/>
              <a:gd name="connsiteY78" fmla="*/ 2817571 h 5057775"/>
              <a:gd name="connsiteX79" fmla="*/ 4892412 w 5829300"/>
              <a:gd name="connsiteY79" fmla="*/ 2824487 h 5057775"/>
              <a:gd name="connsiteX80" fmla="*/ 4885497 w 5829300"/>
              <a:gd name="connsiteY80" fmla="*/ 2824487 h 5057775"/>
              <a:gd name="connsiteX81" fmla="*/ 4885497 w 5829300"/>
              <a:gd name="connsiteY81" fmla="*/ 2824487 h 5057775"/>
              <a:gd name="connsiteX82" fmla="*/ 4865389 w 5829300"/>
              <a:gd name="connsiteY82" fmla="*/ 2776728 h 5057775"/>
              <a:gd name="connsiteX83" fmla="*/ 4865389 w 5829300"/>
              <a:gd name="connsiteY83" fmla="*/ 2769813 h 5057775"/>
              <a:gd name="connsiteX84" fmla="*/ 4845282 w 5829300"/>
              <a:gd name="connsiteY84" fmla="*/ 2728970 h 5057775"/>
              <a:gd name="connsiteX85" fmla="*/ 4838367 w 5829300"/>
              <a:gd name="connsiteY85" fmla="*/ 2722055 h 5057775"/>
              <a:gd name="connsiteX86" fmla="*/ 4770501 w 5829300"/>
              <a:gd name="connsiteY86" fmla="*/ 2640368 h 5057775"/>
              <a:gd name="connsiteX87" fmla="*/ 4770501 w 5829300"/>
              <a:gd name="connsiteY87" fmla="*/ 2640368 h 5057775"/>
              <a:gd name="connsiteX88" fmla="*/ 4729658 w 5829300"/>
              <a:gd name="connsiteY88" fmla="*/ 2606440 h 5057775"/>
              <a:gd name="connsiteX89" fmla="*/ 4729658 w 5829300"/>
              <a:gd name="connsiteY89" fmla="*/ 2606440 h 5057775"/>
              <a:gd name="connsiteX90" fmla="*/ 4587021 w 5829300"/>
              <a:gd name="connsiteY90" fmla="*/ 2524754 h 5057775"/>
              <a:gd name="connsiteX91" fmla="*/ 2911821 w 5829300"/>
              <a:gd name="connsiteY91" fmla="*/ 956996 h 5057775"/>
              <a:gd name="connsiteX92" fmla="*/ 4397893 w 5829300"/>
              <a:gd name="connsiteY92" fmla="*/ 4798162 h 5057775"/>
              <a:gd name="connsiteX93" fmla="*/ 4357050 w 5829300"/>
              <a:gd name="connsiteY93" fmla="*/ 4798162 h 5057775"/>
              <a:gd name="connsiteX94" fmla="*/ 4105704 w 5829300"/>
              <a:gd name="connsiteY94" fmla="*/ 4546816 h 5057775"/>
              <a:gd name="connsiteX95" fmla="*/ 4105704 w 5829300"/>
              <a:gd name="connsiteY95" fmla="*/ 3006709 h 5057775"/>
              <a:gd name="connsiteX96" fmla="*/ 4357050 w 5829300"/>
              <a:gd name="connsiteY96" fmla="*/ 2755364 h 5057775"/>
              <a:gd name="connsiteX97" fmla="*/ 4397893 w 5829300"/>
              <a:gd name="connsiteY97" fmla="*/ 2755364 h 5057775"/>
              <a:gd name="connsiteX98" fmla="*/ 4424915 w 5829300"/>
              <a:gd name="connsiteY98" fmla="*/ 2755364 h 5057775"/>
              <a:gd name="connsiteX99" fmla="*/ 4424915 w 5829300"/>
              <a:gd name="connsiteY99" fmla="*/ 2755364 h 5057775"/>
              <a:gd name="connsiteX100" fmla="*/ 4546816 w 5829300"/>
              <a:gd name="connsiteY100" fmla="*/ 2803122 h 5057775"/>
              <a:gd name="connsiteX101" fmla="*/ 4546816 w 5829300"/>
              <a:gd name="connsiteY101" fmla="*/ 2803122 h 5057775"/>
              <a:gd name="connsiteX102" fmla="*/ 4580744 w 5829300"/>
              <a:gd name="connsiteY102" fmla="*/ 2830144 h 5057775"/>
              <a:gd name="connsiteX103" fmla="*/ 4580744 w 5829300"/>
              <a:gd name="connsiteY103" fmla="*/ 2830144 h 5057775"/>
              <a:gd name="connsiteX104" fmla="*/ 4641695 w 5829300"/>
              <a:gd name="connsiteY104" fmla="*/ 2985973 h 5057775"/>
              <a:gd name="connsiteX105" fmla="*/ 4641695 w 5829300"/>
              <a:gd name="connsiteY105" fmla="*/ 2999794 h 5057775"/>
              <a:gd name="connsiteX106" fmla="*/ 4641695 w 5829300"/>
              <a:gd name="connsiteY106" fmla="*/ 4526709 h 5057775"/>
              <a:gd name="connsiteX107" fmla="*/ 4641695 w 5829300"/>
              <a:gd name="connsiteY107" fmla="*/ 4540529 h 5057775"/>
              <a:gd name="connsiteX108" fmla="*/ 4641695 w 5829300"/>
              <a:gd name="connsiteY108" fmla="*/ 4540529 h 5057775"/>
              <a:gd name="connsiteX109" fmla="*/ 4397893 w 5829300"/>
              <a:gd name="connsiteY109" fmla="*/ 4798162 h 5057775"/>
              <a:gd name="connsiteX110" fmla="*/ 5564762 w 5829300"/>
              <a:gd name="connsiteY110" fmla="*/ 4221328 h 5057775"/>
              <a:gd name="connsiteX111" fmla="*/ 5300224 w 5829300"/>
              <a:gd name="connsiteY111" fmla="*/ 4485866 h 5057775"/>
              <a:gd name="connsiteX112" fmla="*/ 4960906 w 5829300"/>
              <a:gd name="connsiteY112" fmla="*/ 4485866 h 5057775"/>
              <a:gd name="connsiteX113" fmla="*/ 4899956 w 5829300"/>
              <a:gd name="connsiteY113" fmla="*/ 4478951 h 5057775"/>
              <a:gd name="connsiteX114" fmla="*/ 4899956 w 5829300"/>
              <a:gd name="connsiteY114" fmla="*/ 3081481 h 5057775"/>
              <a:gd name="connsiteX115" fmla="*/ 4960906 w 5829300"/>
              <a:gd name="connsiteY115" fmla="*/ 3074565 h 5057775"/>
              <a:gd name="connsiteX116" fmla="*/ 5300224 w 5829300"/>
              <a:gd name="connsiteY116" fmla="*/ 3074565 h 5057775"/>
              <a:gd name="connsiteX117" fmla="*/ 5341068 w 5829300"/>
              <a:gd name="connsiteY117" fmla="*/ 3081481 h 5057775"/>
              <a:gd name="connsiteX118" fmla="*/ 5347983 w 5829300"/>
              <a:gd name="connsiteY118" fmla="*/ 3081481 h 5057775"/>
              <a:gd name="connsiteX119" fmla="*/ 5354898 w 5829300"/>
              <a:gd name="connsiteY119" fmla="*/ 3081481 h 5057775"/>
              <a:gd name="connsiteX120" fmla="*/ 5565401 w 5829300"/>
              <a:gd name="connsiteY120" fmla="*/ 3339113 h 5057775"/>
              <a:gd name="connsiteX121" fmla="*/ 5564762 w 5829300"/>
              <a:gd name="connsiteY121" fmla="*/ 4221328 h 5057775"/>
              <a:gd name="connsiteX122" fmla="*/ 5564762 w 5829300"/>
              <a:gd name="connsiteY122" fmla="*/ 4221328 h 505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5829300" h="5057775">
                <a:moveTo>
                  <a:pt x="5503812" y="2857157"/>
                </a:moveTo>
                <a:lnTo>
                  <a:pt x="5503812" y="2592619"/>
                </a:lnTo>
                <a:cubicBezTo>
                  <a:pt x="5503812" y="1160583"/>
                  <a:pt x="4343229" y="0"/>
                  <a:pt x="2911192" y="0"/>
                </a:cubicBezTo>
                <a:cubicBezTo>
                  <a:pt x="1479156" y="0"/>
                  <a:pt x="319211" y="1160583"/>
                  <a:pt x="319211" y="2592619"/>
                </a:cubicBezTo>
                <a:lnTo>
                  <a:pt x="319211" y="2857157"/>
                </a:lnTo>
                <a:cubicBezTo>
                  <a:pt x="129445" y="2938844"/>
                  <a:pt x="0" y="3121695"/>
                  <a:pt x="0" y="3339113"/>
                </a:cubicBezTo>
                <a:lnTo>
                  <a:pt x="0" y="4221328"/>
                </a:lnTo>
                <a:cubicBezTo>
                  <a:pt x="0" y="4506602"/>
                  <a:pt x="230610" y="4744126"/>
                  <a:pt x="522799" y="4744126"/>
                </a:cubicBezTo>
                <a:lnTo>
                  <a:pt x="862108" y="4744126"/>
                </a:lnTo>
                <a:cubicBezTo>
                  <a:pt x="896036" y="4744126"/>
                  <a:pt x="923058" y="4737212"/>
                  <a:pt x="956986" y="4737212"/>
                </a:cubicBezTo>
                <a:cubicBezTo>
                  <a:pt x="1031758" y="4926978"/>
                  <a:pt x="1214619" y="5062700"/>
                  <a:pt x="1432027" y="5062700"/>
                </a:cubicBezTo>
                <a:lnTo>
                  <a:pt x="1472870" y="5062700"/>
                </a:lnTo>
                <a:cubicBezTo>
                  <a:pt x="1751238" y="5062700"/>
                  <a:pt x="1981838" y="4832090"/>
                  <a:pt x="1981838" y="4553731"/>
                </a:cubicBezTo>
                <a:lnTo>
                  <a:pt x="1981838" y="3006709"/>
                </a:lnTo>
                <a:cubicBezTo>
                  <a:pt x="1981838" y="2742171"/>
                  <a:pt x="1778251" y="2524754"/>
                  <a:pt x="1526905" y="2497741"/>
                </a:cubicBezTo>
                <a:cubicBezTo>
                  <a:pt x="1587856" y="1778270"/>
                  <a:pt x="2191712" y="1215257"/>
                  <a:pt x="2925004" y="1215257"/>
                </a:cubicBezTo>
                <a:cubicBezTo>
                  <a:pt x="3658295" y="1215257"/>
                  <a:pt x="4248331" y="1785176"/>
                  <a:pt x="4309282" y="2504656"/>
                </a:cubicBezTo>
                <a:cubicBezTo>
                  <a:pt x="4051649" y="2524763"/>
                  <a:pt x="3848062" y="2742171"/>
                  <a:pt x="3848062" y="3006719"/>
                </a:cubicBezTo>
                <a:lnTo>
                  <a:pt x="3848062" y="4547455"/>
                </a:lnTo>
                <a:cubicBezTo>
                  <a:pt x="3848062" y="4825813"/>
                  <a:pt x="4078672" y="5056423"/>
                  <a:pt x="4357031" y="5056423"/>
                </a:cubicBezTo>
                <a:lnTo>
                  <a:pt x="4397874" y="5056423"/>
                </a:lnTo>
                <a:cubicBezTo>
                  <a:pt x="4615282" y="5056423"/>
                  <a:pt x="4798143" y="4920701"/>
                  <a:pt x="4872914" y="4730935"/>
                </a:cubicBezTo>
                <a:cubicBezTo>
                  <a:pt x="4906842" y="4737849"/>
                  <a:pt x="4933865" y="4737849"/>
                  <a:pt x="4967792" y="4737849"/>
                </a:cubicBezTo>
                <a:lnTo>
                  <a:pt x="5307111" y="4737849"/>
                </a:lnTo>
                <a:cubicBezTo>
                  <a:pt x="5592385" y="4737849"/>
                  <a:pt x="5829910" y="4507240"/>
                  <a:pt x="5829910" y="4215051"/>
                </a:cubicBezTo>
                <a:lnTo>
                  <a:pt x="5829910" y="3332207"/>
                </a:lnTo>
                <a:cubicBezTo>
                  <a:pt x="5823014" y="3122324"/>
                  <a:pt x="5694207" y="2931938"/>
                  <a:pt x="5503812" y="2857157"/>
                </a:cubicBezTo>
                <a:close/>
                <a:moveTo>
                  <a:pt x="515884" y="4485866"/>
                </a:moveTo>
                <a:cubicBezTo>
                  <a:pt x="373247" y="4485866"/>
                  <a:pt x="251346" y="4370251"/>
                  <a:pt x="251346" y="4221328"/>
                </a:cubicBezTo>
                <a:lnTo>
                  <a:pt x="251346" y="3339113"/>
                </a:lnTo>
                <a:cubicBezTo>
                  <a:pt x="251346" y="3210297"/>
                  <a:pt x="339319" y="3108503"/>
                  <a:pt x="461848" y="3081481"/>
                </a:cubicBezTo>
                <a:lnTo>
                  <a:pt x="468763" y="3081481"/>
                </a:lnTo>
                <a:lnTo>
                  <a:pt x="475679" y="3081481"/>
                </a:lnTo>
                <a:cubicBezTo>
                  <a:pt x="489499" y="3081481"/>
                  <a:pt x="502701" y="3074565"/>
                  <a:pt x="516522" y="3074565"/>
                </a:cubicBezTo>
                <a:lnTo>
                  <a:pt x="855840" y="3074565"/>
                </a:lnTo>
                <a:cubicBezTo>
                  <a:pt x="875948" y="3074565"/>
                  <a:pt x="896684" y="3074565"/>
                  <a:pt x="916791" y="3081481"/>
                </a:cubicBezTo>
                <a:lnTo>
                  <a:pt x="916791" y="4472674"/>
                </a:lnTo>
                <a:cubicBezTo>
                  <a:pt x="896684" y="4479589"/>
                  <a:pt x="875948" y="4479589"/>
                  <a:pt x="855840" y="4479589"/>
                </a:cubicBezTo>
                <a:lnTo>
                  <a:pt x="516512" y="4479589"/>
                </a:lnTo>
                <a:lnTo>
                  <a:pt x="516512" y="4485875"/>
                </a:lnTo>
                <a:lnTo>
                  <a:pt x="515884" y="4485875"/>
                </a:lnTo>
                <a:close/>
                <a:moveTo>
                  <a:pt x="1717310" y="3006709"/>
                </a:moveTo>
                <a:lnTo>
                  <a:pt x="1717310" y="4547445"/>
                </a:lnTo>
                <a:cubicBezTo>
                  <a:pt x="1717310" y="4683167"/>
                  <a:pt x="1601695" y="4798790"/>
                  <a:pt x="1465964" y="4798790"/>
                </a:cubicBezTo>
                <a:lnTo>
                  <a:pt x="1425121" y="4798790"/>
                </a:lnTo>
                <a:cubicBezTo>
                  <a:pt x="1289399" y="4798790"/>
                  <a:pt x="1180690" y="4690082"/>
                  <a:pt x="1173775" y="4554360"/>
                </a:cubicBezTo>
                <a:lnTo>
                  <a:pt x="1173775" y="4554360"/>
                </a:lnTo>
                <a:cubicBezTo>
                  <a:pt x="1173775" y="4547445"/>
                  <a:pt x="1173775" y="4547445"/>
                  <a:pt x="1173775" y="4540539"/>
                </a:cubicBezTo>
                <a:lnTo>
                  <a:pt x="1173775" y="3013624"/>
                </a:lnTo>
                <a:cubicBezTo>
                  <a:pt x="1173775" y="3006709"/>
                  <a:pt x="1173775" y="3006709"/>
                  <a:pt x="1173775" y="2999804"/>
                </a:cubicBezTo>
                <a:cubicBezTo>
                  <a:pt x="1173775" y="2938853"/>
                  <a:pt x="1200798" y="2884189"/>
                  <a:pt x="1234726" y="2843975"/>
                </a:cubicBezTo>
                <a:lnTo>
                  <a:pt x="1234726" y="2843975"/>
                </a:lnTo>
                <a:cubicBezTo>
                  <a:pt x="1241641" y="2830154"/>
                  <a:pt x="1254833" y="2823867"/>
                  <a:pt x="1268654" y="2816952"/>
                </a:cubicBezTo>
                <a:lnTo>
                  <a:pt x="1268654" y="2816952"/>
                </a:lnTo>
                <a:cubicBezTo>
                  <a:pt x="1302582" y="2789930"/>
                  <a:pt x="1343425" y="2776109"/>
                  <a:pt x="1390555" y="2769194"/>
                </a:cubicBezTo>
                <a:lnTo>
                  <a:pt x="1390555" y="2769194"/>
                </a:lnTo>
                <a:cubicBezTo>
                  <a:pt x="1397470" y="2769194"/>
                  <a:pt x="1410662" y="2769194"/>
                  <a:pt x="1417577" y="2769194"/>
                </a:cubicBezTo>
                <a:lnTo>
                  <a:pt x="1458420" y="2769194"/>
                </a:lnTo>
                <a:cubicBezTo>
                  <a:pt x="1601695" y="2755364"/>
                  <a:pt x="1717310" y="2870988"/>
                  <a:pt x="1717310" y="3006709"/>
                </a:cubicBezTo>
                <a:close/>
                <a:moveTo>
                  <a:pt x="2911821" y="956996"/>
                </a:moveTo>
                <a:cubicBezTo>
                  <a:pt x="2029606" y="956996"/>
                  <a:pt x="1303220" y="1655731"/>
                  <a:pt x="1256090" y="2524754"/>
                </a:cubicBezTo>
                <a:cubicBezTo>
                  <a:pt x="1202055" y="2544861"/>
                  <a:pt x="1154297" y="2572512"/>
                  <a:pt x="1113454" y="2606440"/>
                </a:cubicBezTo>
                <a:lnTo>
                  <a:pt x="1113454" y="2606440"/>
                </a:lnTo>
                <a:cubicBezTo>
                  <a:pt x="1099633" y="2620261"/>
                  <a:pt x="1086431" y="2626548"/>
                  <a:pt x="1072610" y="2640368"/>
                </a:cubicBezTo>
                <a:lnTo>
                  <a:pt x="1072610" y="2640368"/>
                </a:lnTo>
                <a:cubicBezTo>
                  <a:pt x="1045588" y="2667391"/>
                  <a:pt x="1024852" y="2694404"/>
                  <a:pt x="1004745" y="2722055"/>
                </a:cubicBezTo>
                <a:cubicBezTo>
                  <a:pt x="1004745" y="2722055"/>
                  <a:pt x="1004745" y="2728970"/>
                  <a:pt x="997830" y="2728970"/>
                </a:cubicBezTo>
                <a:cubicBezTo>
                  <a:pt x="990914" y="2742790"/>
                  <a:pt x="984009" y="2755992"/>
                  <a:pt x="977722" y="2769813"/>
                </a:cubicBezTo>
                <a:lnTo>
                  <a:pt x="977722" y="2776728"/>
                </a:lnTo>
                <a:cubicBezTo>
                  <a:pt x="970807" y="2790549"/>
                  <a:pt x="963901" y="2803751"/>
                  <a:pt x="957615" y="2824487"/>
                </a:cubicBezTo>
                <a:lnTo>
                  <a:pt x="957615" y="2824487"/>
                </a:lnTo>
                <a:cubicBezTo>
                  <a:pt x="950700" y="2824487"/>
                  <a:pt x="950700" y="2824487"/>
                  <a:pt x="943794" y="2824487"/>
                </a:cubicBezTo>
                <a:cubicBezTo>
                  <a:pt x="916772" y="2817571"/>
                  <a:pt x="889759" y="2817571"/>
                  <a:pt x="862108" y="2817571"/>
                </a:cubicBezTo>
                <a:lnTo>
                  <a:pt x="583749" y="2817571"/>
                </a:lnTo>
                <a:lnTo>
                  <a:pt x="583749" y="2593877"/>
                </a:lnTo>
                <a:cubicBezTo>
                  <a:pt x="583749" y="1304477"/>
                  <a:pt x="1628708" y="259518"/>
                  <a:pt x="2918108" y="259518"/>
                </a:cubicBezTo>
                <a:cubicBezTo>
                  <a:pt x="4207507" y="259518"/>
                  <a:pt x="5252466" y="1304477"/>
                  <a:pt x="5252466" y="2593877"/>
                </a:cubicBezTo>
                <a:lnTo>
                  <a:pt x="5252466" y="2817571"/>
                </a:lnTo>
                <a:lnTo>
                  <a:pt x="4974098" y="2817571"/>
                </a:lnTo>
                <a:cubicBezTo>
                  <a:pt x="4947076" y="2817571"/>
                  <a:pt x="4920063" y="2817571"/>
                  <a:pt x="4892412" y="2824487"/>
                </a:cubicBezTo>
                <a:lnTo>
                  <a:pt x="4885497" y="2824487"/>
                </a:lnTo>
                <a:lnTo>
                  <a:pt x="4885497" y="2824487"/>
                </a:lnTo>
                <a:cubicBezTo>
                  <a:pt x="4878582" y="2810666"/>
                  <a:pt x="4871676" y="2797464"/>
                  <a:pt x="4865389" y="2776728"/>
                </a:cubicBezTo>
                <a:lnTo>
                  <a:pt x="4865389" y="2769813"/>
                </a:lnTo>
                <a:cubicBezTo>
                  <a:pt x="4858474" y="2755992"/>
                  <a:pt x="4851569" y="2742790"/>
                  <a:pt x="4845282" y="2728970"/>
                </a:cubicBezTo>
                <a:cubicBezTo>
                  <a:pt x="4845282" y="2728970"/>
                  <a:pt x="4845282" y="2722055"/>
                  <a:pt x="4838367" y="2722055"/>
                </a:cubicBezTo>
                <a:cubicBezTo>
                  <a:pt x="4818260" y="2695032"/>
                  <a:pt x="4797524" y="2668019"/>
                  <a:pt x="4770501" y="2640368"/>
                </a:cubicBezTo>
                <a:lnTo>
                  <a:pt x="4770501" y="2640368"/>
                </a:lnTo>
                <a:cubicBezTo>
                  <a:pt x="4756681" y="2626548"/>
                  <a:pt x="4743479" y="2620261"/>
                  <a:pt x="4729658" y="2606440"/>
                </a:cubicBezTo>
                <a:lnTo>
                  <a:pt x="4729658" y="2606440"/>
                </a:lnTo>
                <a:cubicBezTo>
                  <a:pt x="4688815" y="2572512"/>
                  <a:pt x="4641685" y="2545490"/>
                  <a:pt x="4587021" y="2524754"/>
                </a:cubicBezTo>
                <a:cubicBezTo>
                  <a:pt x="4519794" y="1656359"/>
                  <a:pt x="3794036" y="956996"/>
                  <a:pt x="2911821" y="956996"/>
                </a:cubicBezTo>
                <a:close/>
                <a:moveTo>
                  <a:pt x="4397893" y="4798162"/>
                </a:moveTo>
                <a:lnTo>
                  <a:pt x="4357050" y="4798162"/>
                </a:lnTo>
                <a:cubicBezTo>
                  <a:pt x="4221328" y="4798162"/>
                  <a:pt x="4105704" y="4682547"/>
                  <a:pt x="4105704" y="4546816"/>
                </a:cubicBezTo>
                <a:lnTo>
                  <a:pt x="4105704" y="3006709"/>
                </a:lnTo>
                <a:cubicBezTo>
                  <a:pt x="4105704" y="2870988"/>
                  <a:pt x="4221318" y="2755364"/>
                  <a:pt x="4357050" y="2755364"/>
                </a:cubicBezTo>
                <a:lnTo>
                  <a:pt x="4397893" y="2755364"/>
                </a:lnTo>
                <a:cubicBezTo>
                  <a:pt x="4404808" y="2755364"/>
                  <a:pt x="4418000" y="2755364"/>
                  <a:pt x="4424915" y="2755364"/>
                </a:cubicBezTo>
                <a:lnTo>
                  <a:pt x="4424915" y="2755364"/>
                </a:lnTo>
                <a:cubicBezTo>
                  <a:pt x="4472673" y="2762279"/>
                  <a:pt x="4512888" y="2775471"/>
                  <a:pt x="4546816" y="2803122"/>
                </a:cubicBezTo>
                <a:lnTo>
                  <a:pt x="4546816" y="2803122"/>
                </a:lnTo>
                <a:cubicBezTo>
                  <a:pt x="4560637" y="2810037"/>
                  <a:pt x="4566924" y="2823229"/>
                  <a:pt x="4580744" y="2830144"/>
                </a:cubicBezTo>
                <a:lnTo>
                  <a:pt x="4580744" y="2830144"/>
                </a:lnTo>
                <a:cubicBezTo>
                  <a:pt x="4621587" y="2870988"/>
                  <a:pt x="4641695" y="2925023"/>
                  <a:pt x="4641695" y="2985973"/>
                </a:cubicBezTo>
                <a:cubicBezTo>
                  <a:pt x="4641695" y="2992889"/>
                  <a:pt x="4641695" y="2992889"/>
                  <a:pt x="4641695" y="2999794"/>
                </a:cubicBezTo>
                <a:lnTo>
                  <a:pt x="4641695" y="4526709"/>
                </a:lnTo>
                <a:cubicBezTo>
                  <a:pt x="4641695" y="4533624"/>
                  <a:pt x="4641695" y="4540529"/>
                  <a:pt x="4641695" y="4540529"/>
                </a:cubicBezTo>
                <a:lnTo>
                  <a:pt x="4641695" y="4540529"/>
                </a:lnTo>
                <a:cubicBezTo>
                  <a:pt x="4642323" y="4689463"/>
                  <a:pt x="4533624" y="4798162"/>
                  <a:pt x="4397893" y="4798162"/>
                </a:cubicBezTo>
                <a:close/>
                <a:moveTo>
                  <a:pt x="5564762" y="4221328"/>
                </a:moveTo>
                <a:cubicBezTo>
                  <a:pt x="5564762" y="4363965"/>
                  <a:pt x="5449148" y="4485866"/>
                  <a:pt x="5300224" y="4485866"/>
                </a:cubicBezTo>
                <a:lnTo>
                  <a:pt x="4960906" y="4485866"/>
                </a:lnTo>
                <a:cubicBezTo>
                  <a:pt x="4940799" y="4485866"/>
                  <a:pt x="4920063" y="4485866"/>
                  <a:pt x="4899956" y="4478951"/>
                </a:cubicBezTo>
                <a:lnTo>
                  <a:pt x="4899956" y="3081481"/>
                </a:lnTo>
                <a:cubicBezTo>
                  <a:pt x="4920063" y="3074565"/>
                  <a:pt x="4940799" y="3074565"/>
                  <a:pt x="4960906" y="3074565"/>
                </a:cubicBezTo>
                <a:lnTo>
                  <a:pt x="5300224" y="3074565"/>
                </a:lnTo>
                <a:cubicBezTo>
                  <a:pt x="5314046" y="3074565"/>
                  <a:pt x="5327247" y="3074565"/>
                  <a:pt x="5341068" y="3081481"/>
                </a:cubicBezTo>
                <a:lnTo>
                  <a:pt x="5347983" y="3081481"/>
                </a:lnTo>
                <a:lnTo>
                  <a:pt x="5354898" y="3081481"/>
                </a:lnTo>
                <a:cubicBezTo>
                  <a:pt x="5476799" y="3108503"/>
                  <a:pt x="5565401" y="3210297"/>
                  <a:pt x="5565401" y="3339113"/>
                </a:cubicBezTo>
                <a:lnTo>
                  <a:pt x="5564762" y="4221328"/>
                </a:lnTo>
                <a:lnTo>
                  <a:pt x="5564762" y="4221328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4" name="Forma libre 278">
            <a:extLst>
              <a:ext uri="{FF2B5EF4-FFF2-40B4-BE49-F238E27FC236}">
                <a16:creationId xmlns:a16="http://schemas.microsoft.com/office/drawing/2014/main" xmlns="" id="{E5180E6A-F875-324B-B9BE-C57A339F8938}"/>
              </a:ext>
            </a:extLst>
          </p:cNvPr>
          <p:cNvSpPr/>
          <p:nvPr/>
        </p:nvSpPr>
        <p:spPr>
          <a:xfrm>
            <a:off x="1258534" y="5942984"/>
            <a:ext cx="290446" cy="355095"/>
          </a:xfrm>
          <a:custGeom>
            <a:avLst/>
            <a:gdLst>
              <a:gd name="connsiteX0" fmla="*/ 5617758 w 5609421"/>
              <a:gd name="connsiteY0" fmla="*/ 2708378 h 6858000"/>
              <a:gd name="connsiteX1" fmla="*/ 5399027 w 5609421"/>
              <a:gd name="connsiteY1" fmla="*/ 2243044 h 6858000"/>
              <a:gd name="connsiteX2" fmla="*/ 5389737 w 5609421"/>
              <a:gd name="connsiteY2" fmla="*/ 2233753 h 6858000"/>
              <a:gd name="connsiteX3" fmla="*/ 5171006 w 5609421"/>
              <a:gd name="connsiteY3" fmla="*/ 2015022 h 6858000"/>
              <a:gd name="connsiteX4" fmla="*/ 5171006 w 5609421"/>
              <a:gd name="connsiteY4" fmla="*/ 1996440 h 6858000"/>
              <a:gd name="connsiteX5" fmla="*/ 5171006 w 5609421"/>
              <a:gd name="connsiteY5" fmla="*/ 346251 h 6858000"/>
              <a:gd name="connsiteX6" fmla="*/ 4824746 w 5609421"/>
              <a:gd name="connsiteY6" fmla="*/ 0 h 6858000"/>
              <a:gd name="connsiteX7" fmla="*/ 4222600 w 5609421"/>
              <a:gd name="connsiteY7" fmla="*/ 0 h 6858000"/>
              <a:gd name="connsiteX8" fmla="*/ 3876349 w 5609421"/>
              <a:gd name="connsiteY8" fmla="*/ 346251 h 6858000"/>
              <a:gd name="connsiteX9" fmla="*/ 3876349 w 5609421"/>
              <a:gd name="connsiteY9" fmla="*/ 793003 h 6858000"/>
              <a:gd name="connsiteX10" fmla="*/ 3338387 w 5609421"/>
              <a:gd name="connsiteY10" fmla="*/ 272778 h 6858000"/>
              <a:gd name="connsiteX11" fmla="*/ 2781851 w 5609421"/>
              <a:gd name="connsiteY11" fmla="*/ 44756 h 6858000"/>
              <a:gd name="connsiteX12" fmla="*/ 2207578 w 5609421"/>
              <a:gd name="connsiteY12" fmla="*/ 309087 h 6858000"/>
              <a:gd name="connsiteX13" fmla="*/ 273622 w 5609421"/>
              <a:gd name="connsiteY13" fmla="*/ 2188152 h 6858000"/>
              <a:gd name="connsiteX14" fmla="*/ 81920 w 5609421"/>
              <a:gd name="connsiteY14" fmla="*/ 2452483 h 6858000"/>
              <a:gd name="connsiteX15" fmla="*/ 72629 w 5609421"/>
              <a:gd name="connsiteY15" fmla="*/ 2461774 h 6858000"/>
              <a:gd name="connsiteX16" fmla="*/ 0 w 5609421"/>
              <a:gd name="connsiteY16" fmla="*/ 2735397 h 6858000"/>
              <a:gd name="connsiteX17" fmla="*/ 0 w 5609421"/>
              <a:gd name="connsiteY17" fmla="*/ 2744687 h 6858000"/>
              <a:gd name="connsiteX18" fmla="*/ 0 w 5609421"/>
              <a:gd name="connsiteY18" fmla="*/ 6539126 h 6858000"/>
              <a:gd name="connsiteX19" fmla="*/ 319232 w 5609421"/>
              <a:gd name="connsiteY19" fmla="*/ 6858358 h 6858000"/>
              <a:gd name="connsiteX20" fmla="*/ 1906083 w 5609421"/>
              <a:gd name="connsiteY20" fmla="*/ 6858358 h 6858000"/>
              <a:gd name="connsiteX21" fmla="*/ 2225315 w 5609421"/>
              <a:gd name="connsiteY21" fmla="*/ 6539126 h 6858000"/>
              <a:gd name="connsiteX22" fmla="*/ 2225315 w 5609421"/>
              <a:gd name="connsiteY22" fmla="*/ 5919244 h 6858000"/>
              <a:gd name="connsiteX23" fmla="*/ 2225315 w 5609421"/>
              <a:gd name="connsiteY23" fmla="*/ 5892216 h 6858000"/>
              <a:gd name="connsiteX24" fmla="*/ 2225315 w 5609421"/>
              <a:gd name="connsiteY24" fmla="*/ 4605170 h 6858000"/>
              <a:gd name="connsiteX25" fmla="*/ 3383996 w 5609421"/>
              <a:gd name="connsiteY25" fmla="*/ 4605170 h 6858000"/>
              <a:gd name="connsiteX26" fmla="*/ 3383996 w 5609421"/>
              <a:gd name="connsiteY26" fmla="*/ 6529835 h 6858000"/>
              <a:gd name="connsiteX27" fmla="*/ 3703228 w 5609421"/>
              <a:gd name="connsiteY27" fmla="*/ 6849067 h 6858000"/>
              <a:gd name="connsiteX28" fmla="*/ 5272342 w 5609421"/>
              <a:gd name="connsiteY28" fmla="*/ 6849067 h 6858000"/>
              <a:gd name="connsiteX29" fmla="*/ 5591575 w 5609421"/>
              <a:gd name="connsiteY29" fmla="*/ 6529835 h 6858000"/>
              <a:gd name="connsiteX30" fmla="*/ 5591575 w 5609421"/>
              <a:gd name="connsiteY30" fmla="*/ 2726115 h 6858000"/>
              <a:gd name="connsiteX31" fmla="*/ 5617758 w 5609421"/>
              <a:gd name="connsiteY31" fmla="*/ 2708378 h 6858000"/>
              <a:gd name="connsiteX32" fmla="*/ 4222600 w 5609421"/>
              <a:gd name="connsiteY32" fmla="*/ 336960 h 6858000"/>
              <a:gd name="connsiteX33" fmla="*/ 4824746 w 5609421"/>
              <a:gd name="connsiteY33" fmla="*/ 346251 h 6858000"/>
              <a:gd name="connsiteX34" fmla="*/ 4824746 w 5609421"/>
              <a:gd name="connsiteY34" fmla="*/ 1695799 h 6858000"/>
              <a:gd name="connsiteX35" fmla="*/ 4213309 w 5609421"/>
              <a:gd name="connsiteY35" fmla="*/ 1112235 h 6858000"/>
              <a:gd name="connsiteX36" fmla="*/ 4222600 w 5609421"/>
              <a:gd name="connsiteY36" fmla="*/ 336960 h 6858000"/>
              <a:gd name="connsiteX37" fmla="*/ 2444046 w 5609421"/>
              <a:gd name="connsiteY37" fmla="*/ 546409 h 6858000"/>
              <a:gd name="connsiteX38" fmla="*/ 2790297 w 5609421"/>
              <a:gd name="connsiteY38" fmla="*/ 382570 h 6858000"/>
              <a:gd name="connsiteX39" fmla="*/ 3109529 w 5609421"/>
              <a:gd name="connsiteY39" fmla="*/ 519381 h 6858000"/>
              <a:gd name="connsiteX40" fmla="*/ 5024904 w 5609421"/>
              <a:gd name="connsiteY40" fmla="*/ 2352836 h 6858000"/>
              <a:gd name="connsiteX41" fmla="*/ 592010 w 5609421"/>
              <a:gd name="connsiteY41" fmla="*/ 2352836 h 6858000"/>
              <a:gd name="connsiteX42" fmla="*/ 2444046 w 5609421"/>
              <a:gd name="connsiteY42" fmla="*/ 546409 h 6858000"/>
              <a:gd name="connsiteX43" fmla="*/ 5280789 w 5609421"/>
              <a:gd name="connsiteY43" fmla="*/ 6511263 h 6858000"/>
              <a:gd name="connsiteX44" fmla="*/ 3739538 w 5609421"/>
              <a:gd name="connsiteY44" fmla="*/ 6511263 h 6858000"/>
              <a:gd name="connsiteX45" fmla="*/ 3739538 w 5609421"/>
              <a:gd name="connsiteY45" fmla="*/ 4441340 h 6858000"/>
              <a:gd name="connsiteX46" fmla="*/ 3575699 w 5609421"/>
              <a:gd name="connsiteY46" fmla="*/ 4277501 h 6858000"/>
              <a:gd name="connsiteX47" fmla="*/ 2069923 w 5609421"/>
              <a:gd name="connsiteY47" fmla="*/ 4277501 h 6858000"/>
              <a:gd name="connsiteX48" fmla="*/ 1906083 w 5609421"/>
              <a:gd name="connsiteY48" fmla="*/ 4441340 h 6858000"/>
              <a:gd name="connsiteX49" fmla="*/ 1906083 w 5609421"/>
              <a:gd name="connsiteY49" fmla="*/ 5845780 h 6858000"/>
              <a:gd name="connsiteX50" fmla="*/ 1906083 w 5609421"/>
              <a:gd name="connsiteY50" fmla="*/ 5872808 h 6858000"/>
              <a:gd name="connsiteX51" fmla="*/ 1906083 w 5609421"/>
              <a:gd name="connsiteY51" fmla="*/ 6511263 h 6858000"/>
              <a:gd name="connsiteX52" fmla="*/ 336960 w 5609421"/>
              <a:gd name="connsiteY52" fmla="*/ 6511263 h 6858000"/>
              <a:gd name="connsiteX53" fmla="*/ 336960 w 5609421"/>
              <a:gd name="connsiteY53" fmla="*/ 2744697 h 6858000"/>
              <a:gd name="connsiteX54" fmla="*/ 346251 w 5609421"/>
              <a:gd name="connsiteY54" fmla="*/ 2689805 h 6858000"/>
              <a:gd name="connsiteX55" fmla="*/ 5262207 w 5609421"/>
              <a:gd name="connsiteY55" fmla="*/ 2689805 h 6858000"/>
              <a:gd name="connsiteX56" fmla="*/ 5271498 w 5609421"/>
              <a:gd name="connsiteY56" fmla="*/ 2689805 h 6858000"/>
              <a:gd name="connsiteX57" fmla="*/ 5280789 w 5609421"/>
              <a:gd name="connsiteY57" fmla="*/ 2735406 h 6858000"/>
              <a:gd name="connsiteX58" fmla="*/ 5280789 w 5609421"/>
              <a:gd name="connsiteY58" fmla="*/ 6511263 h 6858000"/>
              <a:gd name="connsiteX59" fmla="*/ 5280789 w 5609421"/>
              <a:gd name="connsiteY59" fmla="*/ 651126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609421" h="6858000">
                <a:moveTo>
                  <a:pt x="5617758" y="2708378"/>
                </a:moveTo>
                <a:cubicBezTo>
                  <a:pt x="5608467" y="2590148"/>
                  <a:pt x="5562866" y="2416173"/>
                  <a:pt x="5399027" y="2243044"/>
                </a:cubicBezTo>
                <a:lnTo>
                  <a:pt x="5389737" y="2233753"/>
                </a:lnTo>
                <a:lnTo>
                  <a:pt x="5171006" y="2015022"/>
                </a:lnTo>
                <a:cubicBezTo>
                  <a:pt x="5171006" y="2005731"/>
                  <a:pt x="5171006" y="2005731"/>
                  <a:pt x="5171006" y="1996440"/>
                </a:cubicBezTo>
                <a:lnTo>
                  <a:pt x="5171006" y="346251"/>
                </a:lnTo>
                <a:cubicBezTo>
                  <a:pt x="5171006" y="154548"/>
                  <a:pt x="5015613" y="0"/>
                  <a:pt x="4824746" y="0"/>
                </a:cubicBezTo>
                <a:lnTo>
                  <a:pt x="4222600" y="0"/>
                </a:lnTo>
                <a:cubicBezTo>
                  <a:pt x="4030898" y="0"/>
                  <a:pt x="3876349" y="155393"/>
                  <a:pt x="3876349" y="346251"/>
                </a:cubicBezTo>
                <a:lnTo>
                  <a:pt x="3876349" y="793003"/>
                </a:lnTo>
                <a:lnTo>
                  <a:pt x="3338387" y="272778"/>
                </a:lnTo>
                <a:cubicBezTo>
                  <a:pt x="3265758" y="208595"/>
                  <a:pt x="3055473" y="44756"/>
                  <a:pt x="2781851" y="44756"/>
                </a:cubicBezTo>
                <a:cubicBezTo>
                  <a:pt x="2572411" y="44756"/>
                  <a:pt x="2380699" y="135967"/>
                  <a:pt x="2207578" y="309087"/>
                </a:cubicBezTo>
                <a:lnTo>
                  <a:pt x="273622" y="2188152"/>
                </a:lnTo>
                <a:cubicBezTo>
                  <a:pt x="182412" y="2279362"/>
                  <a:pt x="118229" y="2370573"/>
                  <a:pt x="81920" y="2452483"/>
                </a:cubicBezTo>
                <a:cubicBezTo>
                  <a:pt x="81920" y="2452483"/>
                  <a:pt x="81920" y="2461774"/>
                  <a:pt x="72629" y="2461774"/>
                </a:cubicBezTo>
                <a:cubicBezTo>
                  <a:pt x="17737" y="2571567"/>
                  <a:pt x="0" y="2671214"/>
                  <a:pt x="0" y="2735397"/>
                </a:cubicBezTo>
                <a:lnTo>
                  <a:pt x="0" y="2744687"/>
                </a:lnTo>
                <a:lnTo>
                  <a:pt x="0" y="6539126"/>
                </a:lnTo>
                <a:cubicBezTo>
                  <a:pt x="0" y="6721547"/>
                  <a:pt x="146102" y="6858358"/>
                  <a:pt x="319232" y="6858358"/>
                </a:cubicBezTo>
                <a:lnTo>
                  <a:pt x="1906083" y="6858358"/>
                </a:lnTo>
                <a:cubicBezTo>
                  <a:pt x="2088504" y="6858358"/>
                  <a:pt x="2225315" y="6712256"/>
                  <a:pt x="2225315" y="6539126"/>
                </a:cubicBezTo>
                <a:lnTo>
                  <a:pt x="2225315" y="5919244"/>
                </a:lnTo>
                <a:cubicBezTo>
                  <a:pt x="2225315" y="5909953"/>
                  <a:pt x="2225315" y="5900662"/>
                  <a:pt x="2225315" y="5892216"/>
                </a:cubicBezTo>
                <a:lnTo>
                  <a:pt x="2225315" y="4605170"/>
                </a:lnTo>
                <a:lnTo>
                  <a:pt x="3383996" y="4605170"/>
                </a:lnTo>
                <a:lnTo>
                  <a:pt x="3383996" y="6529835"/>
                </a:lnTo>
                <a:cubicBezTo>
                  <a:pt x="3383996" y="6712256"/>
                  <a:pt x="3530098" y="6849067"/>
                  <a:pt x="3703228" y="6849067"/>
                </a:cubicBezTo>
                <a:lnTo>
                  <a:pt x="5272342" y="6849067"/>
                </a:lnTo>
                <a:cubicBezTo>
                  <a:pt x="5454763" y="6849067"/>
                  <a:pt x="5591575" y="6702965"/>
                  <a:pt x="5591575" y="6529835"/>
                </a:cubicBezTo>
                <a:lnTo>
                  <a:pt x="5591575" y="2726115"/>
                </a:lnTo>
                <a:cubicBezTo>
                  <a:pt x="5617758" y="2717669"/>
                  <a:pt x="5617758" y="2708378"/>
                  <a:pt x="5617758" y="2708378"/>
                </a:cubicBezTo>
                <a:close/>
                <a:moveTo>
                  <a:pt x="4222600" y="336960"/>
                </a:moveTo>
                <a:lnTo>
                  <a:pt x="4824746" y="346251"/>
                </a:lnTo>
                <a:lnTo>
                  <a:pt x="4824746" y="1695799"/>
                </a:lnTo>
                <a:lnTo>
                  <a:pt x="4213309" y="1112235"/>
                </a:lnTo>
                <a:lnTo>
                  <a:pt x="4222600" y="336960"/>
                </a:lnTo>
                <a:close/>
                <a:moveTo>
                  <a:pt x="2444046" y="546409"/>
                </a:moveTo>
                <a:cubicBezTo>
                  <a:pt x="2553829" y="436617"/>
                  <a:pt x="2672068" y="382570"/>
                  <a:pt x="2790297" y="382570"/>
                </a:cubicBezTo>
                <a:cubicBezTo>
                  <a:pt x="2945690" y="382570"/>
                  <a:pt x="3073210" y="483071"/>
                  <a:pt x="3109529" y="519381"/>
                </a:cubicBezTo>
                <a:lnTo>
                  <a:pt x="5024904" y="2352836"/>
                </a:lnTo>
                <a:lnTo>
                  <a:pt x="592010" y="2352836"/>
                </a:lnTo>
                <a:lnTo>
                  <a:pt x="2444046" y="546409"/>
                </a:lnTo>
                <a:close/>
                <a:moveTo>
                  <a:pt x="5280789" y="6511263"/>
                </a:moveTo>
                <a:lnTo>
                  <a:pt x="3739538" y="6511263"/>
                </a:lnTo>
                <a:lnTo>
                  <a:pt x="3739538" y="4441340"/>
                </a:lnTo>
                <a:cubicBezTo>
                  <a:pt x="3739538" y="4350130"/>
                  <a:pt x="3666909" y="4277501"/>
                  <a:pt x="3575699" y="4277501"/>
                </a:cubicBezTo>
                <a:lnTo>
                  <a:pt x="2069923" y="4277501"/>
                </a:lnTo>
                <a:cubicBezTo>
                  <a:pt x="1978712" y="4277501"/>
                  <a:pt x="1906083" y="4350130"/>
                  <a:pt x="1906083" y="4441340"/>
                </a:cubicBezTo>
                <a:lnTo>
                  <a:pt x="1906083" y="5845780"/>
                </a:lnTo>
                <a:cubicBezTo>
                  <a:pt x="1906083" y="5855071"/>
                  <a:pt x="1906083" y="5864361"/>
                  <a:pt x="1906083" y="5872808"/>
                </a:cubicBezTo>
                <a:lnTo>
                  <a:pt x="1906083" y="6511263"/>
                </a:lnTo>
                <a:lnTo>
                  <a:pt x="336960" y="6511263"/>
                </a:lnTo>
                <a:lnTo>
                  <a:pt x="336960" y="2744697"/>
                </a:lnTo>
                <a:cubicBezTo>
                  <a:pt x="336960" y="2726115"/>
                  <a:pt x="336960" y="2708387"/>
                  <a:pt x="346251" y="2689805"/>
                </a:cubicBezTo>
                <a:lnTo>
                  <a:pt x="5262207" y="2689805"/>
                </a:lnTo>
                <a:cubicBezTo>
                  <a:pt x="5262207" y="2689805"/>
                  <a:pt x="5262207" y="2689805"/>
                  <a:pt x="5271498" y="2689805"/>
                </a:cubicBezTo>
                <a:cubicBezTo>
                  <a:pt x="5271498" y="2708387"/>
                  <a:pt x="5280789" y="2726124"/>
                  <a:pt x="5280789" y="2735406"/>
                </a:cubicBezTo>
                <a:lnTo>
                  <a:pt x="5280789" y="6511263"/>
                </a:lnTo>
                <a:lnTo>
                  <a:pt x="5280789" y="6511263"/>
                </a:lnTo>
                <a:close/>
              </a:path>
            </a:pathLst>
          </a:custGeom>
          <a:solidFill>
            <a:schemeClr val="bg1"/>
          </a:solidFill>
          <a:ln w="9181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5" name="Forma libre 280">
            <a:extLst>
              <a:ext uri="{FF2B5EF4-FFF2-40B4-BE49-F238E27FC236}">
                <a16:creationId xmlns:a16="http://schemas.microsoft.com/office/drawing/2014/main" xmlns="" id="{D720868B-67F8-F04A-B5CB-72F3C9ABDD8E}"/>
              </a:ext>
            </a:extLst>
          </p:cNvPr>
          <p:cNvSpPr/>
          <p:nvPr/>
        </p:nvSpPr>
        <p:spPr>
          <a:xfrm>
            <a:off x="2002489" y="5944557"/>
            <a:ext cx="237627" cy="355095"/>
          </a:xfrm>
          <a:custGeom>
            <a:avLst/>
            <a:gdLst>
              <a:gd name="connsiteX0" fmla="*/ 4587084 w 4589318"/>
              <a:gd name="connsiteY0" fmla="*/ 2905922 h 6858000"/>
              <a:gd name="connsiteX1" fmla="*/ 4115597 w 4589318"/>
              <a:gd name="connsiteY1" fmla="*/ 2477297 h 6858000"/>
              <a:gd name="connsiteX2" fmla="*/ 3695700 w 4589318"/>
              <a:gd name="connsiteY2" fmla="*/ 2477297 h 6858000"/>
              <a:gd name="connsiteX3" fmla="*/ 3695700 w 4589318"/>
              <a:gd name="connsiteY3" fmla="*/ 1337466 h 6858000"/>
              <a:gd name="connsiteX4" fmla="*/ 2358234 w 4589318"/>
              <a:gd name="connsiteY4" fmla="*/ 0 h 6858000"/>
              <a:gd name="connsiteX5" fmla="*/ 2229647 w 4589318"/>
              <a:gd name="connsiteY5" fmla="*/ 0 h 6858000"/>
              <a:gd name="connsiteX6" fmla="*/ 892181 w 4589318"/>
              <a:gd name="connsiteY6" fmla="*/ 1337466 h 6858000"/>
              <a:gd name="connsiteX7" fmla="*/ 892181 w 4589318"/>
              <a:gd name="connsiteY7" fmla="*/ 2477288 h 6858000"/>
              <a:gd name="connsiteX8" fmla="*/ 403228 w 4589318"/>
              <a:gd name="connsiteY8" fmla="*/ 2477288 h 6858000"/>
              <a:gd name="connsiteX9" fmla="*/ 0 w 4589318"/>
              <a:gd name="connsiteY9" fmla="*/ 2880516 h 6858000"/>
              <a:gd name="connsiteX10" fmla="*/ 0 w 4589318"/>
              <a:gd name="connsiteY10" fmla="*/ 3094828 h 6858000"/>
              <a:gd name="connsiteX11" fmla="*/ 2160590 w 4589318"/>
              <a:gd name="connsiteY11" fmla="*/ 5375269 h 6858000"/>
              <a:gd name="connsiteX12" fmla="*/ 2160590 w 4589318"/>
              <a:gd name="connsiteY12" fmla="*/ 5692772 h 6858000"/>
              <a:gd name="connsiteX13" fmla="*/ 1132687 w 4589318"/>
              <a:gd name="connsiteY13" fmla="*/ 5692772 h 6858000"/>
              <a:gd name="connsiteX14" fmla="*/ 781059 w 4589318"/>
              <a:gd name="connsiteY14" fmla="*/ 6044401 h 6858000"/>
              <a:gd name="connsiteX15" fmla="*/ 781059 w 4589318"/>
              <a:gd name="connsiteY15" fmla="*/ 6507160 h 6858000"/>
              <a:gd name="connsiteX16" fmla="*/ 1132687 w 4589318"/>
              <a:gd name="connsiteY16" fmla="*/ 6858788 h 6858000"/>
              <a:gd name="connsiteX17" fmla="*/ 3490125 w 4589318"/>
              <a:gd name="connsiteY17" fmla="*/ 6858788 h 6858000"/>
              <a:gd name="connsiteX18" fmla="*/ 3841753 w 4589318"/>
              <a:gd name="connsiteY18" fmla="*/ 6507160 h 6858000"/>
              <a:gd name="connsiteX19" fmla="*/ 3841753 w 4589318"/>
              <a:gd name="connsiteY19" fmla="*/ 6053138 h 6858000"/>
              <a:gd name="connsiteX20" fmla="*/ 3490125 w 4589318"/>
              <a:gd name="connsiteY20" fmla="*/ 5701510 h 6858000"/>
              <a:gd name="connsiteX21" fmla="*/ 2469365 w 4589318"/>
              <a:gd name="connsiteY21" fmla="*/ 5701510 h 6858000"/>
              <a:gd name="connsiteX22" fmla="*/ 2469365 w 4589318"/>
              <a:gd name="connsiteY22" fmla="*/ 5376075 h 6858000"/>
              <a:gd name="connsiteX23" fmla="*/ 4595025 w 4589318"/>
              <a:gd name="connsiteY23" fmla="*/ 3104362 h 6858000"/>
              <a:gd name="connsiteX24" fmla="*/ 4595025 w 4589318"/>
              <a:gd name="connsiteY24" fmla="*/ 2924175 h 6858000"/>
              <a:gd name="connsiteX25" fmla="*/ 4587084 w 4589318"/>
              <a:gd name="connsiteY25" fmla="*/ 2905922 h 6858000"/>
              <a:gd name="connsiteX26" fmla="*/ 3515522 w 4589318"/>
              <a:gd name="connsiteY26" fmla="*/ 6052341 h 6858000"/>
              <a:gd name="connsiteX27" fmla="*/ 3515522 w 4589318"/>
              <a:gd name="connsiteY27" fmla="*/ 6506363 h 6858000"/>
              <a:gd name="connsiteX28" fmla="*/ 3481388 w 4589318"/>
              <a:gd name="connsiteY28" fmla="*/ 6540497 h 6858000"/>
              <a:gd name="connsiteX29" fmla="*/ 1123950 w 4589318"/>
              <a:gd name="connsiteY29" fmla="*/ 6540497 h 6858000"/>
              <a:gd name="connsiteX30" fmla="*/ 1089816 w 4589318"/>
              <a:gd name="connsiteY30" fmla="*/ 6506363 h 6858000"/>
              <a:gd name="connsiteX31" fmla="*/ 1089816 w 4589318"/>
              <a:gd name="connsiteY31" fmla="*/ 6052341 h 6858000"/>
              <a:gd name="connsiteX32" fmla="*/ 1123950 w 4589318"/>
              <a:gd name="connsiteY32" fmla="*/ 6018207 h 6858000"/>
              <a:gd name="connsiteX33" fmla="*/ 3481388 w 4589318"/>
              <a:gd name="connsiteY33" fmla="*/ 6018207 h 6858000"/>
              <a:gd name="connsiteX34" fmla="*/ 3515522 w 4589318"/>
              <a:gd name="connsiteY34" fmla="*/ 6052341 h 6858000"/>
              <a:gd name="connsiteX35" fmla="*/ 2220918 w 4589318"/>
              <a:gd name="connsiteY35" fmla="*/ 316706 h 6858000"/>
              <a:gd name="connsiteX36" fmla="*/ 2349506 w 4589318"/>
              <a:gd name="connsiteY36" fmla="*/ 316706 h 6858000"/>
              <a:gd name="connsiteX37" fmla="*/ 3369477 w 4589318"/>
              <a:gd name="connsiteY37" fmla="*/ 1336678 h 6858000"/>
              <a:gd name="connsiteX38" fmla="*/ 3369477 w 4589318"/>
              <a:gd name="connsiteY38" fmla="*/ 2631281 h 6858000"/>
              <a:gd name="connsiteX39" fmla="*/ 3369477 w 4589318"/>
              <a:gd name="connsiteY39" fmla="*/ 3256754 h 6858000"/>
              <a:gd name="connsiteX40" fmla="*/ 2349506 w 4589318"/>
              <a:gd name="connsiteY40" fmla="*/ 4276725 h 6858000"/>
              <a:gd name="connsiteX41" fmla="*/ 2220918 w 4589318"/>
              <a:gd name="connsiteY41" fmla="*/ 4276725 h 6858000"/>
              <a:gd name="connsiteX42" fmla="*/ 1200947 w 4589318"/>
              <a:gd name="connsiteY42" fmla="*/ 3256754 h 6858000"/>
              <a:gd name="connsiteX43" fmla="*/ 1200947 w 4589318"/>
              <a:gd name="connsiteY43" fmla="*/ 2785266 h 6858000"/>
              <a:gd name="connsiteX44" fmla="*/ 2289975 w 4589318"/>
              <a:gd name="connsiteY44" fmla="*/ 2785266 h 6858000"/>
              <a:gd name="connsiteX45" fmla="*/ 2443959 w 4589318"/>
              <a:gd name="connsiteY45" fmla="*/ 2631281 h 6858000"/>
              <a:gd name="connsiteX46" fmla="*/ 2289975 w 4589318"/>
              <a:gd name="connsiteY46" fmla="*/ 2477297 h 6858000"/>
              <a:gd name="connsiteX47" fmla="*/ 1200947 w 4589318"/>
              <a:gd name="connsiteY47" fmla="*/ 2477297 h 6858000"/>
              <a:gd name="connsiteX48" fmla="*/ 1200947 w 4589318"/>
              <a:gd name="connsiteY48" fmla="*/ 2005809 h 6858000"/>
              <a:gd name="connsiteX49" fmla="*/ 2289975 w 4589318"/>
              <a:gd name="connsiteY49" fmla="*/ 2005809 h 6858000"/>
              <a:gd name="connsiteX50" fmla="*/ 2443959 w 4589318"/>
              <a:gd name="connsiteY50" fmla="*/ 1851825 h 6858000"/>
              <a:gd name="connsiteX51" fmla="*/ 2289975 w 4589318"/>
              <a:gd name="connsiteY51" fmla="*/ 1697840 h 6858000"/>
              <a:gd name="connsiteX52" fmla="*/ 1200947 w 4589318"/>
              <a:gd name="connsiteY52" fmla="*/ 1697840 h 6858000"/>
              <a:gd name="connsiteX53" fmla="*/ 1200947 w 4589318"/>
              <a:gd name="connsiteY53" fmla="*/ 1346212 h 6858000"/>
              <a:gd name="connsiteX54" fmla="*/ 1209675 w 4589318"/>
              <a:gd name="connsiteY54" fmla="*/ 1235089 h 6858000"/>
              <a:gd name="connsiteX55" fmla="*/ 2289966 w 4589318"/>
              <a:gd name="connsiteY55" fmla="*/ 1235089 h 6858000"/>
              <a:gd name="connsiteX56" fmla="*/ 2443951 w 4589318"/>
              <a:gd name="connsiteY56" fmla="*/ 1081105 h 6858000"/>
              <a:gd name="connsiteX57" fmla="*/ 2289966 w 4589318"/>
              <a:gd name="connsiteY57" fmla="*/ 927120 h 6858000"/>
              <a:gd name="connsiteX58" fmla="*/ 1295409 w 4589318"/>
              <a:gd name="connsiteY58" fmla="*/ 927120 h 6858000"/>
              <a:gd name="connsiteX59" fmla="*/ 2220918 w 4589318"/>
              <a:gd name="connsiteY59" fmla="*/ 316706 h 6858000"/>
              <a:gd name="connsiteX60" fmla="*/ 4269590 w 4589318"/>
              <a:gd name="connsiteY60" fmla="*/ 3094828 h 6858000"/>
              <a:gd name="connsiteX61" fmla="*/ 2306643 w 4589318"/>
              <a:gd name="connsiteY61" fmla="*/ 5057775 h 6858000"/>
              <a:gd name="connsiteX62" fmla="*/ 2272509 w 4589318"/>
              <a:gd name="connsiteY62" fmla="*/ 5057775 h 6858000"/>
              <a:gd name="connsiteX63" fmla="*/ 309563 w 4589318"/>
              <a:gd name="connsiteY63" fmla="*/ 3094828 h 6858000"/>
              <a:gd name="connsiteX64" fmla="*/ 309563 w 4589318"/>
              <a:gd name="connsiteY64" fmla="*/ 2880516 h 6858000"/>
              <a:gd name="connsiteX65" fmla="*/ 395287 w 4589318"/>
              <a:gd name="connsiteY65" fmla="*/ 2794791 h 6858000"/>
              <a:gd name="connsiteX66" fmla="*/ 884240 w 4589318"/>
              <a:gd name="connsiteY66" fmla="*/ 2794791 h 6858000"/>
              <a:gd name="connsiteX67" fmla="*/ 884240 w 4589318"/>
              <a:gd name="connsiteY67" fmla="*/ 3266279 h 6858000"/>
              <a:gd name="connsiteX68" fmla="*/ 2221706 w 4589318"/>
              <a:gd name="connsiteY68" fmla="*/ 4603745 h 6858000"/>
              <a:gd name="connsiteX69" fmla="*/ 2350294 w 4589318"/>
              <a:gd name="connsiteY69" fmla="*/ 4603745 h 6858000"/>
              <a:gd name="connsiteX70" fmla="*/ 3687760 w 4589318"/>
              <a:gd name="connsiteY70" fmla="*/ 3266279 h 6858000"/>
              <a:gd name="connsiteX71" fmla="*/ 3687760 w 4589318"/>
              <a:gd name="connsiteY71" fmla="*/ 2794791 h 6858000"/>
              <a:gd name="connsiteX72" fmla="*/ 4116385 w 4589318"/>
              <a:gd name="connsiteY72" fmla="*/ 2794791 h 6858000"/>
              <a:gd name="connsiteX73" fmla="*/ 4270370 w 4589318"/>
              <a:gd name="connsiteY73" fmla="*/ 2914650 h 6858000"/>
              <a:gd name="connsiteX74" fmla="*/ 4270370 w 4589318"/>
              <a:gd name="connsiteY74" fmla="*/ 3094828 h 6858000"/>
              <a:gd name="connsiteX75" fmla="*/ 4269590 w 4589318"/>
              <a:gd name="connsiteY75" fmla="*/ 30948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4589318" h="6858000">
                <a:moveTo>
                  <a:pt x="4587084" y="2905922"/>
                </a:moveTo>
                <a:cubicBezTo>
                  <a:pt x="4578356" y="2700338"/>
                  <a:pt x="4441031" y="2477297"/>
                  <a:pt x="4115597" y="2477297"/>
                </a:cubicBezTo>
                <a:lnTo>
                  <a:pt x="3695700" y="2477297"/>
                </a:lnTo>
                <a:lnTo>
                  <a:pt x="3695700" y="1337466"/>
                </a:lnTo>
                <a:cubicBezTo>
                  <a:pt x="3695709" y="600075"/>
                  <a:pt x="3095634" y="0"/>
                  <a:pt x="2358234" y="0"/>
                </a:cubicBezTo>
                <a:lnTo>
                  <a:pt x="2229647" y="0"/>
                </a:lnTo>
                <a:cubicBezTo>
                  <a:pt x="1492256" y="0"/>
                  <a:pt x="892181" y="600075"/>
                  <a:pt x="892181" y="1337466"/>
                </a:cubicBezTo>
                <a:lnTo>
                  <a:pt x="892181" y="2477288"/>
                </a:lnTo>
                <a:lnTo>
                  <a:pt x="403228" y="2477288"/>
                </a:lnTo>
                <a:cubicBezTo>
                  <a:pt x="128587" y="2477288"/>
                  <a:pt x="0" y="2682872"/>
                  <a:pt x="0" y="2880516"/>
                </a:cubicBezTo>
                <a:lnTo>
                  <a:pt x="0" y="3094828"/>
                </a:lnTo>
                <a:cubicBezTo>
                  <a:pt x="0" y="4312444"/>
                  <a:pt x="960440" y="5306213"/>
                  <a:pt x="2160590" y="5375269"/>
                </a:cubicBezTo>
                <a:lnTo>
                  <a:pt x="2160590" y="5692772"/>
                </a:lnTo>
                <a:lnTo>
                  <a:pt x="1132687" y="5692772"/>
                </a:lnTo>
                <a:cubicBezTo>
                  <a:pt x="935840" y="5692772"/>
                  <a:pt x="781059" y="5846757"/>
                  <a:pt x="781059" y="6044401"/>
                </a:cubicBezTo>
                <a:lnTo>
                  <a:pt x="781059" y="6507160"/>
                </a:lnTo>
                <a:cubicBezTo>
                  <a:pt x="781059" y="6704007"/>
                  <a:pt x="935043" y="6858788"/>
                  <a:pt x="1132687" y="6858788"/>
                </a:cubicBezTo>
                <a:lnTo>
                  <a:pt x="3490125" y="6858788"/>
                </a:lnTo>
                <a:cubicBezTo>
                  <a:pt x="3686972" y="6858788"/>
                  <a:pt x="3841753" y="6704803"/>
                  <a:pt x="3841753" y="6507160"/>
                </a:cubicBezTo>
                <a:lnTo>
                  <a:pt x="3841753" y="6053138"/>
                </a:lnTo>
                <a:cubicBezTo>
                  <a:pt x="3841753" y="5856291"/>
                  <a:pt x="3679031" y="5701510"/>
                  <a:pt x="3490125" y="5701510"/>
                </a:cubicBezTo>
                <a:lnTo>
                  <a:pt x="2469365" y="5701510"/>
                </a:lnTo>
                <a:lnTo>
                  <a:pt x="2469365" y="5376075"/>
                </a:lnTo>
                <a:cubicBezTo>
                  <a:pt x="3652049" y="5299078"/>
                  <a:pt x="4595025" y="4304512"/>
                  <a:pt x="4595025" y="3104362"/>
                </a:cubicBezTo>
                <a:lnTo>
                  <a:pt x="4595025" y="2924175"/>
                </a:lnTo>
                <a:cubicBezTo>
                  <a:pt x="4587084" y="2914650"/>
                  <a:pt x="4587084" y="2905922"/>
                  <a:pt x="4587084" y="2905922"/>
                </a:cubicBezTo>
                <a:close/>
                <a:moveTo>
                  <a:pt x="3515522" y="6052341"/>
                </a:moveTo>
                <a:lnTo>
                  <a:pt x="3515522" y="6506363"/>
                </a:lnTo>
                <a:cubicBezTo>
                  <a:pt x="3515522" y="6523829"/>
                  <a:pt x="3498056" y="6540497"/>
                  <a:pt x="3481388" y="6540497"/>
                </a:cubicBezTo>
                <a:lnTo>
                  <a:pt x="1123950" y="6540497"/>
                </a:lnTo>
                <a:cubicBezTo>
                  <a:pt x="1106485" y="6540497"/>
                  <a:pt x="1089816" y="6523032"/>
                  <a:pt x="1089816" y="6506363"/>
                </a:cubicBezTo>
                <a:lnTo>
                  <a:pt x="1089816" y="6052341"/>
                </a:lnTo>
                <a:cubicBezTo>
                  <a:pt x="1089816" y="6034876"/>
                  <a:pt x="1107281" y="6018207"/>
                  <a:pt x="1123950" y="6018207"/>
                </a:cubicBezTo>
                <a:lnTo>
                  <a:pt x="3481388" y="6018207"/>
                </a:lnTo>
                <a:cubicBezTo>
                  <a:pt x="3498065" y="6017419"/>
                  <a:pt x="3515522" y="6026147"/>
                  <a:pt x="3515522" y="6052341"/>
                </a:cubicBezTo>
                <a:close/>
                <a:moveTo>
                  <a:pt x="2220918" y="316706"/>
                </a:moveTo>
                <a:lnTo>
                  <a:pt x="2349506" y="316706"/>
                </a:lnTo>
                <a:cubicBezTo>
                  <a:pt x="2915447" y="316706"/>
                  <a:pt x="3369477" y="779465"/>
                  <a:pt x="3369477" y="1336678"/>
                </a:cubicBezTo>
                <a:lnTo>
                  <a:pt x="3369477" y="2631281"/>
                </a:lnTo>
                <a:lnTo>
                  <a:pt x="3369477" y="3256754"/>
                </a:lnTo>
                <a:cubicBezTo>
                  <a:pt x="3369477" y="3822694"/>
                  <a:pt x="2906718" y="4276725"/>
                  <a:pt x="2349506" y="4276725"/>
                </a:cubicBezTo>
                <a:lnTo>
                  <a:pt x="2220918" y="4276725"/>
                </a:lnTo>
                <a:cubicBezTo>
                  <a:pt x="1654978" y="4276725"/>
                  <a:pt x="1200947" y="3813966"/>
                  <a:pt x="1200947" y="3256754"/>
                </a:cubicBezTo>
                <a:lnTo>
                  <a:pt x="1200947" y="2785266"/>
                </a:lnTo>
                <a:lnTo>
                  <a:pt x="2289975" y="2785266"/>
                </a:lnTo>
                <a:cubicBezTo>
                  <a:pt x="2375700" y="2785266"/>
                  <a:pt x="2443959" y="2717006"/>
                  <a:pt x="2443959" y="2631281"/>
                </a:cubicBezTo>
                <a:cubicBezTo>
                  <a:pt x="2443959" y="2545556"/>
                  <a:pt x="2375700" y="2477297"/>
                  <a:pt x="2289975" y="2477297"/>
                </a:cubicBezTo>
                <a:lnTo>
                  <a:pt x="1200947" y="2477297"/>
                </a:lnTo>
                <a:lnTo>
                  <a:pt x="1200947" y="2005809"/>
                </a:lnTo>
                <a:lnTo>
                  <a:pt x="2289975" y="2005809"/>
                </a:lnTo>
                <a:cubicBezTo>
                  <a:pt x="2375700" y="2005809"/>
                  <a:pt x="2443959" y="1937550"/>
                  <a:pt x="2443959" y="1851825"/>
                </a:cubicBezTo>
                <a:cubicBezTo>
                  <a:pt x="2443959" y="1766100"/>
                  <a:pt x="2375700" y="1697840"/>
                  <a:pt x="2289975" y="1697840"/>
                </a:cubicBezTo>
                <a:lnTo>
                  <a:pt x="1200947" y="1697840"/>
                </a:lnTo>
                <a:lnTo>
                  <a:pt x="1200947" y="1346212"/>
                </a:lnTo>
                <a:cubicBezTo>
                  <a:pt x="1200947" y="1303349"/>
                  <a:pt x="1200947" y="1269215"/>
                  <a:pt x="1209675" y="1235089"/>
                </a:cubicBezTo>
                <a:lnTo>
                  <a:pt x="2289966" y="1235089"/>
                </a:lnTo>
                <a:cubicBezTo>
                  <a:pt x="2375691" y="1235089"/>
                  <a:pt x="2443951" y="1166830"/>
                  <a:pt x="2443951" y="1081105"/>
                </a:cubicBezTo>
                <a:cubicBezTo>
                  <a:pt x="2443951" y="995380"/>
                  <a:pt x="2375691" y="927120"/>
                  <a:pt x="2289966" y="927120"/>
                </a:cubicBezTo>
                <a:lnTo>
                  <a:pt x="1295409" y="927120"/>
                </a:lnTo>
                <a:cubicBezTo>
                  <a:pt x="1458122" y="557213"/>
                  <a:pt x="1818487" y="316706"/>
                  <a:pt x="2220918" y="316706"/>
                </a:cubicBezTo>
                <a:close/>
                <a:moveTo>
                  <a:pt x="4269590" y="3094828"/>
                </a:moveTo>
                <a:cubicBezTo>
                  <a:pt x="4269590" y="4175119"/>
                  <a:pt x="3386943" y="5057775"/>
                  <a:pt x="2306643" y="5057775"/>
                </a:cubicBezTo>
                <a:lnTo>
                  <a:pt x="2272509" y="5057775"/>
                </a:lnTo>
                <a:cubicBezTo>
                  <a:pt x="1192218" y="5057775"/>
                  <a:pt x="309563" y="4175128"/>
                  <a:pt x="309563" y="3094828"/>
                </a:cubicBezTo>
                <a:lnTo>
                  <a:pt x="309563" y="2880516"/>
                </a:lnTo>
                <a:cubicBezTo>
                  <a:pt x="309563" y="2794791"/>
                  <a:pt x="361153" y="2794791"/>
                  <a:pt x="395287" y="2794791"/>
                </a:cubicBezTo>
                <a:lnTo>
                  <a:pt x="884240" y="2794791"/>
                </a:lnTo>
                <a:lnTo>
                  <a:pt x="884240" y="3266279"/>
                </a:lnTo>
                <a:cubicBezTo>
                  <a:pt x="884240" y="4003669"/>
                  <a:pt x="1484315" y="4603745"/>
                  <a:pt x="2221706" y="4603745"/>
                </a:cubicBezTo>
                <a:lnTo>
                  <a:pt x="2350294" y="4603745"/>
                </a:lnTo>
                <a:cubicBezTo>
                  <a:pt x="3087685" y="4603745"/>
                  <a:pt x="3687760" y="4003669"/>
                  <a:pt x="3687760" y="3266279"/>
                </a:cubicBezTo>
                <a:lnTo>
                  <a:pt x="3687760" y="2794791"/>
                </a:lnTo>
                <a:lnTo>
                  <a:pt x="4116385" y="2794791"/>
                </a:lnTo>
                <a:cubicBezTo>
                  <a:pt x="4219575" y="2794791"/>
                  <a:pt x="4262438" y="2828925"/>
                  <a:pt x="4270370" y="2914650"/>
                </a:cubicBezTo>
                <a:lnTo>
                  <a:pt x="4270370" y="3094828"/>
                </a:lnTo>
                <a:lnTo>
                  <a:pt x="4269590" y="3094828"/>
                </a:ln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6" name="Forma libre 282">
            <a:extLst>
              <a:ext uri="{FF2B5EF4-FFF2-40B4-BE49-F238E27FC236}">
                <a16:creationId xmlns:a16="http://schemas.microsoft.com/office/drawing/2014/main" xmlns="" id="{5E5F4884-64C8-B641-80F5-6CD2B5152EBF}"/>
              </a:ext>
            </a:extLst>
          </p:cNvPr>
          <p:cNvSpPr/>
          <p:nvPr/>
        </p:nvSpPr>
        <p:spPr>
          <a:xfrm>
            <a:off x="485989" y="1450303"/>
            <a:ext cx="301338" cy="265335"/>
          </a:xfrm>
          <a:custGeom>
            <a:avLst/>
            <a:gdLst>
              <a:gd name="connsiteX0" fmla="*/ 1519333 w 5819775"/>
              <a:gd name="connsiteY0" fmla="*/ 2119065 h 5124450"/>
              <a:gd name="connsiteX1" fmla="*/ 2175339 w 5819775"/>
              <a:gd name="connsiteY1" fmla="*/ 1463059 h 5124450"/>
              <a:gd name="connsiteX2" fmla="*/ 1519333 w 5819775"/>
              <a:gd name="connsiteY2" fmla="*/ 807053 h 5124450"/>
              <a:gd name="connsiteX3" fmla="*/ 863327 w 5819775"/>
              <a:gd name="connsiteY3" fmla="*/ 1463059 h 5124450"/>
              <a:gd name="connsiteX4" fmla="*/ 1519333 w 5819775"/>
              <a:gd name="connsiteY4" fmla="*/ 2119065 h 5124450"/>
              <a:gd name="connsiteX5" fmla="*/ 1519333 w 5819775"/>
              <a:gd name="connsiteY5" fmla="*/ 1103214 h 5124450"/>
              <a:gd name="connsiteX6" fmla="*/ 1879178 w 5819775"/>
              <a:gd name="connsiteY6" fmla="*/ 1463059 h 5124450"/>
              <a:gd name="connsiteX7" fmla="*/ 1519333 w 5819775"/>
              <a:gd name="connsiteY7" fmla="*/ 1822904 h 5124450"/>
              <a:gd name="connsiteX8" fmla="*/ 1159488 w 5819775"/>
              <a:gd name="connsiteY8" fmla="*/ 1463059 h 5124450"/>
              <a:gd name="connsiteX9" fmla="*/ 1519333 w 5819775"/>
              <a:gd name="connsiteY9" fmla="*/ 1103214 h 5124450"/>
              <a:gd name="connsiteX10" fmla="*/ 5437623 w 5819775"/>
              <a:gd name="connsiteY10" fmla="*/ 0 h 5124450"/>
              <a:gd name="connsiteX11" fmla="*/ 383534 w 5819775"/>
              <a:gd name="connsiteY11" fmla="*/ 0 h 5124450"/>
              <a:gd name="connsiteX12" fmla="*/ 0 w 5819775"/>
              <a:gd name="connsiteY12" fmla="*/ 383534 h 5124450"/>
              <a:gd name="connsiteX13" fmla="*/ 0 w 5819775"/>
              <a:gd name="connsiteY13" fmla="*/ 4741621 h 5124450"/>
              <a:gd name="connsiteX14" fmla="*/ 383534 w 5819775"/>
              <a:gd name="connsiteY14" fmla="*/ 5125155 h 5124450"/>
              <a:gd name="connsiteX15" fmla="*/ 5445024 w 5819775"/>
              <a:gd name="connsiteY15" fmla="*/ 5125155 h 5124450"/>
              <a:gd name="connsiteX16" fmla="*/ 5828557 w 5819775"/>
              <a:gd name="connsiteY16" fmla="*/ 4741621 h 5124450"/>
              <a:gd name="connsiteX17" fmla="*/ 5828557 w 5819775"/>
              <a:gd name="connsiteY17" fmla="*/ 383534 h 5124450"/>
              <a:gd name="connsiteX18" fmla="*/ 5437623 w 5819775"/>
              <a:gd name="connsiteY18" fmla="*/ 0 h 5124450"/>
              <a:gd name="connsiteX19" fmla="*/ 5525729 w 5819775"/>
              <a:gd name="connsiteY19" fmla="*/ 4141889 h 5124450"/>
              <a:gd name="connsiteX20" fmla="*/ 1151344 w 5819775"/>
              <a:gd name="connsiteY20" fmla="*/ 4141889 h 5124450"/>
              <a:gd name="connsiteX21" fmla="*/ 2062801 w 5819775"/>
              <a:gd name="connsiteY21" fmla="*/ 2926128 h 5124450"/>
              <a:gd name="connsiteX22" fmla="*/ 2638844 w 5819775"/>
              <a:gd name="connsiteY22" fmla="*/ 3462185 h 5124450"/>
              <a:gd name="connsiteX23" fmla="*/ 2758792 w 5819775"/>
              <a:gd name="connsiteY23" fmla="*/ 3502171 h 5124450"/>
              <a:gd name="connsiteX24" fmla="*/ 2862453 w 5819775"/>
              <a:gd name="connsiteY24" fmla="*/ 3438496 h 5124450"/>
              <a:gd name="connsiteX25" fmla="*/ 4318111 w 5819775"/>
              <a:gd name="connsiteY25" fmla="*/ 1367552 h 5124450"/>
              <a:gd name="connsiteX26" fmla="*/ 5525729 w 5819775"/>
              <a:gd name="connsiteY26" fmla="*/ 2718816 h 5124450"/>
              <a:gd name="connsiteX27" fmla="*/ 5525729 w 5819775"/>
              <a:gd name="connsiteY27" fmla="*/ 4141889 h 5124450"/>
              <a:gd name="connsiteX28" fmla="*/ 5525729 w 5819775"/>
              <a:gd name="connsiteY28" fmla="*/ 4141889 h 5124450"/>
              <a:gd name="connsiteX29" fmla="*/ 383534 w 5819775"/>
              <a:gd name="connsiteY29" fmla="*/ 295427 h 5124450"/>
              <a:gd name="connsiteX30" fmla="*/ 5445024 w 5819775"/>
              <a:gd name="connsiteY30" fmla="*/ 295427 h 5124450"/>
              <a:gd name="connsiteX31" fmla="*/ 5533130 w 5819775"/>
              <a:gd name="connsiteY31" fmla="*/ 383534 h 5124450"/>
              <a:gd name="connsiteX32" fmla="*/ 5533130 w 5819775"/>
              <a:gd name="connsiteY32" fmla="*/ 2262712 h 5124450"/>
              <a:gd name="connsiteX33" fmla="*/ 4421772 w 5819775"/>
              <a:gd name="connsiteY33" fmla="*/ 1023252 h 5124450"/>
              <a:gd name="connsiteX34" fmla="*/ 4301824 w 5819775"/>
              <a:gd name="connsiteY34" fmla="*/ 975122 h 5124450"/>
              <a:gd name="connsiteX35" fmla="*/ 4190019 w 5819775"/>
              <a:gd name="connsiteY35" fmla="*/ 1038796 h 5124450"/>
              <a:gd name="connsiteX36" fmla="*/ 2718807 w 5819775"/>
              <a:gd name="connsiteY36" fmla="*/ 3126038 h 5124450"/>
              <a:gd name="connsiteX37" fmla="*/ 2142763 w 5819775"/>
              <a:gd name="connsiteY37" fmla="*/ 2598858 h 5124450"/>
              <a:gd name="connsiteX38" fmla="*/ 2030959 w 5819775"/>
              <a:gd name="connsiteY38" fmla="*/ 2558872 h 5124450"/>
              <a:gd name="connsiteX39" fmla="*/ 1927298 w 5819775"/>
              <a:gd name="connsiteY39" fmla="*/ 2615146 h 5124450"/>
              <a:gd name="connsiteX40" fmla="*/ 783365 w 5819775"/>
              <a:gd name="connsiteY40" fmla="*/ 4133745 h 5124450"/>
              <a:gd name="connsiteX41" fmla="*/ 295427 w 5819775"/>
              <a:gd name="connsiteY41" fmla="*/ 4133745 h 5124450"/>
              <a:gd name="connsiteX42" fmla="*/ 295427 w 5819775"/>
              <a:gd name="connsiteY42" fmla="*/ 375390 h 5124450"/>
              <a:gd name="connsiteX43" fmla="*/ 383534 w 5819775"/>
              <a:gd name="connsiteY43" fmla="*/ 295427 h 5124450"/>
              <a:gd name="connsiteX44" fmla="*/ 5437623 w 5819775"/>
              <a:gd name="connsiteY44" fmla="*/ 4829737 h 5124450"/>
              <a:gd name="connsiteX45" fmla="*/ 383534 w 5819775"/>
              <a:gd name="connsiteY45" fmla="*/ 4829737 h 5124450"/>
              <a:gd name="connsiteX46" fmla="*/ 295427 w 5819775"/>
              <a:gd name="connsiteY46" fmla="*/ 4741631 h 5124450"/>
              <a:gd name="connsiteX47" fmla="*/ 295427 w 5819775"/>
              <a:gd name="connsiteY47" fmla="*/ 4438060 h 5124450"/>
              <a:gd name="connsiteX48" fmla="*/ 5524986 w 5819775"/>
              <a:gd name="connsiteY48" fmla="*/ 4438060 h 5124450"/>
              <a:gd name="connsiteX49" fmla="*/ 5524986 w 5819775"/>
              <a:gd name="connsiteY49" fmla="*/ 4741631 h 5124450"/>
              <a:gd name="connsiteX50" fmla="*/ 5437623 w 5819775"/>
              <a:gd name="connsiteY50" fmla="*/ 4829737 h 512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819775" h="5124450">
                <a:moveTo>
                  <a:pt x="1519333" y="2119065"/>
                </a:moveTo>
                <a:cubicBezTo>
                  <a:pt x="1879178" y="2119065"/>
                  <a:pt x="2175339" y="1822895"/>
                  <a:pt x="2175339" y="1463059"/>
                </a:cubicBezTo>
                <a:cubicBezTo>
                  <a:pt x="2175339" y="1103224"/>
                  <a:pt x="1879168" y="807053"/>
                  <a:pt x="1519333" y="807053"/>
                </a:cubicBezTo>
                <a:cubicBezTo>
                  <a:pt x="1159497" y="807053"/>
                  <a:pt x="863327" y="1103224"/>
                  <a:pt x="863327" y="1463059"/>
                </a:cubicBezTo>
                <a:cubicBezTo>
                  <a:pt x="871471" y="1822904"/>
                  <a:pt x="1159488" y="2119065"/>
                  <a:pt x="1519333" y="2119065"/>
                </a:cubicBezTo>
                <a:close/>
                <a:moveTo>
                  <a:pt x="1519333" y="1103214"/>
                </a:moveTo>
                <a:cubicBezTo>
                  <a:pt x="1719244" y="1103214"/>
                  <a:pt x="1879178" y="1263148"/>
                  <a:pt x="1879178" y="1463059"/>
                </a:cubicBezTo>
                <a:cubicBezTo>
                  <a:pt x="1879178" y="1662970"/>
                  <a:pt x="1719244" y="1822904"/>
                  <a:pt x="1519333" y="1822904"/>
                </a:cubicBezTo>
                <a:cubicBezTo>
                  <a:pt x="1319422" y="1822904"/>
                  <a:pt x="1159488" y="1662970"/>
                  <a:pt x="1159488" y="1463059"/>
                </a:cubicBezTo>
                <a:cubicBezTo>
                  <a:pt x="1167641" y="1263148"/>
                  <a:pt x="1327566" y="1103214"/>
                  <a:pt x="1519333" y="1103214"/>
                </a:cubicBezTo>
                <a:close/>
                <a:moveTo>
                  <a:pt x="5437623" y="0"/>
                </a:moveTo>
                <a:lnTo>
                  <a:pt x="383534" y="0"/>
                </a:lnTo>
                <a:cubicBezTo>
                  <a:pt x="175479" y="0"/>
                  <a:pt x="0" y="168069"/>
                  <a:pt x="0" y="383534"/>
                </a:cubicBezTo>
                <a:lnTo>
                  <a:pt x="0" y="4741621"/>
                </a:lnTo>
                <a:cubicBezTo>
                  <a:pt x="0" y="4949676"/>
                  <a:pt x="168078" y="5125155"/>
                  <a:pt x="383534" y="5125155"/>
                </a:cubicBezTo>
                <a:lnTo>
                  <a:pt x="5445024" y="5125155"/>
                </a:lnTo>
                <a:cubicBezTo>
                  <a:pt x="5653078" y="5125155"/>
                  <a:pt x="5828557" y="4957077"/>
                  <a:pt x="5828557" y="4741621"/>
                </a:cubicBezTo>
                <a:lnTo>
                  <a:pt x="5828557" y="383534"/>
                </a:lnTo>
                <a:cubicBezTo>
                  <a:pt x="5821157" y="175479"/>
                  <a:pt x="5653078" y="0"/>
                  <a:pt x="5437623" y="0"/>
                </a:cubicBezTo>
                <a:close/>
                <a:moveTo>
                  <a:pt x="5525729" y="4141889"/>
                </a:moveTo>
                <a:lnTo>
                  <a:pt x="1151344" y="4141889"/>
                </a:lnTo>
                <a:lnTo>
                  <a:pt x="2062801" y="2926128"/>
                </a:lnTo>
                <a:lnTo>
                  <a:pt x="2638844" y="3462185"/>
                </a:lnTo>
                <a:cubicBezTo>
                  <a:pt x="2670686" y="3494027"/>
                  <a:pt x="2710663" y="3502171"/>
                  <a:pt x="2758792" y="3502171"/>
                </a:cubicBezTo>
                <a:cubicBezTo>
                  <a:pt x="2798778" y="3494027"/>
                  <a:pt x="2838755" y="3478482"/>
                  <a:pt x="2862453" y="3438496"/>
                </a:cubicBezTo>
                <a:lnTo>
                  <a:pt x="4318111" y="1367552"/>
                </a:lnTo>
                <a:lnTo>
                  <a:pt x="5525729" y="2718816"/>
                </a:lnTo>
                <a:lnTo>
                  <a:pt x="5525729" y="4141889"/>
                </a:lnTo>
                <a:lnTo>
                  <a:pt x="5525729" y="4141889"/>
                </a:lnTo>
                <a:close/>
                <a:moveTo>
                  <a:pt x="383534" y="295427"/>
                </a:moveTo>
                <a:lnTo>
                  <a:pt x="5445024" y="295427"/>
                </a:lnTo>
                <a:cubicBezTo>
                  <a:pt x="5493153" y="295427"/>
                  <a:pt x="5533130" y="335413"/>
                  <a:pt x="5533130" y="383534"/>
                </a:cubicBezTo>
                <a:lnTo>
                  <a:pt x="5533130" y="2262712"/>
                </a:lnTo>
                <a:lnTo>
                  <a:pt x="4421772" y="1023252"/>
                </a:lnTo>
                <a:cubicBezTo>
                  <a:pt x="4389930" y="991410"/>
                  <a:pt x="4349953" y="975122"/>
                  <a:pt x="4301824" y="975122"/>
                </a:cubicBezTo>
                <a:cubicBezTo>
                  <a:pt x="4253694" y="975122"/>
                  <a:pt x="4213717" y="998820"/>
                  <a:pt x="4190019" y="1038796"/>
                </a:cubicBezTo>
                <a:lnTo>
                  <a:pt x="2718807" y="3126038"/>
                </a:lnTo>
                <a:lnTo>
                  <a:pt x="2142763" y="2598858"/>
                </a:lnTo>
                <a:cubicBezTo>
                  <a:pt x="2110921" y="2567016"/>
                  <a:pt x="2070945" y="2558872"/>
                  <a:pt x="2030959" y="2558872"/>
                </a:cubicBezTo>
                <a:cubicBezTo>
                  <a:pt x="1990973" y="2558872"/>
                  <a:pt x="1950996" y="2582561"/>
                  <a:pt x="1927298" y="2615146"/>
                </a:cubicBezTo>
                <a:lnTo>
                  <a:pt x="783365" y="4133745"/>
                </a:lnTo>
                <a:lnTo>
                  <a:pt x="295427" y="4133745"/>
                </a:lnTo>
                <a:lnTo>
                  <a:pt x="295427" y="375390"/>
                </a:lnTo>
                <a:cubicBezTo>
                  <a:pt x="295427" y="335404"/>
                  <a:pt x="335413" y="295427"/>
                  <a:pt x="383534" y="295427"/>
                </a:cubicBezTo>
                <a:close/>
                <a:moveTo>
                  <a:pt x="5437623" y="4829737"/>
                </a:moveTo>
                <a:lnTo>
                  <a:pt x="383534" y="4829737"/>
                </a:lnTo>
                <a:cubicBezTo>
                  <a:pt x="335404" y="4829737"/>
                  <a:pt x="295427" y="4789751"/>
                  <a:pt x="295427" y="4741631"/>
                </a:cubicBezTo>
                <a:lnTo>
                  <a:pt x="295427" y="4438060"/>
                </a:lnTo>
                <a:lnTo>
                  <a:pt x="5524986" y="4438060"/>
                </a:lnTo>
                <a:lnTo>
                  <a:pt x="5524986" y="4741631"/>
                </a:lnTo>
                <a:cubicBezTo>
                  <a:pt x="5525729" y="4789751"/>
                  <a:pt x="5485743" y="4829737"/>
                  <a:pt x="5437623" y="482973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7" name="Forma libre 284">
            <a:extLst>
              <a:ext uri="{FF2B5EF4-FFF2-40B4-BE49-F238E27FC236}">
                <a16:creationId xmlns:a16="http://schemas.microsoft.com/office/drawing/2014/main" xmlns="" id="{046FFBE9-0172-CE4C-8BE9-494E79038EEE}"/>
              </a:ext>
            </a:extLst>
          </p:cNvPr>
          <p:cNvSpPr/>
          <p:nvPr/>
        </p:nvSpPr>
        <p:spPr>
          <a:xfrm>
            <a:off x="7210867" y="1424734"/>
            <a:ext cx="301831" cy="267801"/>
          </a:xfrm>
          <a:custGeom>
            <a:avLst/>
            <a:gdLst>
              <a:gd name="connsiteX0" fmla="*/ 5829300 w 5829300"/>
              <a:gd name="connsiteY0" fmla="*/ 772792 h 5172075"/>
              <a:gd name="connsiteX1" fmla="*/ 5821804 w 5829300"/>
              <a:gd name="connsiteY1" fmla="*/ 743493 h 5172075"/>
              <a:gd name="connsiteX2" fmla="*/ 5821804 w 5829300"/>
              <a:gd name="connsiteY2" fmla="*/ 360502 h 5172075"/>
              <a:gd name="connsiteX3" fmla="*/ 5461302 w 5829300"/>
              <a:gd name="connsiteY3" fmla="*/ 0 h 5172075"/>
              <a:gd name="connsiteX4" fmla="*/ 360502 w 5829300"/>
              <a:gd name="connsiteY4" fmla="*/ 0 h 5172075"/>
              <a:gd name="connsiteX5" fmla="*/ 0 w 5829300"/>
              <a:gd name="connsiteY5" fmla="*/ 360502 h 5172075"/>
              <a:gd name="connsiteX6" fmla="*/ 0 w 5829300"/>
              <a:gd name="connsiteY6" fmla="*/ 4135851 h 5172075"/>
              <a:gd name="connsiteX7" fmla="*/ 360502 w 5829300"/>
              <a:gd name="connsiteY7" fmla="*/ 4496353 h 5172075"/>
              <a:gd name="connsiteX8" fmla="*/ 1965369 w 5829300"/>
              <a:gd name="connsiteY8" fmla="*/ 4496353 h 5172075"/>
              <a:gd name="connsiteX9" fmla="*/ 1965369 w 5829300"/>
              <a:gd name="connsiteY9" fmla="*/ 5048346 h 5172075"/>
              <a:gd name="connsiteX10" fmla="*/ 2097577 w 5829300"/>
              <a:gd name="connsiteY10" fmla="*/ 5180553 h 5172075"/>
              <a:gd name="connsiteX11" fmla="*/ 3731743 w 5829300"/>
              <a:gd name="connsiteY11" fmla="*/ 5180553 h 5172075"/>
              <a:gd name="connsiteX12" fmla="*/ 3863950 w 5829300"/>
              <a:gd name="connsiteY12" fmla="*/ 5048346 h 5172075"/>
              <a:gd name="connsiteX13" fmla="*/ 3863950 w 5829300"/>
              <a:gd name="connsiteY13" fmla="*/ 4496353 h 5172075"/>
              <a:gd name="connsiteX14" fmla="*/ 5453825 w 5829300"/>
              <a:gd name="connsiteY14" fmla="*/ 4496353 h 5172075"/>
              <a:gd name="connsiteX15" fmla="*/ 5814327 w 5829300"/>
              <a:gd name="connsiteY15" fmla="*/ 4135851 h 5172075"/>
              <a:gd name="connsiteX16" fmla="*/ 5814327 w 5829300"/>
              <a:gd name="connsiteY16" fmla="*/ 3731057 h 5172075"/>
              <a:gd name="connsiteX17" fmla="*/ 5821823 w 5829300"/>
              <a:gd name="connsiteY17" fmla="*/ 3701758 h 5172075"/>
              <a:gd name="connsiteX18" fmla="*/ 5821823 w 5829300"/>
              <a:gd name="connsiteY18" fmla="*/ 772792 h 5172075"/>
              <a:gd name="connsiteX19" fmla="*/ 5829300 w 5829300"/>
              <a:gd name="connsiteY19" fmla="*/ 772792 h 5172075"/>
              <a:gd name="connsiteX20" fmla="*/ 5549217 w 5829300"/>
              <a:gd name="connsiteY20" fmla="*/ 3569551 h 5172075"/>
              <a:gd name="connsiteX21" fmla="*/ 286903 w 5829300"/>
              <a:gd name="connsiteY21" fmla="*/ 3569551 h 5172075"/>
              <a:gd name="connsiteX22" fmla="*/ 286903 w 5829300"/>
              <a:gd name="connsiteY22" fmla="*/ 904999 h 5172075"/>
              <a:gd name="connsiteX23" fmla="*/ 5556714 w 5829300"/>
              <a:gd name="connsiteY23" fmla="*/ 904999 h 5172075"/>
              <a:gd name="connsiteX24" fmla="*/ 5556714 w 5829300"/>
              <a:gd name="connsiteY24" fmla="*/ 3569551 h 5172075"/>
              <a:gd name="connsiteX25" fmla="*/ 5549217 w 5829300"/>
              <a:gd name="connsiteY25" fmla="*/ 3569551 h 5172075"/>
              <a:gd name="connsiteX26" fmla="*/ 360502 w 5829300"/>
              <a:gd name="connsiteY26" fmla="*/ 272596 h 5172075"/>
              <a:gd name="connsiteX27" fmla="*/ 5468122 w 5829300"/>
              <a:gd name="connsiteY27" fmla="*/ 272596 h 5172075"/>
              <a:gd name="connsiteX28" fmla="*/ 5556714 w 5829300"/>
              <a:gd name="connsiteY28" fmla="*/ 361188 h 5172075"/>
              <a:gd name="connsiteX29" fmla="*/ 5556714 w 5829300"/>
              <a:gd name="connsiteY29" fmla="*/ 640594 h 5172075"/>
              <a:gd name="connsiteX30" fmla="*/ 272586 w 5829300"/>
              <a:gd name="connsiteY30" fmla="*/ 640594 h 5172075"/>
              <a:gd name="connsiteX31" fmla="*/ 272586 w 5829300"/>
              <a:gd name="connsiteY31" fmla="*/ 361188 h 5172075"/>
              <a:gd name="connsiteX32" fmla="*/ 360502 w 5829300"/>
              <a:gd name="connsiteY32" fmla="*/ 272596 h 5172075"/>
              <a:gd name="connsiteX33" fmla="*/ 3606346 w 5829300"/>
              <a:gd name="connsiteY33" fmla="*/ 4909319 h 5172075"/>
              <a:gd name="connsiteX34" fmla="*/ 2237270 w 5829300"/>
              <a:gd name="connsiteY34" fmla="*/ 4909319 h 5172075"/>
              <a:gd name="connsiteX35" fmla="*/ 2237270 w 5829300"/>
              <a:gd name="connsiteY35" fmla="*/ 4497029 h 5172075"/>
              <a:gd name="connsiteX36" fmla="*/ 3598850 w 5829300"/>
              <a:gd name="connsiteY36" fmla="*/ 4497029 h 5172075"/>
              <a:gd name="connsiteX37" fmla="*/ 3598850 w 5829300"/>
              <a:gd name="connsiteY37" fmla="*/ 4909319 h 5172075"/>
              <a:gd name="connsiteX38" fmla="*/ 3606346 w 5829300"/>
              <a:gd name="connsiteY38" fmla="*/ 4909319 h 5172075"/>
              <a:gd name="connsiteX39" fmla="*/ 5468122 w 5829300"/>
              <a:gd name="connsiteY39" fmla="*/ 4225128 h 5172075"/>
              <a:gd name="connsiteX40" fmla="*/ 3738543 w 5829300"/>
              <a:gd name="connsiteY40" fmla="*/ 4225128 h 5172075"/>
              <a:gd name="connsiteX41" fmla="*/ 2105063 w 5829300"/>
              <a:gd name="connsiteY41" fmla="*/ 4225128 h 5172075"/>
              <a:gd name="connsiteX42" fmla="*/ 360502 w 5829300"/>
              <a:gd name="connsiteY42" fmla="*/ 4225128 h 5172075"/>
              <a:gd name="connsiteX43" fmla="*/ 271910 w 5829300"/>
              <a:gd name="connsiteY43" fmla="*/ 4136536 h 5172075"/>
              <a:gd name="connsiteX44" fmla="*/ 271910 w 5829300"/>
              <a:gd name="connsiteY44" fmla="*/ 3842137 h 5172075"/>
              <a:gd name="connsiteX45" fmla="*/ 5549217 w 5829300"/>
              <a:gd name="connsiteY45" fmla="*/ 3842137 h 5172075"/>
              <a:gd name="connsiteX46" fmla="*/ 5549217 w 5829300"/>
              <a:gd name="connsiteY46" fmla="*/ 4136536 h 5172075"/>
              <a:gd name="connsiteX47" fmla="*/ 5468122 w 5829300"/>
              <a:gd name="connsiteY47" fmla="*/ 4225128 h 517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829300" h="5172075">
                <a:moveTo>
                  <a:pt x="5829300" y="772792"/>
                </a:moveTo>
                <a:cubicBezTo>
                  <a:pt x="5829300" y="765296"/>
                  <a:pt x="5829300" y="750989"/>
                  <a:pt x="5821804" y="743493"/>
                </a:cubicBezTo>
                <a:lnTo>
                  <a:pt x="5821804" y="360502"/>
                </a:lnTo>
                <a:cubicBezTo>
                  <a:pt x="5821804" y="161515"/>
                  <a:pt x="5659612" y="0"/>
                  <a:pt x="5461302" y="0"/>
                </a:cubicBezTo>
                <a:lnTo>
                  <a:pt x="360502" y="0"/>
                </a:lnTo>
                <a:cubicBezTo>
                  <a:pt x="161506" y="10"/>
                  <a:pt x="0" y="162192"/>
                  <a:pt x="0" y="360502"/>
                </a:cubicBezTo>
                <a:lnTo>
                  <a:pt x="0" y="4135851"/>
                </a:lnTo>
                <a:cubicBezTo>
                  <a:pt x="0" y="4334837"/>
                  <a:pt x="162192" y="4496353"/>
                  <a:pt x="360502" y="4496353"/>
                </a:cubicBezTo>
                <a:lnTo>
                  <a:pt x="1965369" y="4496353"/>
                </a:lnTo>
                <a:lnTo>
                  <a:pt x="1965369" y="5048346"/>
                </a:lnTo>
                <a:cubicBezTo>
                  <a:pt x="1965369" y="5121945"/>
                  <a:pt x="2023977" y="5180553"/>
                  <a:pt x="2097577" y="5180553"/>
                </a:cubicBezTo>
                <a:lnTo>
                  <a:pt x="3731743" y="5180553"/>
                </a:lnTo>
                <a:cubicBezTo>
                  <a:pt x="3805342" y="5180553"/>
                  <a:pt x="3863950" y="5121945"/>
                  <a:pt x="3863950" y="5048346"/>
                </a:cubicBezTo>
                <a:lnTo>
                  <a:pt x="3863950" y="4496353"/>
                </a:lnTo>
                <a:lnTo>
                  <a:pt x="5453825" y="4496353"/>
                </a:lnTo>
                <a:cubicBezTo>
                  <a:pt x="5652812" y="4496353"/>
                  <a:pt x="5814327" y="4334161"/>
                  <a:pt x="5814327" y="4135851"/>
                </a:cubicBezTo>
                <a:lnTo>
                  <a:pt x="5814327" y="3731057"/>
                </a:lnTo>
                <a:cubicBezTo>
                  <a:pt x="5814327" y="3723561"/>
                  <a:pt x="5821823" y="3709254"/>
                  <a:pt x="5821823" y="3701758"/>
                </a:cubicBezTo>
                <a:lnTo>
                  <a:pt x="5821823" y="772792"/>
                </a:lnTo>
                <a:lnTo>
                  <a:pt x="5829300" y="772792"/>
                </a:lnTo>
                <a:close/>
                <a:moveTo>
                  <a:pt x="5549217" y="3569551"/>
                </a:moveTo>
                <a:lnTo>
                  <a:pt x="286903" y="3569551"/>
                </a:lnTo>
                <a:lnTo>
                  <a:pt x="286903" y="904999"/>
                </a:lnTo>
                <a:lnTo>
                  <a:pt x="5556714" y="904999"/>
                </a:lnTo>
                <a:lnTo>
                  <a:pt x="5556714" y="3569551"/>
                </a:lnTo>
                <a:lnTo>
                  <a:pt x="5549217" y="3569551"/>
                </a:lnTo>
                <a:close/>
                <a:moveTo>
                  <a:pt x="360502" y="272596"/>
                </a:moveTo>
                <a:lnTo>
                  <a:pt x="5468122" y="272596"/>
                </a:lnTo>
                <a:cubicBezTo>
                  <a:pt x="5512413" y="272596"/>
                  <a:pt x="5556714" y="309391"/>
                  <a:pt x="5556714" y="361188"/>
                </a:cubicBezTo>
                <a:lnTo>
                  <a:pt x="5556714" y="640594"/>
                </a:lnTo>
                <a:lnTo>
                  <a:pt x="272586" y="640594"/>
                </a:lnTo>
                <a:lnTo>
                  <a:pt x="272586" y="361188"/>
                </a:lnTo>
                <a:cubicBezTo>
                  <a:pt x="272586" y="309391"/>
                  <a:pt x="309391" y="272596"/>
                  <a:pt x="360502" y="272596"/>
                </a:cubicBezTo>
                <a:close/>
                <a:moveTo>
                  <a:pt x="3606346" y="4909319"/>
                </a:moveTo>
                <a:lnTo>
                  <a:pt x="2237270" y="4909319"/>
                </a:lnTo>
                <a:lnTo>
                  <a:pt x="2237270" y="4497029"/>
                </a:lnTo>
                <a:lnTo>
                  <a:pt x="3598850" y="4497029"/>
                </a:lnTo>
                <a:lnTo>
                  <a:pt x="3598850" y="4909319"/>
                </a:lnTo>
                <a:lnTo>
                  <a:pt x="3606346" y="4909319"/>
                </a:lnTo>
                <a:close/>
                <a:moveTo>
                  <a:pt x="5468122" y="4225128"/>
                </a:moveTo>
                <a:lnTo>
                  <a:pt x="3738543" y="4225128"/>
                </a:lnTo>
                <a:lnTo>
                  <a:pt x="2105063" y="4225128"/>
                </a:lnTo>
                <a:lnTo>
                  <a:pt x="360502" y="4225128"/>
                </a:lnTo>
                <a:cubicBezTo>
                  <a:pt x="316211" y="4225128"/>
                  <a:pt x="271910" y="4188333"/>
                  <a:pt x="271910" y="4136536"/>
                </a:cubicBezTo>
                <a:lnTo>
                  <a:pt x="271910" y="3842137"/>
                </a:lnTo>
                <a:lnTo>
                  <a:pt x="5549217" y="3842137"/>
                </a:lnTo>
                <a:lnTo>
                  <a:pt x="5549217" y="4136536"/>
                </a:lnTo>
                <a:cubicBezTo>
                  <a:pt x="5549217" y="4188323"/>
                  <a:pt x="5512413" y="4225128"/>
                  <a:pt x="5468122" y="422512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8" name="Forma libre 286">
            <a:extLst>
              <a:ext uri="{FF2B5EF4-FFF2-40B4-BE49-F238E27FC236}">
                <a16:creationId xmlns:a16="http://schemas.microsoft.com/office/drawing/2014/main" xmlns="" id="{8ADF2CC4-9A4E-A648-B462-4EABE0BB5EB3}"/>
              </a:ext>
            </a:extLst>
          </p:cNvPr>
          <p:cNvSpPr/>
          <p:nvPr/>
        </p:nvSpPr>
        <p:spPr>
          <a:xfrm>
            <a:off x="8046838" y="5940759"/>
            <a:ext cx="207139" cy="354647"/>
          </a:xfrm>
          <a:custGeom>
            <a:avLst/>
            <a:gdLst>
              <a:gd name="connsiteX0" fmla="*/ 3644629 w 4000500"/>
              <a:gd name="connsiteY0" fmla="*/ 0 h 6849340"/>
              <a:gd name="connsiteX1" fmla="*/ 365154 w 4000500"/>
              <a:gd name="connsiteY1" fmla="*/ 0 h 6849340"/>
              <a:gd name="connsiteX2" fmla="*/ 0 w 4000500"/>
              <a:gd name="connsiteY2" fmla="*/ 365154 h 6849340"/>
              <a:gd name="connsiteX3" fmla="*/ 0 w 4000500"/>
              <a:gd name="connsiteY3" fmla="*/ 6492076 h 6849340"/>
              <a:gd name="connsiteX4" fmla="*/ 365154 w 4000500"/>
              <a:gd name="connsiteY4" fmla="*/ 6857230 h 6849340"/>
              <a:gd name="connsiteX5" fmla="*/ 3636177 w 4000500"/>
              <a:gd name="connsiteY5" fmla="*/ 6857230 h 6849340"/>
              <a:gd name="connsiteX6" fmla="*/ 4001332 w 4000500"/>
              <a:gd name="connsiteY6" fmla="*/ 6492076 h 6849340"/>
              <a:gd name="connsiteX7" fmla="*/ 4001332 w 4000500"/>
              <a:gd name="connsiteY7" fmla="*/ 365154 h 6849340"/>
              <a:gd name="connsiteX8" fmla="*/ 3644629 w 4000500"/>
              <a:gd name="connsiteY8" fmla="*/ 0 h 6849340"/>
              <a:gd name="connsiteX9" fmla="*/ 365154 w 4000500"/>
              <a:gd name="connsiteY9" fmla="*/ 307502 h 6849340"/>
              <a:gd name="connsiteX10" fmla="*/ 3636177 w 4000500"/>
              <a:gd name="connsiteY10" fmla="*/ 307502 h 6849340"/>
              <a:gd name="connsiteX11" fmla="*/ 3694600 w 4000500"/>
              <a:gd name="connsiteY11" fmla="*/ 365925 h 6849340"/>
              <a:gd name="connsiteX12" fmla="*/ 3694600 w 4000500"/>
              <a:gd name="connsiteY12" fmla="*/ 880985 h 6849340"/>
              <a:gd name="connsiteX13" fmla="*/ 307493 w 4000500"/>
              <a:gd name="connsiteY13" fmla="*/ 880985 h 6849340"/>
              <a:gd name="connsiteX14" fmla="*/ 307493 w 4000500"/>
              <a:gd name="connsiteY14" fmla="*/ 365925 h 6849340"/>
              <a:gd name="connsiteX15" fmla="*/ 365154 w 4000500"/>
              <a:gd name="connsiteY15" fmla="*/ 307502 h 6849340"/>
              <a:gd name="connsiteX16" fmla="*/ 3694600 w 4000500"/>
              <a:gd name="connsiteY16" fmla="*/ 1187716 h 6849340"/>
              <a:gd name="connsiteX17" fmla="*/ 3694600 w 4000500"/>
              <a:gd name="connsiteY17" fmla="*/ 5471948 h 6849340"/>
              <a:gd name="connsiteX18" fmla="*/ 332094 w 4000500"/>
              <a:gd name="connsiteY18" fmla="*/ 5471948 h 6849340"/>
              <a:gd name="connsiteX19" fmla="*/ 332094 w 4000500"/>
              <a:gd name="connsiteY19" fmla="*/ 1187716 h 6849340"/>
              <a:gd name="connsiteX20" fmla="*/ 3694600 w 4000500"/>
              <a:gd name="connsiteY20" fmla="*/ 1187716 h 6849340"/>
              <a:gd name="connsiteX21" fmla="*/ 3644629 w 4000500"/>
              <a:gd name="connsiteY21" fmla="*/ 6551270 h 6849340"/>
              <a:gd name="connsiteX22" fmla="*/ 365154 w 4000500"/>
              <a:gd name="connsiteY22" fmla="*/ 6551270 h 6849340"/>
              <a:gd name="connsiteX23" fmla="*/ 306731 w 4000500"/>
              <a:gd name="connsiteY23" fmla="*/ 6492847 h 6849340"/>
              <a:gd name="connsiteX24" fmla="*/ 306731 w 4000500"/>
              <a:gd name="connsiteY24" fmla="*/ 5787139 h 6849340"/>
              <a:gd name="connsiteX25" fmla="*/ 3702290 w 4000500"/>
              <a:gd name="connsiteY25" fmla="*/ 5787139 h 6849340"/>
              <a:gd name="connsiteX26" fmla="*/ 3702290 w 4000500"/>
              <a:gd name="connsiteY26" fmla="*/ 6492847 h 6849340"/>
              <a:gd name="connsiteX27" fmla="*/ 3644629 w 4000500"/>
              <a:gd name="connsiteY27" fmla="*/ 6551270 h 6849340"/>
              <a:gd name="connsiteX28" fmla="*/ 2158642 w 4000500"/>
              <a:gd name="connsiteY28" fmla="*/ 6177655 h 6849340"/>
              <a:gd name="connsiteX29" fmla="*/ 1992596 w 4000500"/>
              <a:gd name="connsiteY29" fmla="*/ 6343702 h 6849340"/>
              <a:gd name="connsiteX30" fmla="*/ 1826549 w 4000500"/>
              <a:gd name="connsiteY30" fmla="*/ 6177655 h 6849340"/>
              <a:gd name="connsiteX31" fmla="*/ 1992596 w 4000500"/>
              <a:gd name="connsiteY31" fmla="*/ 6011609 h 6849340"/>
              <a:gd name="connsiteX32" fmla="*/ 2158642 w 4000500"/>
              <a:gd name="connsiteY32" fmla="*/ 6177655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000500" h="6849340">
                <a:moveTo>
                  <a:pt x="3644629" y="0"/>
                </a:moveTo>
                <a:lnTo>
                  <a:pt x="365154" y="0"/>
                </a:lnTo>
                <a:cubicBezTo>
                  <a:pt x="166047" y="0"/>
                  <a:pt x="0" y="166047"/>
                  <a:pt x="0" y="365154"/>
                </a:cubicBezTo>
                <a:lnTo>
                  <a:pt x="0" y="6492076"/>
                </a:lnTo>
                <a:cubicBezTo>
                  <a:pt x="0" y="6691183"/>
                  <a:pt x="166047" y="6857230"/>
                  <a:pt x="365154" y="6857230"/>
                </a:cubicBezTo>
                <a:lnTo>
                  <a:pt x="3636177" y="6857230"/>
                </a:lnTo>
                <a:cubicBezTo>
                  <a:pt x="3835285" y="6857230"/>
                  <a:pt x="4001332" y="6691183"/>
                  <a:pt x="4001332" y="6492076"/>
                </a:cubicBezTo>
                <a:lnTo>
                  <a:pt x="4001332" y="365154"/>
                </a:lnTo>
                <a:cubicBezTo>
                  <a:pt x="4009782" y="158366"/>
                  <a:pt x="3843736" y="0"/>
                  <a:pt x="3644629" y="0"/>
                </a:cubicBezTo>
                <a:close/>
                <a:moveTo>
                  <a:pt x="365154" y="307502"/>
                </a:moveTo>
                <a:lnTo>
                  <a:pt x="3636177" y="307502"/>
                </a:lnTo>
                <a:cubicBezTo>
                  <a:pt x="3669238" y="307502"/>
                  <a:pt x="3694600" y="332102"/>
                  <a:pt x="3694600" y="365925"/>
                </a:cubicBezTo>
                <a:lnTo>
                  <a:pt x="3694600" y="880985"/>
                </a:lnTo>
                <a:lnTo>
                  <a:pt x="307493" y="880985"/>
                </a:lnTo>
                <a:lnTo>
                  <a:pt x="307493" y="365925"/>
                </a:lnTo>
                <a:cubicBezTo>
                  <a:pt x="307493" y="332102"/>
                  <a:pt x="332094" y="307502"/>
                  <a:pt x="365154" y="307502"/>
                </a:cubicBezTo>
                <a:close/>
                <a:moveTo>
                  <a:pt x="3694600" y="1187716"/>
                </a:moveTo>
                <a:lnTo>
                  <a:pt x="3694600" y="5471948"/>
                </a:lnTo>
                <a:lnTo>
                  <a:pt x="332094" y="5471948"/>
                </a:lnTo>
                <a:lnTo>
                  <a:pt x="332094" y="1187716"/>
                </a:lnTo>
                <a:lnTo>
                  <a:pt x="3694600" y="1187716"/>
                </a:lnTo>
                <a:close/>
                <a:moveTo>
                  <a:pt x="3644629" y="6551270"/>
                </a:moveTo>
                <a:lnTo>
                  <a:pt x="365154" y="6551270"/>
                </a:lnTo>
                <a:cubicBezTo>
                  <a:pt x="332094" y="6551270"/>
                  <a:pt x="306731" y="6526669"/>
                  <a:pt x="306731" y="6492847"/>
                </a:cubicBezTo>
                <a:lnTo>
                  <a:pt x="306731" y="5787139"/>
                </a:lnTo>
                <a:lnTo>
                  <a:pt x="3702290" y="5787139"/>
                </a:lnTo>
                <a:lnTo>
                  <a:pt x="3702290" y="6492847"/>
                </a:lnTo>
                <a:cubicBezTo>
                  <a:pt x="3703052" y="6517447"/>
                  <a:pt x="3677689" y="6551270"/>
                  <a:pt x="3644629" y="6551270"/>
                </a:cubicBezTo>
                <a:close/>
                <a:moveTo>
                  <a:pt x="2158642" y="6177655"/>
                </a:moveTo>
                <a:cubicBezTo>
                  <a:pt x="2158642" y="6269139"/>
                  <a:pt x="2084070" y="6343702"/>
                  <a:pt x="1992596" y="6343702"/>
                </a:cubicBezTo>
                <a:cubicBezTo>
                  <a:pt x="1901121" y="6343702"/>
                  <a:pt x="1826549" y="6269130"/>
                  <a:pt x="1826549" y="6177655"/>
                </a:cubicBezTo>
                <a:cubicBezTo>
                  <a:pt x="1826549" y="6086172"/>
                  <a:pt x="1901121" y="6011609"/>
                  <a:pt x="1992596" y="6011609"/>
                </a:cubicBezTo>
                <a:cubicBezTo>
                  <a:pt x="2084070" y="6011609"/>
                  <a:pt x="2158642" y="6086181"/>
                  <a:pt x="2158642" y="6177655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19" name="Forma libre 288">
            <a:extLst>
              <a:ext uri="{FF2B5EF4-FFF2-40B4-BE49-F238E27FC236}">
                <a16:creationId xmlns:a16="http://schemas.microsoft.com/office/drawing/2014/main" xmlns="" id="{2F3E3C50-B63C-BA4A-9DD8-A2C0BC75956E}"/>
              </a:ext>
            </a:extLst>
          </p:cNvPr>
          <p:cNvSpPr/>
          <p:nvPr/>
        </p:nvSpPr>
        <p:spPr>
          <a:xfrm>
            <a:off x="7243893" y="5282693"/>
            <a:ext cx="301338" cy="287035"/>
          </a:xfrm>
          <a:custGeom>
            <a:avLst/>
            <a:gdLst>
              <a:gd name="connsiteX0" fmla="*/ 5820035 w 5819775"/>
              <a:gd name="connsiteY0" fmla="*/ 2089433 h 5543550"/>
              <a:gd name="connsiteX1" fmla="*/ 5602760 w 5819775"/>
              <a:gd name="connsiteY1" fmla="*/ 1928708 h 5543550"/>
              <a:gd name="connsiteX2" fmla="*/ 3891327 w 5819775"/>
              <a:gd name="connsiteY2" fmla="*/ 1679429 h 5543550"/>
              <a:gd name="connsiteX3" fmla="*/ 3144243 w 5819775"/>
              <a:gd name="connsiteY3" fmla="*/ 168907 h 5543550"/>
              <a:gd name="connsiteX4" fmla="*/ 2911338 w 5819775"/>
              <a:gd name="connsiteY4" fmla="*/ 0 h 5543550"/>
              <a:gd name="connsiteX5" fmla="*/ 2670251 w 5819775"/>
              <a:gd name="connsiteY5" fmla="*/ 168907 h 5543550"/>
              <a:gd name="connsiteX6" fmla="*/ 1923167 w 5819775"/>
              <a:gd name="connsiteY6" fmla="*/ 1679438 h 5543550"/>
              <a:gd name="connsiteX7" fmla="*/ 235546 w 5819775"/>
              <a:gd name="connsiteY7" fmla="*/ 1920526 h 5543550"/>
              <a:gd name="connsiteX8" fmla="*/ 10823 w 5819775"/>
              <a:gd name="connsiteY8" fmla="*/ 2089433 h 5543550"/>
              <a:gd name="connsiteX9" fmla="*/ 114998 w 5819775"/>
              <a:gd name="connsiteY9" fmla="*/ 2378888 h 5543550"/>
              <a:gd name="connsiteX10" fmla="*/ 1320444 w 5819775"/>
              <a:gd name="connsiteY10" fmla="*/ 3544157 h 5543550"/>
              <a:gd name="connsiteX11" fmla="*/ 1039180 w 5819775"/>
              <a:gd name="connsiteY11" fmla="*/ 5207975 h 5543550"/>
              <a:gd name="connsiteX12" fmla="*/ 1087548 w 5819775"/>
              <a:gd name="connsiteY12" fmla="*/ 5465436 h 5543550"/>
              <a:gd name="connsiteX13" fmla="*/ 1385185 w 5819775"/>
              <a:gd name="connsiteY13" fmla="*/ 5505622 h 5543550"/>
              <a:gd name="connsiteX14" fmla="*/ 1393367 w 5819775"/>
              <a:gd name="connsiteY14" fmla="*/ 5497439 h 5543550"/>
              <a:gd name="connsiteX15" fmla="*/ 2912081 w 5819775"/>
              <a:gd name="connsiteY15" fmla="*/ 4693806 h 5543550"/>
              <a:gd name="connsiteX16" fmla="*/ 4430795 w 5819775"/>
              <a:gd name="connsiteY16" fmla="*/ 5497439 h 5543550"/>
              <a:gd name="connsiteX17" fmla="*/ 4591520 w 5819775"/>
              <a:gd name="connsiteY17" fmla="*/ 5545807 h 5543550"/>
              <a:gd name="connsiteX18" fmla="*/ 4744062 w 5819775"/>
              <a:gd name="connsiteY18" fmla="*/ 5481819 h 5543550"/>
              <a:gd name="connsiteX19" fmla="*/ 4792430 w 5819775"/>
              <a:gd name="connsiteY19" fmla="*/ 5264544 h 5543550"/>
              <a:gd name="connsiteX20" fmla="*/ 4502232 w 5819775"/>
              <a:gd name="connsiteY20" fmla="*/ 3544157 h 5543550"/>
              <a:gd name="connsiteX21" fmla="*/ 5731491 w 5819775"/>
              <a:gd name="connsiteY21" fmla="*/ 2346894 h 5543550"/>
              <a:gd name="connsiteX22" fmla="*/ 5820035 w 5819775"/>
              <a:gd name="connsiteY22" fmla="*/ 2089433 h 5543550"/>
              <a:gd name="connsiteX23" fmla="*/ 4236580 w 5819775"/>
              <a:gd name="connsiteY23" fmla="*/ 3391614 h 5543550"/>
              <a:gd name="connsiteX24" fmla="*/ 4196394 w 5819775"/>
              <a:gd name="connsiteY24" fmla="*/ 3520345 h 5543550"/>
              <a:gd name="connsiteX25" fmla="*/ 4485849 w 5819775"/>
              <a:gd name="connsiteY25" fmla="*/ 5191602 h 5543550"/>
              <a:gd name="connsiteX26" fmla="*/ 2982766 w 5819775"/>
              <a:gd name="connsiteY26" fmla="*/ 4404341 h 5543550"/>
              <a:gd name="connsiteX27" fmla="*/ 2845854 w 5819775"/>
              <a:gd name="connsiteY27" fmla="*/ 4404341 h 5543550"/>
              <a:gd name="connsiteX28" fmla="*/ 1342770 w 5819775"/>
              <a:gd name="connsiteY28" fmla="*/ 5191602 h 5543550"/>
              <a:gd name="connsiteX29" fmla="*/ 1632226 w 5819775"/>
              <a:gd name="connsiteY29" fmla="*/ 3520345 h 5543550"/>
              <a:gd name="connsiteX30" fmla="*/ 1592040 w 5819775"/>
              <a:gd name="connsiteY30" fmla="*/ 3391614 h 5543550"/>
              <a:gd name="connsiteX31" fmla="*/ 370973 w 5819775"/>
              <a:gd name="connsiteY31" fmla="*/ 2209981 h 5543550"/>
              <a:gd name="connsiteX32" fmla="*/ 2050411 w 5819775"/>
              <a:gd name="connsiteY32" fmla="*/ 1968894 h 5543550"/>
              <a:gd name="connsiteX33" fmla="*/ 2162768 w 5819775"/>
              <a:gd name="connsiteY33" fmla="*/ 1888531 h 5543550"/>
              <a:gd name="connsiteX34" fmla="*/ 2909852 w 5819775"/>
              <a:gd name="connsiteY34" fmla="*/ 369818 h 5543550"/>
              <a:gd name="connsiteX35" fmla="*/ 3656926 w 5819775"/>
              <a:gd name="connsiteY35" fmla="*/ 1888531 h 5543550"/>
              <a:gd name="connsiteX36" fmla="*/ 3769283 w 5819775"/>
              <a:gd name="connsiteY36" fmla="*/ 1968894 h 5543550"/>
              <a:gd name="connsiteX37" fmla="*/ 5448722 w 5819775"/>
              <a:gd name="connsiteY37" fmla="*/ 2209981 h 5543550"/>
              <a:gd name="connsiteX38" fmla="*/ 4236580 w 5819775"/>
              <a:gd name="connsiteY38" fmla="*/ 3391614 h 554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819775" h="5543550">
                <a:moveTo>
                  <a:pt x="5820035" y="2089433"/>
                </a:moveTo>
                <a:cubicBezTo>
                  <a:pt x="5803661" y="2041065"/>
                  <a:pt x="5756046" y="1952520"/>
                  <a:pt x="5602760" y="1928708"/>
                </a:cubicBezTo>
                <a:lnTo>
                  <a:pt x="3891327" y="1679429"/>
                </a:lnTo>
                <a:lnTo>
                  <a:pt x="3144243" y="168907"/>
                </a:lnTo>
                <a:cubicBezTo>
                  <a:pt x="3072063" y="24555"/>
                  <a:pt x="2983518" y="0"/>
                  <a:pt x="2911338" y="0"/>
                </a:cubicBezTo>
                <a:cubicBezTo>
                  <a:pt x="2766977" y="0"/>
                  <a:pt x="2686615" y="144351"/>
                  <a:pt x="2670251" y="168907"/>
                </a:cubicBezTo>
                <a:lnTo>
                  <a:pt x="1923167" y="1679438"/>
                </a:lnTo>
                <a:lnTo>
                  <a:pt x="235546" y="1920526"/>
                </a:lnTo>
                <a:cubicBezTo>
                  <a:pt x="123189" y="1936899"/>
                  <a:pt x="34635" y="2000888"/>
                  <a:pt x="10823" y="2089433"/>
                </a:cubicBezTo>
                <a:cubicBezTo>
                  <a:pt x="-21172" y="2186169"/>
                  <a:pt x="19005" y="2282152"/>
                  <a:pt x="114998" y="2378888"/>
                </a:cubicBezTo>
                <a:lnTo>
                  <a:pt x="1320444" y="3544157"/>
                </a:lnTo>
                <a:lnTo>
                  <a:pt x="1039180" y="5207975"/>
                </a:lnTo>
                <a:cubicBezTo>
                  <a:pt x="1030998" y="5248161"/>
                  <a:pt x="1007186" y="5376882"/>
                  <a:pt x="1087548" y="5465436"/>
                </a:cubicBezTo>
                <a:cubicBezTo>
                  <a:pt x="1151537" y="5545798"/>
                  <a:pt x="1264646" y="5562172"/>
                  <a:pt x="1385185" y="5505622"/>
                </a:cubicBezTo>
                <a:cubicBezTo>
                  <a:pt x="1385185" y="5505622"/>
                  <a:pt x="1393367" y="5505622"/>
                  <a:pt x="1393367" y="5497439"/>
                </a:cubicBezTo>
                <a:lnTo>
                  <a:pt x="2912081" y="4693806"/>
                </a:lnTo>
                <a:lnTo>
                  <a:pt x="4430795" y="5497439"/>
                </a:lnTo>
                <a:cubicBezTo>
                  <a:pt x="4487345" y="5529434"/>
                  <a:pt x="4543152" y="5545807"/>
                  <a:pt x="4591520" y="5545807"/>
                </a:cubicBezTo>
                <a:cubicBezTo>
                  <a:pt x="4655508" y="5545807"/>
                  <a:pt x="4703876" y="5521995"/>
                  <a:pt x="4744062" y="5481819"/>
                </a:cubicBezTo>
                <a:cubicBezTo>
                  <a:pt x="4776057" y="5449824"/>
                  <a:pt x="4808051" y="5385083"/>
                  <a:pt x="4792430" y="5264544"/>
                </a:cubicBezTo>
                <a:lnTo>
                  <a:pt x="4502232" y="3544157"/>
                </a:lnTo>
                <a:lnTo>
                  <a:pt x="5731491" y="2346894"/>
                </a:lnTo>
                <a:cubicBezTo>
                  <a:pt x="5835666" y="2241976"/>
                  <a:pt x="5835666" y="2154174"/>
                  <a:pt x="5820035" y="2089433"/>
                </a:cubicBezTo>
                <a:close/>
                <a:moveTo>
                  <a:pt x="4236580" y="3391614"/>
                </a:moveTo>
                <a:cubicBezTo>
                  <a:pt x="4204585" y="3423609"/>
                  <a:pt x="4188212" y="3471977"/>
                  <a:pt x="4196394" y="3520345"/>
                </a:cubicBezTo>
                <a:lnTo>
                  <a:pt x="4485849" y="5191602"/>
                </a:lnTo>
                <a:lnTo>
                  <a:pt x="2982766" y="4404341"/>
                </a:lnTo>
                <a:cubicBezTo>
                  <a:pt x="2942580" y="4380529"/>
                  <a:pt x="2886030" y="4380529"/>
                  <a:pt x="2845854" y="4404341"/>
                </a:cubicBezTo>
                <a:lnTo>
                  <a:pt x="1342770" y="5191602"/>
                </a:lnTo>
                <a:lnTo>
                  <a:pt x="1632226" y="3520345"/>
                </a:lnTo>
                <a:cubicBezTo>
                  <a:pt x="1640408" y="3471977"/>
                  <a:pt x="1624044" y="3423609"/>
                  <a:pt x="1592040" y="3391614"/>
                </a:cubicBezTo>
                <a:lnTo>
                  <a:pt x="370973" y="2209981"/>
                </a:lnTo>
                <a:lnTo>
                  <a:pt x="2050411" y="1968894"/>
                </a:lnTo>
                <a:cubicBezTo>
                  <a:pt x="2098779" y="1960712"/>
                  <a:pt x="2138956" y="1928708"/>
                  <a:pt x="2162768" y="1888531"/>
                </a:cubicBezTo>
                <a:lnTo>
                  <a:pt x="2909852" y="369818"/>
                </a:lnTo>
                <a:lnTo>
                  <a:pt x="3656926" y="1888531"/>
                </a:lnTo>
                <a:cubicBezTo>
                  <a:pt x="3680739" y="1928717"/>
                  <a:pt x="3720915" y="1960712"/>
                  <a:pt x="3769283" y="1968894"/>
                </a:cubicBezTo>
                <a:lnTo>
                  <a:pt x="5448722" y="2209981"/>
                </a:lnTo>
                <a:lnTo>
                  <a:pt x="4236580" y="3391614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0" name="Forma libre 290">
            <a:extLst>
              <a:ext uri="{FF2B5EF4-FFF2-40B4-BE49-F238E27FC236}">
                <a16:creationId xmlns:a16="http://schemas.microsoft.com/office/drawing/2014/main" xmlns="" id="{86AA13A3-B742-6F4E-9399-F084F4AD4972}"/>
              </a:ext>
            </a:extLst>
          </p:cNvPr>
          <p:cNvSpPr/>
          <p:nvPr/>
        </p:nvSpPr>
        <p:spPr>
          <a:xfrm>
            <a:off x="8783761" y="2749913"/>
            <a:ext cx="300846" cy="301339"/>
          </a:xfrm>
          <a:custGeom>
            <a:avLst/>
            <a:gdLst>
              <a:gd name="connsiteX0" fmla="*/ 2905721 w 5810281"/>
              <a:gd name="connsiteY0" fmla="*/ 1261306 h 5819790"/>
              <a:gd name="connsiteX1" fmla="*/ 1253651 w 5810281"/>
              <a:gd name="connsiteY1" fmla="*/ 2913376 h 5819790"/>
              <a:gd name="connsiteX2" fmla="*/ 2905721 w 5810281"/>
              <a:gd name="connsiteY2" fmla="*/ 4565445 h 5819790"/>
              <a:gd name="connsiteX3" fmla="*/ 4557790 w 5810281"/>
              <a:gd name="connsiteY3" fmla="*/ 2913376 h 5819790"/>
              <a:gd name="connsiteX4" fmla="*/ 2905721 w 5810281"/>
              <a:gd name="connsiteY4" fmla="*/ 1261306 h 5819790"/>
              <a:gd name="connsiteX5" fmla="*/ 2905721 w 5810281"/>
              <a:gd name="connsiteY5" fmla="*/ 4287312 h 5819790"/>
              <a:gd name="connsiteX6" fmla="*/ 1531775 w 5810281"/>
              <a:gd name="connsiteY6" fmla="*/ 2913366 h 5819790"/>
              <a:gd name="connsiteX7" fmla="*/ 2905721 w 5810281"/>
              <a:gd name="connsiteY7" fmla="*/ 1539420 h 5819790"/>
              <a:gd name="connsiteX8" fmla="*/ 4279667 w 5810281"/>
              <a:gd name="connsiteY8" fmla="*/ 2913366 h 5819790"/>
              <a:gd name="connsiteX9" fmla="*/ 2905721 w 5810281"/>
              <a:gd name="connsiteY9" fmla="*/ 4287312 h 5819790"/>
              <a:gd name="connsiteX10" fmla="*/ 2770829 w 5810281"/>
              <a:gd name="connsiteY10" fmla="*/ 607702 h 5819790"/>
              <a:gd name="connsiteX11" fmla="*/ 2770829 w 5810281"/>
              <a:gd name="connsiteY11" fmla="*/ 134892 h 5819790"/>
              <a:gd name="connsiteX12" fmla="*/ 2905721 w 5810281"/>
              <a:gd name="connsiteY12" fmla="*/ 0 h 5819790"/>
              <a:gd name="connsiteX13" fmla="*/ 3040612 w 5810281"/>
              <a:gd name="connsiteY13" fmla="*/ 134892 h 5819790"/>
              <a:gd name="connsiteX14" fmla="*/ 3040612 w 5810281"/>
              <a:gd name="connsiteY14" fmla="*/ 607702 h 5819790"/>
              <a:gd name="connsiteX15" fmla="*/ 2905721 w 5810281"/>
              <a:gd name="connsiteY15" fmla="*/ 742594 h 5819790"/>
              <a:gd name="connsiteX16" fmla="*/ 2770829 w 5810281"/>
              <a:gd name="connsiteY16" fmla="*/ 607702 h 5819790"/>
              <a:gd name="connsiteX17" fmla="*/ 1403834 w 5810281"/>
              <a:gd name="connsiteY17" fmla="*/ 577804 h 5819790"/>
              <a:gd name="connsiteX18" fmla="*/ 1456678 w 5810281"/>
              <a:gd name="connsiteY18" fmla="*/ 390069 h 5819790"/>
              <a:gd name="connsiteX19" fmla="*/ 1644414 w 5810281"/>
              <a:gd name="connsiteY19" fmla="*/ 442913 h 5819790"/>
              <a:gd name="connsiteX20" fmla="*/ 1877349 w 5810281"/>
              <a:gd name="connsiteY20" fmla="*/ 848282 h 5819790"/>
              <a:gd name="connsiteX21" fmla="*/ 1824504 w 5810281"/>
              <a:gd name="connsiteY21" fmla="*/ 1036018 h 5819790"/>
              <a:gd name="connsiteX22" fmla="*/ 1757063 w 5810281"/>
              <a:gd name="connsiteY22" fmla="*/ 1051319 h 5819790"/>
              <a:gd name="connsiteX23" fmla="*/ 1636778 w 5810281"/>
              <a:gd name="connsiteY23" fmla="*/ 983877 h 5819790"/>
              <a:gd name="connsiteX24" fmla="*/ 1403834 w 5810281"/>
              <a:gd name="connsiteY24" fmla="*/ 577804 h 5819790"/>
              <a:gd name="connsiteX25" fmla="*/ 1036018 w 5810281"/>
              <a:gd name="connsiteY25" fmla="*/ 1831465 h 5819790"/>
              <a:gd name="connsiteX26" fmla="*/ 915733 w 5810281"/>
              <a:gd name="connsiteY26" fmla="*/ 1898906 h 5819790"/>
              <a:gd name="connsiteX27" fmla="*/ 848292 w 5810281"/>
              <a:gd name="connsiteY27" fmla="*/ 1883606 h 5819790"/>
              <a:gd name="connsiteX28" fmla="*/ 442922 w 5810281"/>
              <a:gd name="connsiteY28" fmla="*/ 1650671 h 5819790"/>
              <a:gd name="connsiteX29" fmla="*/ 390078 w 5810281"/>
              <a:gd name="connsiteY29" fmla="*/ 1462936 h 5819790"/>
              <a:gd name="connsiteX30" fmla="*/ 577814 w 5810281"/>
              <a:gd name="connsiteY30" fmla="*/ 1410092 h 5819790"/>
              <a:gd name="connsiteX31" fmla="*/ 983183 w 5810281"/>
              <a:gd name="connsiteY31" fmla="*/ 1643026 h 5819790"/>
              <a:gd name="connsiteX32" fmla="*/ 1036018 w 5810281"/>
              <a:gd name="connsiteY32" fmla="*/ 1831465 h 5819790"/>
              <a:gd name="connsiteX33" fmla="*/ 607702 w 5810281"/>
              <a:gd name="connsiteY33" fmla="*/ 3048268 h 5819790"/>
              <a:gd name="connsiteX34" fmla="*/ 134892 w 5810281"/>
              <a:gd name="connsiteY34" fmla="*/ 3048268 h 5819790"/>
              <a:gd name="connsiteX35" fmla="*/ 0 w 5810281"/>
              <a:gd name="connsiteY35" fmla="*/ 2913376 h 5819790"/>
              <a:gd name="connsiteX36" fmla="*/ 134892 w 5810281"/>
              <a:gd name="connsiteY36" fmla="*/ 2778484 h 5819790"/>
              <a:gd name="connsiteX37" fmla="*/ 607702 w 5810281"/>
              <a:gd name="connsiteY37" fmla="*/ 2778484 h 5819790"/>
              <a:gd name="connsiteX38" fmla="*/ 742594 w 5810281"/>
              <a:gd name="connsiteY38" fmla="*/ 2913376 h 5819790"/>
              <a:gd name="connsiteX39" fmla="*/ 607702 w 5810281"/>
              <a:gd name="connsiteY39" fmla="*/ 3048268 h 5819790"/>
              <a:gd name="connsiteX40" fmla="*/ 1036018 w 5810281"/>
              <a:gd name="connsiteY40" fmla="*/ 3994592 h 5819790"/>
              <a:gd name="connsiteX41" fmla="*/ 983174 w 5810281"/>
              <a:gd name="connsiteY41" fmla="*/ 4182328 h 5819790"/>
              <a:gd name="connsiteX42" fmla="*/ 577804 w 5810281"/>
              <a:gd name="connsiteY42" fmla="*/ 4415262 h 5819790"/>
              <a:gd name="connsiteX43" fmla="*/ 510363 w 5810281"/>
              <a:gd name="connsiteY43" fmla="*/ 4430563 h 5819790"/>
              <a:gd name="connsiteX44" fmla="*/ 390078 w 5810281"/>
              <a:gd name="connsiteY44" fmla="*/ 4363122 h 5819790"/>
              <a:gd name="connsiteX45" fmla="*/ 442922 w 5810281"/>
              <a:gd name="connsiteY45" fmla="*/ 4175386 h 5819790"/>
              <a:gd name="connsiteX46" fmla="*/ 848292 w 5810281"/>
              <a:gd name="connsiteY46" fmla="*/ 3942452 h 5819790"/>
              <a:gd name="connsiteX47" fmla="*/ 1036018 w 5810281"/>
              <a:gd name="connsiteY47" fmla="*/ 3994592 h 5819790"/>
              <a:gd name="connsiteX48" fmla="*/ 1876654 w 5810281"/>
              <a:gd name="connsiteY48" fmla="*/ 4978460 h 5819790"/>
              <a:gd name="connsiteX49" fmla="*/ 1644414 w 5810281"/>
              <a:gd name="connsiteY49" fmla="*/ 5383830 h 5819790"/>
              <a:gd name="connsiteX50" fmla="*/ 1524129 w 5810281"/>
              <a:gd name="connsiteY50" fmla="*/ 5451271 h 5819790"/>
              <a:gd name="connsiteX51" fmla="*/ 1456688 w 5810281"/>
              <a:gd name="connsiteY51" fmla="*/ 5435970 h 5819790"/>
              <a:gd name="connsiteX52" fmla="*/ 1403844 w 5810281"/>
              <a:gd name="connsiteY52" fmla="*/ 5248234 h 5819790"/>
              <a:gd name="connsiteX53" fmla="*/ 1636778 w 5810281"/>
              <a:gd name="connsiteY53" fmla="*/ 4842865 h 5819790"/>
              <a:gd name="connsiteX54" fmla="*/ 1824514 w 5810281"/>
              <a:gd name="connsiteY54" fmla="*/ 4790021 h 5819790"/>
              <a:gd name="connsiteX55" fmla="*/ 1876654 w 5810281"/>
              <a:gd name="connsiteY55" fmla="*/ 4978460 h 5819790"/>
              <a:gd name="connsiteX56" fmla="*/ 3048258 w 5810281"/>
              <a:gd name="connsiteY56" fmla="*/ 5218346 h 5819790"/>
              <a:gd name="connsiteX57" fmla="*/ 3048258 w 5810281"/>
              <a:gd name="connsiteY57" fmla="*/ 5691157 h 5819790"/>
              <a:gd name="connsiteX58" fmla="*/ 2913366 w 5810281"/>
              <a:gd name="connsiteY58" fmla="*/ 5826048 h 5819790"/>
              <a:gd name="connsiteX59" fmla="*/ 2778475 w 5810281"/>
              <a:gd name="connsiteY59" fmla="*/ 5691157 h 5819790"/>
              <a:gd name="connsiteX60" fmla="*/ 2778475 w 5810281"/>
              <a:gd name="connsiteY60" fmla="*/ 5218346 h 5819790"/>
              <a:gd name="connsiteX61" fmla="*/ 2913366 w 5810281"/>
              <a:gd name="connsiteY61" fmla="*/ 5083454 h 5819790"/>
              <a:gd name="connsiteX62" fmla="*/ 3048258 w 5810281"/>
              <a:gd name="connsiteY62" fmla="*/ 5218346 h 5819790"/>
              <a:gd name="connsiteX63" fmla="*/ 4415253 w 5810281"/>
              <a:gd name="connsiteY63" fmla="*/ 5248243 h 5819790"/>
              <a:gd name="connsiteX64" fmla="*/ 4362409 w 5810281"/>
              <a:gd name="connsiteY64" fmla="*/ 5435979 h 5819790"/>
              <a:gd name="connsiteX65" fmla="*/ 4294968 w 5810281"/>
              <a:gd name="connsiteY65" fmla="*/ 5451280 h 5819790"/>
              <a:gd name="connsiteX66" fmla="*/ 4174673 w 5810281"/>
              <a:gd name="connsiteY66" fmla="*/ 5383839 h 5819790"/>
              <a:gd name="connsiteX67" fmla="*/ 3941738 w 5810281"/>
              <a:gd name="connsiteY67" fmla="*/ 4978470 h 5819790"/>
              <a:gd name="connsiteX68" fmla="*/ 3994583 w 5810281"/>
              <a:gd name="connsiteY68" fmla="*/ 4790734 h 5819790"/>
              <a:gd name="connsiteX69" fmla="*/ 4182318 w 5810281"/>
              <a:gd name="connsiteY69" fmla="*/ 4843578 h 5819790"/>
              <a:gd name="connsiteX70" fmla="*/ 4415253 w 5810281"/>
              <a:gd name="connsiteY70" fmla="*/ 5248243 h 5819790"/>
              <a:gd name="connsiteX71" fmla="*/ 5429019 w 5810281"/>
              <a:gd name="connsiteY71" fmla="*/ 4370054 h 5819790"/>
              <a:gd name="connsiteX72" fmla="*/ 5308724 w 5810281"/>
              <a:gd name="connsiteY72" fmla="*/ 4437496 h 5819790"/>
              <a:gd name="connsiteX73" fmla="*/ 5241283 w 5810281"/>
              <a:gd name="connsiteY73" fmla="*/ 4422195 h 5819790"/>
              <a:gd name="connsiteX74" fmla="*/ 4835914 w 5810281"/>
              <a:gd name="connsiteY74" fmla="*/ 4189260 h 5819790"/>
              <a:gd name="connsiteX75" fmla="*/ 4783069 w 5810281"/>
              <a:gd name="connsiteY75" fmla="*/ 4001525 h 5819790"/>
              <a:gd name="connsiteX76" fmla="*/ 4970805 w 5810281"/>
              <a:gd name="connsiteY76" fmla="*/ 3948680 h 5819790"/>
              <a:gd name="connsiteX77" fmla="*/ 5376174 w 5810281"/>
              <a:gd name="connsiteY77" fmla="*/ 4181615 h 5819790"/>
              <a:gd name="connsiteX78" fmla="*/ 5429019 w 5810281"/>
              <a:gd name="connsiteY78" fmla="*/ 4370054 h 5819790"/>
              <a:gd name="connsiteX79" fmla="*/ 5819087 w 5810281"/>
              <a:gd name="connsiteY79" fmla="*/ 2913376 h 5819790"/>
              <a:gd name="connsiteX80" fmla="*/ 5684195 w 5810281"/>
              <a:gd name="connsiteY80" fmla="*/ 3048268 h 5819790"/>
              <a:gd name="connsiteX81" fmla="*/ 5211385 w 5810281"/>
              <a:gd name="connsiteY81" fmla="*/ 3048268 h 5819790"/>
              <a:gd name="connsiteX82" fmla="*/ 5076493 w 5810281"/>
              <a:gd name="connsiteY82" fmla="*/ 2913376 h 5819790"/>
              <a:gd name="connsiteX83" fmla="*/ 5211385 w 5810281"/>
              <a:gd name="connsiteY83" fmla="*/ 2778484 h 5819790"/>
              <a:gd name="connsiteX84" fmla="*/ 5684195 w 5810281"/>
              <a:gd name="connsiteY84" fmla="*/ 2778484 h 5819790"/>
              <a:gd name="connsiteX85" fmla="*/ 5819087 w 5810281"/>
              <a:gd name="connsiteY85" fmla="*/ 2913376 h 5819790"/>
              <a:gd name="connsiteX86" fmla="*/ 4783069 w 5810281"/>
              <a:gd name="connsiteY86" fmla="*/ 1831465 h 5819790"/>
              <a:gd name="connsiteX87" fmla="*/ 4835914 w 5810281"/>
              <a:gd name="connsiteY87" fmla="*/ 1643730 h 5819790"/>
              <a:gd name="connsiteX88" fmla="*/ 5241283 w 5810281"/>
              <a:gd name="connsiteY88" fmla="*/ 1410795 h 5819790"/>
              <a:gd name="connsiteX89" fmla="*/ 5429019 w 5810281"/>
              <a:gd name="connsiteY89" fmla="*/ 1463639 h 5819790"/>
              <a:gd name="connsiteX90" fmla="*/ 5376174 w 5810281"/>
              <a:gd name="connsiteY90" fmla="*/ 1651375 h 5819790"/>
              <a:gd name="connsiteX91" fmla="*/ 4970805 w 5810281"/>
              <a:gd name="connsiteY91" fmla="*/ 1884309 h 5819790"/>
              <a:gd name="connsiteX92" fmla="*/ 4903364 w 5810281"/>
              <a:gd name="connsiteY92" fmla="*/ 1899610 h 5819790"/>
              <a:gd name="connsiteX93" fmla="*/ 4783069 w 5810281"/>
              <a:gd name="connsiteY93" fmla="*/ 1831465 h 5819790"/>
              <a:gd name="connsiteX94" fmla="*/ 3941738 w 5810281"/>
              <a:gd name="connsiteY94" fmla="*/ 848282 h 5819790"/>
              <a:gd name="connsiteX95" fmla="*/ 4174673 w 5810281"/>
              <a:gd name="connsiteY95" fmla="*/ 442913 h 5819790"/>
              <a:gd name="connsiteX96" fmla="*/ 4362409 w 5810281"/>
              <a:gd name="connsiteY96" fmla="*/ 390069 h 5819790"/>
              <a:gd name="connsiteX97" fmla="*/ 4415253 w 5810281"/>
              <a:gd name="connsiteY97" fmla="*/ 577804 h 5819790"/>
              <a:gd name="connsiteX98" fmla="*/ 4182318 w 5810281"/>
              <a:gd name="connsiteY98" fmla="*/ 983174 h 5819790"/>
              <a:gd name="connsiteX99" fmla="*/ 4062024 w 5810281"/>
              <a:gd name="connsiteY99" fmla="*/ 1050615 h 5819790"/>
              <a:gd name="connsiteX100" fmla="*/ 3994583 w 5810281"/>
              <a:gd name="connsiteY100" fmla="*/ 1035314 h 5819790"/>
              <a:gd name="connsiteX101" fmla="*/ 3941738 w 5810281"/>
              <a:gd name="connsiteY101" fmla="*/ 848282 h 581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5810281" h="5819790">
                <a:moveTo>
                  <a:pt x="2905721" y="1261306"/>
                </a:moveTo>
                <a:cubicBezTo>
                  <a:pt x="1996939" y="1261306"/>
                  <a:pt x="1253651" y="2004595"/>
                  <a:pt x="1253651" y="2913376"/>
                </a:cubicBezTo>
                <a:cubicBezTo>
                  <a:pt x="1253651" y="3822157"/>
                  <a:pt x="1996939" y="4565445"/>
                  <a:pt x="2905721" y="4565445"/>
                </a:cubicBezTo>
                <a:cubicBezTo>
                  <a:pt x="3814502" y="4565445"/>
                  <a:pt x="4557790" y="3821453"/>
                  <a:pt x="4557790" y="2913376"/>
                </a:cubicBezTo>
                <a:cubicBezTo>
                  <a:pt x="4557790" y="2005298"/>
                  <a:pt x="3822148" y="1261306"/>
                  <a:pt x="2905721" y="1261306"/>
                </a:cubicBezTo>
                <a:close/>
                <a:moveTo>
                  <a:pt x="2905721" y="4287312"/>
                </a:moveTo>
                <a:cubicBezTo>
                  <a:pt x="2147132" y="4287312"/>
                  <a:pt x="1531775" y="3671261"/>
                  <a:pt x="1531775" y="2913366"/>
                </a:cubicBezTo>
                <a:cubicBezTo>
                  <a:pt x="1531775" y="2155472"/>
                  <a:pt x="2147826" y="1539420"/>
                  <a:pt x="2905721" y="1539420"/>
                </a:cubicBezTo>
                <a:cubicBezTo>
                  <a:pt x="3663615" y="1539420"/>
                  <a:pt x="4279667" y="2154778"/>
                  <a:pt x="4279667" y="2913366"/>
                </a:cubicBezTo>
                <a:cubicBezTo>
                  <a:pt x="4279667" y="3671955"/>
                  <a:pt x="3664310" y="4287312"/>
                  <a:pt x="2905721" y="4287312"/>
                </a:cubicBezTo>
                <a:close/>
                <a:moveTo>
                  <a:pt x="2770829" y="607702"/>
                </a:moveTo>
                <a:lnTo>
                  <a:pt x="2770829" y="134892"/>
                </a:lnTo>
                <a:cubicBezTo>
                  <a:pt x="2770829" y="59795"/>
                  <a:pt x="2830625" y="0"/>
                  <a:pt x="2905721" y="0"/>
                </a:cubicBezTo>
                <a:cubicBezTo>
                  <a:pt x="2980817" y="0"/>
                  <a:pt x="3040612" y="59795"/>
                  <a:pt x="3040612" y="134892"/>
                </a:cubicBezTo>
                <a:lnTo>
                  <a:pt x="3040612" y="607702"/>
                </a:lnTo>
                <a:cubicBezTo>
                  <a:pt x="3040612" y="682798"/>
                  <a:pt x="2980817" y="742594"/>
                  <a:pt x="2905721" y="742594"/>
                </a:cubicBezTo>
                <a:cubicBezTo>
                  <a:pt x="2830625" y="750249"/>
                  <a:pt x="2770829" y="682798"/>
                  <a:pt x="2770829" y="607702"/>
                </a:cubicBezTo>
                <a:close/>
                <a:moveTo>
                  <a:pt x="1403834" y="577804"/>
                </a:moveTo>
                <a:cubicBezTo>
                  <a:pt x="1366291" y="510363"/>
                  <a:pt x="1388534" y="427612"/>
                  <a:pt x="1456678" y="390069"/>
                </a:cubicBezTo>
                <a:cubicBezTo>
                  <a:pt x="1524120" y="352525"/>
                  <a:pt x="1606871" y="374768"/>
                  <a:pt x="1644414" y="442913"/>
                </a:cubicBezTo>
                <a:lnTo>
                  <a:pt x="1877349" y="848282"/>
                </a:lnTo>
                <a:cubicBezTo>
                  <a:pt x="1914892" y="915723"/>
                  <a:pt x="1892649" y="998474"/>
                  <a:pt x="1824504" y="1036018"/>
                </a:cubicBezTo>
                <a:cubicBezTo>
                  <a:pt x="1802252" y="1051319"/>
                  <a:pt x="1779306" y="1051319"/>
                  <a:pt x="1757063" y="1051319"/>
                </a:cubicBezTo>
                <a:cubicBezTo>
                  <a:pt x="1711865" y="1051319"/>
                  <a:pt x="1659715" y="1029066"/>
                  <a:pt x="1636778" y="983877"/>
                </a:cubicBezTo>
                <a:lnTo>
                  <a:pt x="1403834" y="577804"/>
                </a:lnTo>
                <a:close/>
                <a:moveTo>
                  <a:pt x="1036018" y="1831465"/>
                </a:moveTo>
                <a:cubicBezTo>
                  <a:pt x="1013766" y="1876664"/>
                  <a:pt x="960922" y="1898906"/>
                  <a:pt x="915733" y="1898906"/>
                </a:cubicBezTo>
                <a:cubicBezTo>
                  <a:pt x="893481" y="1898906"/>
                  <a:pt x="870534" y="1891261"/>
                  <a:pt x="848292" y="1883606"/>
                </a:cubicBezTo>
                <a:lnTo>
                  <a:pt x="442922" y="1650671"/>
                </a:lnTo>
                <a:cubicBezTo>
                  <a:pt x="375481" y="1613128"/>
                  <a:pt x="352535" y="1530386"/>
                  <a:pt x="390078" y="1462936"/>
                </a:cubicBezTo>
                <a:cubicBezTo>
                  <a:pt x="427621" y="1395485"/>
                  <a:pt x="510363" y="1372548"/>
                  <a:pt x="577814" y="1410092"/>
                </a:cubicBezTo>
                <a:lnTo>
                  <a:pt x="983183" y="1643026"/>
                </a:lnTo>
                <a:cubicBezTo>
                  <a:pt x="1050615" y="1681273"/>
                  <a:pt x="1073561" y="1764015"/>
                  <a:pt x="1036018" y="1831465"/>
                </a:cubicBezTo>
                <a:close/>
                <a:moveTo>
                  <a:pt x="607702" y="3048268"/>
                </a:moveTo>
                <a:lnTo>
                  <a:pt x="134892" y="3048268"/>
                </a:lnTo>
                <a:cubicBezTo>
                  <a:pt x="59795" y="3048268"/>
                  <a:pt x="0" y="2988472"/>
                  <a:pt x="0" y="2913376"/>
                </a:cubicBezTo>
                <a:cubicBezTo>
                  <a:pt x="0" y="2838280"/>
                  <a:pt x="59795" y="2778484"/>
                  <a:pt x="134892" y="2778484"/>
                </a:cubicBezTo>
                <a:lnTo>
                  <a:pt x="607702" y="2778484"/>
                </a:lnTo>
                <a:cubicBezTo>
                  <a:pt x="682798" y="2778484"/>
                  <a:pt x="742594" y="2838280"/>
                  <a:pt x="742594" y="2913376"/>
                </a:cubicBezTo>
                <a:cubicBezTo>
                  <a:pt x="743288" y="2988463"/>
                  <a:pt x="682798" y="3048268"/>
                  <a:pt x="607702" y="3048268"/>
                </a:cubicBezTo>
                <a:close/>
                <a:moveTo>
                  <a:pt x="1036018" y="3994592"/>
                </a:moveTo>
                <a:cubicBezTo>
                  <a:pt x="1073561" y="4062033"/>
                  <a:pt x="1051319" y="4144785"/>
                  <a:pt x="983174" y="4182328"/>
                </a:cubicBezTo>
                <a:lnTo>
                  <a:pt x="577804" y="4415262"/>
                </a:lnTo>
                <a:cubicBezTo>
                  <a:pt x="555552" y="4430563"/>
                  <a:pt x="532606" y="4430563"/>
                  <a:pt x="510363" y="4430563"/>
                </a:cubicBezTo>
                <a:cubicBezTo>
                  <a:pt x="465165" y="4430563"/>
                  <a:pt x="413015" y="4408311"/>
                  <a:pt x="390078" y="4363122"/>
                </a:cubicBezTo>
                <a:cubicBezTo>
                  <a:pt x="352535" y="4295681"/>
                  <a:pt x="374777" y="4212929"/>
                  <a:pt x="442922" y="4175386"/>
                </a:cubicBezTo>
                <a:lnTo>
                  <a:pt x="848292" y="3942452"/>
                </a:lnTo>
                <a:cubicBezTo>
                  <a:pt x="908078" y="3904195"/>
                  <a:pt x="998465" y="3927141"/>
                  <a:pt x="1036018" y="3994592"/>
                </a:cubicBezTo>
                <a:close/>
                <a:moveTo>
                  <a:pt x="1876654" y="4978460"/>
                </a:moveTo>
                <a:lnTo>
                  <a:pt x="1644414" y="5383830"/>
                </a:lnTo>
                <a:cubicBezTo>
                  <a:pt x="1622162" y="5429028"/>
                  <a:pt x="1569318" y="5451271"/>
                  <a:pt x="1524129" y="5451271"/>
                </a:cubicBezTo>
                <a:cubicBezTo>
                  <a:pt x="1501877" y="5451271"/>
                  <a:pt x="1478931" y="5443625"/>
                  <a:pt x="1456688" y="5435970"/>
                </a:cubicBezTo>
                <a:cubicBezTo>
                  <a:pt x="1389247" y="5398427"/>
                  <a:pt x="1366301" y="5315685"/>
                  <a:pt x="1403844" y="5248234"/>
                </a:cubicBezTo>
                <a:lnTo>
                  <a:pt x="1636778" y="4842865"/>
                </a:lnTo>
                <a:cubicBezTo>
                  <a:pt x="1674321" y="4775424"/>
                  <a:pt x="1757063" y="4752477"/>
                  <a:pt x="1824514" y="4790021"/>
                </a:cubicBezTo>
                <a:cubicBezTo>
                  <a:pt x="1891946" y="4828268"/>
                  <a:pt x="1914198" y="4910316"/>
                  <a:pt x="1876654" y="4978460"/>
                </a:cubicBezTo>
                <a:close/>
                <a:moveTo>
                  <a:pt x="3048258" y="5218346"/>
                </a:moveTo>
                <a:lnTo>
                  <a:pt x="3048258" y="5691157"/>
                </a:lnTo>
                <a:cubicBezTo>
                  <a:pt x="3048258" y="5766252"/>
                  <a:pt x="2988462" y="5826048"/>
                  <a:pt x="2913366" y="5826048"/>
                </a:cubicBezTo>
                <a:cubicBezTo>
                  <a:pt x="2838270" y="5826048"/>
                  <a:pt x="2778475" y="5766252"/>
                  <a:pt x="2778475" y="5691157"/>
                </a:cubicBezTo>
                <a:lnTo>
                  <a:pt x="2778475" y="5218346"/>
                </a:lnTo>
                <a:cubicBezTo>
                  <a:pt x="2778475" y="5143250"/>
                  <a:pt x="2838270" y="5083454"/>
                  <a:pt x="2913366" y="5083454"/>
                </a:cubicBezTo>
                <a:cubicBezTo>
                  <a:pt x="2988462" y="5075799"/>
                  <a:pt x="3048258" y="5143250"/>
                  <a:pt x="3048258" y="5218346"/>
                </a:cubicBezTo>
                <a:close/>
                <a:moveTo>
                  <a:pt x="4415253" y="5248243"/>
                </a:moveTo>
                <a:cubicBezTo>
                  <a:pt x="4452796" y="5315685"/>
                  <a:pt x="4430554" y="5398436"/>
                  <a:pt x="4362409" y="5435979"/>
                </a:cubicBezTo>
                <a:cubicBezTo>
                  <a:pt x="4340156" y="5443625"/>
                  <a:pt x="4317210" y="5451280"/>
                  <a:pt x="4294968" y="5451280"/>
                </a:cubicBezTo>
                <a:cubicBezTo>
                  <a:pt x="4249769" y="5451280"/>
                  <a:pt x="4197619" y="5429028"/>
                  <a:pt x="4174673" y="5383839"/>
                </a:cubicBezTo>
                <a:lnTo>
                  <a:pt x="3941738" y="4978470"/>
                </a:lnTo>
                <a:cubicBezTo>
                  <a:pt x="3904195" y="4911028"/>
                  <a:pt x="3926438" y="4828277"/>
                  <a:pt x="3994583" y="4790734"/>
                </a:cubicBezTo>
                <a:cubicBezTo>
                  <a:pt x="4062024" y="4753191"/>
                  <a:pt x="4144775" y="4775433"/>
                  <a:pt x="4182318" y="4843578"/>
                </a:cubicBezTo>
                <a:lnTo>
                  <a:pt x="4415253" y="5248243"/>
                </a:lnTo>
                <a:close/>
                <a:moveTo>
                  <a:pt x="5429019" y="4370054"/>
                </a:moveTo>
                <a:cubicBezTo>
                  <a:pt x="5406766" y="4415253"/>
                  <a:pt x="5353922" y="4437496"/>
                  <a:pt x="5308724" y="4437496"/>
                </a:cubicBezTo>
                <a:cubicBezTo>
                  <a:pt x="5286472" y="4437496"/>
                  <a:pt x="5263525" y="4429850"/>
                  <a:pt x="5241283" y="4422195"/>
                </a:cubicBezTo>
                <a:lnTo>
                  <a:pt x="4835914" y="4189260"/>
                </a:lnTo>
                <a:cubicBezTo>
                  <a:pt x="4768472" y="4151717"/>
                  <a:pt x="4745526" y="4068975"/>
                  <a:pt x="4783069" y="4001525"/>
                </a:cubicBezTo>
                <a:cubicBezTo>
                  <a:pt x="4820613" y="3934083"/>
                  <a:pt x="4903364" y="3911137"/>
                  <a:pt x="4970805" y="3948680"/>
                </a:cubicBezTo>
                <a:lnTo>
                  <a:pt x="5376174" y="4181615"/>
                </a:lnTo>
                <a:cubicBezTo>
                  <a:pt x="5443625" y="4219871"/>
                  <a:pt x="5466562" y="4302613"/>
                  <a:pt x="5429019" y="4370054"/>
                </a:cubicBezTo>
                <a:close/>
                <a:moveTo>
                  <a:pt x="5819087" y="2913376"/>
                </a:moveTo>
                <a:cubicBezTo>
                  <a:pt x="5819087" y="2988472"/>
                  <a:pt x="5759292" y="3048268"/>
                  <a:pt x="5684195" y="3048268"/>
                </a:cubicBezTo>
                <a:lnTo>
                  <a:pt x="5211385" y="3048268"/>
                </a:lnTo>
                <a:cubicBezTo>
                  <a:pt x="5136289" y="3048268"/>
                  <a:pt x="5076493" y="2988472"/>
                  <a:pt x="5076493" y="2913376"/>
                </a:cubicBezTo>
                <a:cubicBezTo>
                  <a:pt x="5076493" y="2838280"/>
                  <a:pt x="5136289" y="2778484"/>
                  <a:pt x="5211385" y="2778484"/>
                </a:cubicBezTo>
                <a:lnTo>
                  <a:pt x="5684195" y="2778484"/>
                </a:lnTo>
                <a:cubicBezTo>
                  <a:pt x="5759292" y="2770135"/>
                  <a:pt x="5819087" y="2838280"/>
                  <a:pt x="5819087" y="2913376"/>
                </a:cubicBezTo>
                <a:close/>
                <a:moveTo>
                  <a:pt x="4783069" y="1831465"/>
                </a:moveTo>
                <a:cubicBezTo>
                  <a:pt x="4745526" y="1764024"/>
                  <a:pt x="4767769" y="1681273"/>
                  <a:pt x="4835914" y="1643730"/>
                </a:cubicBezTo>
                <a:lnTo>
                  <a:pt x="5241283" y="1410795"/>
                </a:lnTo>
                <a:cubicBezTo>
                  <a:pt x="5308724" y="1373252"/>
                  <a:pt x="5391475" y="1395495"/>
                  <a:pt x="5429019" y="1463639"/>
                </a:cubicBezTo>
                <a:cubicBezTo>
                  <a:pt x="5466562" y="1531080"/>
                  <a:pt x="5444319" y="1613832"/>
                  <a:pt x="5376174" y="1651375"/>
                </a:cubicBezTo>
                <a:lnTo>
                  <a:pt x="4970805" y="1884309"/>
                </a:lnTo>
                <a:cubicBezTo>
                  <a:pt x="4948553" y="1899610"/>
                  <a:pt x="4925607" y="1899610"/>
                  <a:pt x="4903364" y="1899610"/>
                </a:cubicBezTo>
                <a:cubicBezTo>
                  <a:pt x="4858166" y="1899601"/>
                  <a:pt x="4812967" y="1876654"/>
                  <a:pt x="4783069" y="1831465"/>
                </a:cubicBezTo>
                <a:close/>
                <a:moveTo>
                  <a:pt x="3941738" y="848282"/>
                </a:moveTo>
                <a:lnTo>
                  <a:pt x="4174673" y="442913"/>
                </a:lnTo>
                <a:cubicBezTo>
                  <a:pt x="4212216" y="375472"/>
                  <a:pt x="4294968" y="352525"/>
                  <a:pt x="4362409" y="390069"/>
                </a:cubicBezTo>
                <a:cubicBezTo>
                  <a:pt x="4429850" y="427612"/>
                  <a:pt x="4452796" y="510354"/>
                  <a:pt x="4415253" y="577804"/>
                </a:cubicBezTo>
                <a:lnTo>
                  <a:pt x="4182318" y="983174"/>
                </a:lnTo>
                <a:cubicBezTo>
                  <a:pt x="4160066" y="1028372"/>
                  <a:pt x="4107222" y="1050615"/>
                  <a:pt x="4062024" y="1050615"/>
                </a:cubicBezTo>
                <a:cubicBezTo>
                  <a:pt x="4039772" y="1050615"/>
                  <a:pt x="4016825" y="1042969"/>
                  <a:pt x="3994583" y="1035314"/>
                </a:cubicBezTo>
                <a:cubicBezTo>
                  <a:pt x="3927142" y="998474"/>
                  <a:pt x="3904195" y="915733"/>
                  <a:pt x="3941738" y="848282"/>
                </a:cubicBez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1" name="Forma libre 292">
            <a:extLst>
              <a:ext uri="{FF2B5EF4-FFF2-40B4-BE49-F238E27FC236}">
                <a16:creationId xmlns:a16="http://schemas.microsoft.com/office/drawing/2014/main" xmlns="" id="{0A471B34-4063-2E46-AA07-E4D9214F7D95}"/>
              </a:ext>
            </a:extLst>
          </p:cNvPr>
          <p:cNvSpPr/>
          <p:nvPr/>
        </p:nvSpPr>
        <p:spPr>
          <a:xfrm>
            <a:off x="8073693" y="5288451"/>
            <a:ext cx="166339" cy="354647"/>
          </a:xfrm>
          <a:custGeom>
            <a:avLst/>
            <a:gdLst>
              <a:gd name="connsiteX0" fmla="*/ 2573768 w 3212522"/>
              <a:gd name="connsiteY0" fmla="*/ 0 h 6849340"/>
              <a:gd name="connsiteX1" fmla="*/ 647284 w 3212522"/>
              <a:gd name="connsiteY1" fmla="*/ 0 h 6849340"/>
              <a:gd name="connsiteX2" fmla="*/ 0 w 3212522"/>
              <a:gd name="connsiteY2" fmla="*/ 647284 h 6849340"/>
              <a:gd name="connsiteX3" fmla="*/ 0 w 3212522"/>
              <a:gd name="connsiteY3" fmla="*/ 6209945 h 6849340"/>
              <a:gd name="connsiteX4" fmla="*/ 647284 w 3212522"/>
              <a:gd name="connsiteY4" fmla="*/ 6857230 h 6849340"/>
              <a:gd name="connsiteX5" fmla="*/ 2573768 w 3212522"/>
              <a:gd name="connsiteY5" fmla="*/ 6857230 h 6849340"/>
              <a:gd name="connsiteX6" fmla="*/ 3221052 w 3212522"/>
              <a:gd name="connsiteY6" fmla="*/ 6209945 h 6849340"/>
              <a:gd name="connsiteX7" fmla="*/ 3221052 w 3212522"/>
              <a:gd name="connsiteY7" fmla="*/ 647284 h 6849340"/>
              <a:gd name="connsiteX8" fmla="*/ 2573768 w 3212522"/>
              <a:gd name="connsiteY8" fmla="*/ 0 h 6849340"/>
              <a:gd name="connsiteX9" fmla="*/ 2914321 w 3212522"/>
              <a:gd name="connsiteY9" fmla="*/ 6209945 h 6849340"/>
              <a:gd name="connsiteX10" fmla="*/ 2573768 w 3212522"/>
              <a:gd name="connsiteY10" fmla="*/ 6550498 h 6849340"/>
              <a:gd name="connsiteX11" fmla="*/ 647284 w 3212522"/>
              <a:gd name="connsiteY11" fmla="*/ 6550498 h 6849340"/>
              <a:gd name="connsiteX12" fmla="*/ 306731 w 3212522"/>
              <a:gd name="connsiteY12" fmla="*/ 6209945 h 6849340"/>
              <a:gd name="connsiteX13" fmla="*/ 306731 w 3212522"/>
              <a:gd name="connsiteY13" fmla="*/ 647284 h 6849340"/>
              <a:gd name="connsiteX14" fmla="*/ 647284 w 3212522"/>
              <a:gd name="connsiteY14" fmla="*/ 306731 h 6849340"/>
              <a:gd name="connsiteX15" fmla="*/ 2573768 w 3212522"/>
              <a:gd name="connsiteY15" fmla="*/ 306731 h 6849340"/>
              <a:gd name="connsiteX16" fmla="*/ 2914321 w 3212522"/>
              <a:gd name="connsiteY16" fmla="*/ 647284 h 6849340"/>
              <a:gd name="connsiteX17" fmla="*/ 2914321 w 3212522"/>
              <a:gd name="connsiteY17" fmla="*/ 6209945 h 6849340"/>
              <a:gd name="connsiteX18" fmla="*/ 2914321 w 3212522"/>
              <a:gd name="connsiteY18" fmla="*/ 6209945 h 6849340"/>
              <a:gd name="connsiteX19" fmla="*/ 1610530 w 3212522"/>
              <a:gd name="connsiteY19" fmla="*/ 804880 h 6849340"/>
              <a:gd name="connsiteX20" fmla="*/ 830251 w 3212522"/>
              <a:gd name="connsiteY20" fmla="*/ 1585159 h 6849340"/>
              <a:gd name="connsiteX21" fmla="*/ 1610530 w 3212522"/>
              <a:gd name="connsiteY21" fmla="*/ 2365439 h 6849340"/>
              <a:gd name="connsiteX22" fmla="*/ 2390810 w 3212522"/>
              <a:gd name="connsiteY22" fmla="*/ 1585159 h 6849340"/>
              <a:gd name="connsiteX23" fmla="*/ 1610530 w 3212522"/>
              <a:gd name="connsiteY23" fmla="*/ 804880 h 6849340"/>
              <a:gd name="connsiteX24" fmla="*/ 1610530 w 3212522"/>
              <a:gd name="connsiteY24" fmla="*/ 2058708 h 6849340"/>
              <a:gd name="connsiteX25" fmla="*/ 1136982 w 3212522"/>
              <a:gd name="connsiteY25" fmla="*/ 1585159 h 6849340"/>
              <a:gd name="connsiteX26" fmla="*/ 1610530 w 3212522"/>
              <a:gd name="connsiteY26" fmla="*/ 1111611 h 6849340"/>
              <a:gd name="connsiteX27" fmla="*/ 2084079 w 3212522"/>
              <a:gd name="connsiteY27" fmla="*/ 1585159 h 6849340"/>
              <a:gd name="connsiteX28" fmla="*/ 1610530 w 3212522"/>
              <a:gd name="connsiteY28" fmla="*/ 2058708 h 6849340"/>
              <a:gd name="connsiteX29" fmla="*/ 1610530 w 3212522"/>
              <a:gd name="connsiteY29" fmla="*/ 2672940 h 6849340"/>
              <a:gd name="connsiteX30" fmla="*/ 830251 w 3212522"/>
              <a:gd name="connsiteY30" fmla="*/ 3453220 h 6849340"/>
              <a:gd name="connsiteX31" fmla="*/ 1610530 w 3212522"/>
              <a:gd name="connsiteY31" fmla="*/ 4233499 h 6849340"/>
              <a:gd name="connsiteX32" fmla="*/ 2390810 w 3212522"/>
              <a:gd name="connsiteY32" fmla="*/ 3453220 h 6849340"/>
              <a:gd name="connsiteX33" fmla="*/ 1610530 w 3212522"/>
              <a:gd name="connsiteY33" fmla="*/ 2672940 h 6849340"/>
              <a:gd name="connsiteX34" fmla="*/ 1610530 w 3212522"/>
              <a:gd name="connsiteY34" fmla="*/ 3926768 h 6849340"/>
              <a:gd name="connsiteX35" fmla="*/ 1136982 w 3212522"/>
              <a:gd name="connsiteY35" fmla="*/ 3453220 h 6849340"/>
              <a:gd name="connsiteX36" fmla="*/ 1610530 w 3212522"/>
              <a:gd name="connsiteY36" fmla="*/ 2979671 h 6849340"/>
              <a:gd name="connsiteX37" fmla="*/ 2084079 w 3212522"/>
              <a:gd name="connsiteY37" fmla="*/ 3453220 h 6849340"/>
              <a:gd name="connsiteX38" fmla="*/ 1610530 w 3212522"/>
              <a:gd name="connsiteY38" fmla="*/ 3926768 h 6849340"/>
              <a:gd name="connsiteX39" fmla="*/ 1610530 w 3212522"/>
              <a:gd name="connsiteY39" fmla="*/ 4540992 h 6849340"/>
              <a:gd name="connsiteX40" fmla="*/ 830251 w 3212522"/>
              <a:gd name="connsiteY40" fmla="*/ 5321272 h 6849340"/>
              <a:gd name="connsiteX41" fmla="*/ 1610530 w 3212522"/>
              <a:gd name="connsiteY41" fmla="*/ 6101551 h 6849340"/>
              <a:gd name="connsiteX42" fmla="*/ 2390810 w 3212522"/>
              <a:gd name="connsiteY42" fmla="*/ 5321272 h 6849340"/>
              <a:gd name="connsiteX43" fmla="*/ 1610530 w 3212522"/>
              <a:gd name="connsiteY43" fmla="*/ 4540992 h 6849340"/>
              <a:gd name="connsiteX44" fmla="*/ 1610530 w 3212522"/>
              <a:gd name="connsiteY44" fmla="*/ 5803280 h 6849340"/>
              <a:gd name="connsiteX45" fmla="*/ 1136982 w 3212522"/>
              <a:gd name="connsiteY45" fmla="*/ 5329731 h 6849340"/>
              <a:gd name="connsiteX46" fmla="*/ 1610530 w 3212522"/>
              <a:gd name="connsiteY46" fmla="*/ 4856183 h 6849340"/>
              <a:gd name="connsiteX47" fmla="*/ 2084079 w 3212522"/>
              <a:gd name="connsiteY47" fmla="*/ 5329731 h 6849340"/>
              <a:gd name="connsiteX48" fmla="*/ 1610530 w 3212522"/>
              <a:gd name="connsiteY48" fmla="*/ 5803280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3212522" h="6849340">
                <a:moveTo>
                  <a:pt x="2573768" y="0"/>
                </a:moveTo>
                <a:lnTo>
                  <a:pt x="647284" y="0"/>
                </a:lnTo>
                <a:cubicBezTo>
                  <a:pt x="290582" y="0"/>
                  <a:pt x="0" y="290590"/>
                  <a:pt x="0" y="647284"/>
                </a:cubicBezTo>
                <a:lnTo>
                  <a:pt x="0" y="6209945"/>
                </a:lnTo>
                <a:cubicBezTo>
                  <a:pt x="0" y="6566648"/>
                  <a:pt x="290590" y="6857230"/>
                  <a:pt x="647284" y="6857230"/>
                </a:cubicBezTo>
                <a:lnTo>
                  <a:pt x="2573768" y="6857230"/>
                </a:lnTo>
                <a:cubicBezTo>
                  <a:pt x="2930470" y="6857230"/>
                  <a:pt x="3221052" y="6566639"/>
                  <a:pt x="3221052" y="6209945"/>
                </a:cubicBezTo>
                <a:lnTo>
                  <a:pt x="3221052" y="647284"/>
                </a:lnTo>
                <a:cubicBezTo>
                  <a:pt x="3221052" y="290590"/>
                  <a:pt x="2930470" y="0"/>
                  <a:pt x="2573768" y="0"/>
                </a:cubicBezTo>
                <a:close/>
                <a:moveTo>
                  <a:pt x="2914321" y="6209945"/>
                </a:moveTo>
                <a:cubicBezTo>
                  <a:pt x="2914321" y="6400593"/>
                  <a:pt x="2765186" y="6550498"/>
                  <a:pt x="2573768" y="6550498"/>
                </a:cubicBezTo>
                <a:lnTo>
                  <a:pt x="647284" y="6550498"/>
                </a:lnTo>
                <a:cubicBezTo>
                  <a:pt x="456637" y="6550498"/>
                  <a:pt x="306731" y="6401363"/>
                  <a:pt x="306731" y="6209945"/>
                </a:cubicBezTo>
                <a:lnTo>
                  <a:pt x="306731" y="647284"/>
                </a:lnTo>
                <a:cubicBezTo>
                  <a:pt x="306731" y="456637"/>
                  <a:pt x="455867" y="306731"/>
                  <a:pt x="647284" y="306731"/>
                </a:cubicBezTo>
                <a:lnTo>
                  <a:pt x="2573768" y="306731"/>
                </a:lnTo>
                <a:cubicBezTo>
                  <a:pt x="2764415" y="306731"/>
                  <a:pt x="2914321" y="455867"/>
                  <a:pt x="2914321" y="647284"/>
                </a:cubicBezTo>
                <a:lnTo>
                  <a:pt x="2914321" y="6209945"/>
                </a:lnTo>
                <a:lnTo>
                  <a:pt x="2914321" y="6209945"/>
                </a:lnTo>
                <a:close/>
                <a:moveTo>
                  <a:pt x="1610530" y="804880"/>
                </a:moveTo>
                <a:cubicBezTo>
                  <a:pt x="1178494" y="804880"/>
                  <a:pt x="830251" y="1153893"/>
                  <a:pt x="830251" y="1585159"/>
                </a:cubicBezTo>
                <a:cubicBezTo>
                  <a:pt x="830251" y="2016425"/>
                  <a:pt x="1179264" y="2365439"/>
                  <a:pt x="1610530" y="2365439"/>
                </a:cubicBezTo>
                <a:cubicBezTo>
                  <a:pt x="2042567" y="2365439"/>
                  <a:pt x="2390810" y="2016425"/>
                  <a:pt x="2390810" y="1585159"/>
                </a:cubicBezTo>
                <a:cubicBezTo>
                  <a:pt x="2390810" y="1153893"/>
                  <a:pt x="2042567" y="804880"/>
                  <a:pt x="1610530" y="804880"/>
                </a:cubicBezTo>
                <a:close/>
                <a:moveTo>
                  <a:pt x="1610530" y="2058708"/>
                </a:moveTo>
                <a:cubicBezTo>
                  <a:pt x="1344540" y="2058708"/>
                  <a:pt x="1136982" y="1842689"/>
                  <a:pt x="1136982" y="1585159"/>
                </a:cubicBezTo>
                <a:cubicBezTo>
                  <a:pt x="1136982" y="1319169"/>
                  <a:pt x="1353000" y="1111611"/>
                  <a:pt x="1610530" y="1111611"/>
                </a:cubicBezTo>
                <a:cubicBezTo>
                  <a:pt x="1876520" y="1111611"/>
                  <a:pt x="2084079" y="1327629"/>
                  <a:pt x="2084079" y="1585159"/>
                </a:cubicBezTo>
                <a:cubicBezTo>
                  <a:pt x="2084079" y="1851149"/>
                  <a:pt x="1876512" y="2058708"/>
                  <a:pt x="1610530" y="2058708"/>
                </a:cubicBezTo>
                <a:close/>
                <a:moveTo>
                  <a:pt x="1610530" y="2672940"/>
                </a:moveTo>
                <a:cubicBezTo>
                  <a:pt x="1178494" y="2672940"/>
                  <a:pt x="830251" y="3021954"/>
                  <a:pt x="830251" y="3453220"/>
                </a:cubicBezTo>
                <a:cubicBezTo>
                  <a:pt x="830251" y="3884486"/>
                  <a:pt x="1179264" y="4233499"/>
                  <a:pt x="1610530" y="4233499"/>
                </a:cubicBezTo>
                <a:cubicBezTo>
                  <a:pt x="2042567" y="4233499"/>
                  <a:pt x="2390810" y="3884486"/>
                  <a:pt x="2390810" y="3453220"/>
                </a:cubicBezTo>
                <a:cubicBezTo>
                  <a:pt x="2390810" y="3021954"/>
                  <a:pt x="2042567" y="2672940"/>
                  <a:pt x="1610530" y="2672940"/>
                </a:cubicBezTo>
                <a:close/>
                <a:moveTo>
                  <a:pt x="1610530" y="3926768"/>
                </a:moveTo>
                <a:cubicBezTo>
                  <a:pt x="1344540" y="3926768"/>
                  <a:pt x="1136982" y="3710750"/>
                  <a:pt x="1136982" y="3453220"/>
                </a:cubicBezTo>
                <a:cubicBezTo>
                  <a:pt x="1136982" y="3187230"/>
                  <a:pt x="1353000" y="2979671"/>
                  <a:pt x="1610530" y="2979671"/>
                </a:cubicBezTo>
                <a:cubicBezTo>
                  <a:pt x="1876520" y="2979671"/>
                  <a:pt x="2084079" y="3195690"/>
                  <a:pt x="2084079" y="3453220"/>
                </a:cubicBezTo>
                <a:cubicBezTo>
                  <a:pt x="2084079" y="3719201"/>
                  <a:pt x="1876512" y="3926768"/>
                  <a:pt x="1610530" y="3926768"/>
                </a:cubicBezTo>
                <a:close/>
                <a:moveTo>
                  <a:pt x="1610530" y="4540992"/>
                </a:moveTo>
                <a:cubicBezTo>
                  <a:pt x="1178494" y="4540992"/>
                  <a:pt x="830251" y="4890005"/>
                  <a:pt x="830251" y="5321272"/>
                </a:cubicBezTo>
                <a:cubicBezTo>
                  <a:pt x="830251" y="5753308"/>
                  <a:pt x="1179264" y="6101551"/>
                  <a:pt x="1610530" y="6101551"/>
                </a:cubicBezTo>
                <a:cubicBezTo>
                  <a:pt x="2042567" y="6101551"/>
                  <a:pt x="2390810" y="5752538"/>
                  <a:pt x="2390810" y="5321272"/>
                </a:cubicBezTo>
                <a:cubicBezTo>
                  <a:pt x="2390810" y="4890005"/>
                  <a:pt x="2042567" y="4540992"/>
                  <a:pt x="1610530" y="4540992"/>
                </a:cubicBezTo>
                <a:close/>
                <a:moveTo>
                  <a:pt x="1610530" y="5803280"/>
                </a:moveTo>
                <a:cubicBezTo>
                  <a:pt x="1344540" y="5803280"/>
                  <a:pt x="1136982" y="5587261"/>
                  <a:pt x="1136982" y="5329731"/>
                </a:cubicBezTo>
                <a:cubicBezTo>
                  <a:pt x="1136982" y="5063741"/>
                  <a:pt x="1353000" y="4856183"/>
                  <a:pt x="1610530" y="4856183"/>
                </a:cubicBezTo>
                <a:cubicBezTo>
                  <a:pt x="1876520" y="4856183"/>
                  <a:pt x="2084079" y="5072201"/>
                  <a:pt x="2084079" y="5329731"/>
                </a:cubicBezTo>
                <a:cubicBezTo>
                  <a:pt x="2084079" y="5587261"/>
                  <a:pt x="1876512" y="5803280"/>
                  <a:pt x="1610530" y="5803280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2" name="Forma libre 294">
            <a:extLst>
              <a:ext uri="{FF2B5EF4-FFF2-40B4-BE49-F238E27FC236}">
                <a16:creationId xmlns:a16="http://schemas.microsoft.com/office/drawing/2014/main" xmlns="" id="{249CE053-0289-3842-A6EF-B8B58748A310}"/>
              </a:ext>
            </a:extLst>
          </p:cNvPr>
          <p:cNvSpPr/>
          <p:nvPr/>
        </p:nvSpPr>
        <p:spPr>
          <a:xfrm>
            <a:off x="5036126" y="5923134"/>
            <a:ext cx="244352" cy="355095"/>
          </a:xfrm>
          <a:custGeom>
            <a:avLst/>
            <a:gdLst>
              <a:gd name="connsiteX0" fmla="*/ 4692319 w 4719204"/>
              <a:gd name="connsiteY0" fmla="*/ 4215047 h 6858000"/>
              <a:gd name="connsiteX1" fmla="*/ 4318575 w 4719204"/>
              <a:gd name="connsiteY1" fmla="*/ 3118996 h 6858000"/>
              <a:gd name="connsiteX2" fmla="*/ 2763800 w 4719204"/>
              <a:gd name="connsiteY2" fmla="*/ 339913 h 6858000"/>
              <a:gd name="connsiteX3" fmla="*/ 2696129 w 4719204"/>
              <a:gd name="connsiteY3" fmla="*/ 221101 h 6858000"/>
              <a:gd name="connsiteX4" fmla="*/ 2364876 w 4719204"/>
              <a:gd name="connsiteY4" fmla="*/ 0 h 6858000"/>
              <a:gd name="connsiteX5" fmla="*/ 2024963 w 4719204"/>
              <a:gd name="connsiteY5" fmla="*/ 221101 h 6858000"/>
              <a:gd name="connsiteX6" fmla="*/ 2024963 w 4719204"/>
              <a:gd name="connsiteY6" fmla="*/ 229760 h 6858000"/>
              <a:gd name="connsiteX7" fmla="*/ 1906152 w 4719204"/>
              <a:gd name="connsiteY7" fmla="*/ 417022 h 6858000"/>
              <a:gd name="connsiteX8" fmla="*/ 1260167 w 4719204"/>
              <a:gd name="connsiteY8" fmla="*/ 1470582 h 6858000"/>
              <a:gd name="connsiteX9" fmla="*/ 206606 w 4719204"/>
              <a:gd name="connsiteY9" fmla="*/ 3577711 h 6858000"/>
              <a:gd name="connsiteX10" fmla="*/ 2814 w 4719204"/>
              <a:gd name="connsiteY10" fmla="*/ 4393649 h 6858000"/>
              <a:gd name="connsiteX11" fmla="*/ 801442 w 4719204"/>
              <a:gd name="connsiteY11" fmla="*/ 6263155 h 6858000"/>
              <a:gd name="connsiteX12" fmla="*/ 2356217 w 4719204"/>
              <a:gd name="connsiteY12" fmla="*/ 6858000 h 6858000"/>
              <a:gd name="connsiteX13" fmla="*/ 2356217 w 4719204"/>
              <a:gd name="connsiteY13" fmla="*/ 6858000 h 6858000"/>
              <a:gd name="connsiteX14" fmla="*/ 4378366 w 4719204"/>
              <a:gd name="connsiteY14" fmla="*/ 5710801 h 6858000"/>
              <a:gd name="connsiteX15" fmla="*/ 4692319 w 4719204"/>
              <a:gd name="connsiteY15" fmla="*/ 4215047 h 6858000"/>
              <a:gd name="connsiteX16" fmla="*/ 4106124 w 4719204"/>
              <a:gd name="connsiteY16" fmla="*/ 5549508 h 6858000"/>
              <a:gd name="connsiteX17" fmla="*/ 2355429 w 4719204"/>
              <a:gd name="connsiteY17" fmla="*/ 6543268 h 6858000"/>
              <a:gd name="connsiteX18" fmla="*/ 1004446 w 4719204"/>
              <a:gd name="connsiteY18" fmla="*/ 6033404 h 6858000"/>
              <a:gd name="connsiteX19" fmla="*/ 307320 w 4719204"/>
              <a:gd name="connsiteY19" fmla="*/ 4410179 h 6858000"/>
              <a:gd name="connsiteX20" fmla="*/ 494582 w 4719204"/>
              <a:gd name="connsiteY20" fmla="*/ 3696523 h 6858000"/>
              <a:gd name="connsiteX21" fmla="*/ 1522970 w 4719204"/>
              <a:gd name="connsiteY21" fmla="*/ 1631884 h 6858000"/>
              <a:gd name="connsiteX22" fmla="*/ 2168956 w 4719204"/>
              <a:gd name="connsiteY22" fmla="*/ 586974 h 6858000"/>
              <a:gd name="connsiteX23" fmla="*/ 2279108 w 4719204"/>
              <a:gd name="connsiteY23" fmla="*/ 408363 h 6858000"/>
              <a:gd name="connsiteX24" fmla="*/ 2287767 w 4719204"/>
              <a:gd name="connsiteY24" fmla="*/ 391053 h 6858000"/>
              <a:gd name="connsiteX25" fmla="*/ 2355438 w 4719204"/>
              <a:gd name="connsiteY25" fmla="*/ 314732 h 6858000"/>
              <a:gd name="connsiteX26" fmla="*/ 2423108 w 4719204"/>
              <a:gd name="connsiteY26" fmla="*/ 391053 h 6858000"/>
              <a:gd name="connsiteX27" fmla="*/ 2490779 w 4719204"/>
              <a:gd name="connsiteY27" fmla="*/ 501206 h 6858000"/>
              <a:gd name="connsiteX28" fmla="*/ 4020373 w 4719204"/>
              <a:gd name="connsiteY28" fmla="*/ 3237799 h 6858000"/>
              <a:gd name="connsiteX29" fmla="*/ 4368936 w 4719204"/>
              <a:gd name="connsiteY29" fmla="*/ 4257528 h 6858000"/>
              <a:gd name="connsiteX30" fmla="*/ 4106124 w 4719204"/>
              <a:gd name="connsiteY30" fmla="*/ 5549508 h 6858000"/>
              <a:gd name="connsiteX31" fmla="*/ 2508080 w 4719204"/>
              <a:gd name="connsiteY31" fmla="*/ 5735981 h 6858000"/>
              <a:gd name="connsiteX32" fmla="*/ 2355438 w 4719204"/>
              <a:gd name="connsiteY32" fmla="*/ 5888624 h 6858000"/>
              <a:gd name="connsiteX33" fmla="*/ 961965 w 4719204"/>
              <a:gd name="connsiteY33" fmla="*/ 4495151 h 6858000"/>
              <a:gd name="connsiteX34" fmla="*/ 1114607 w 4719204"/>
              <a:gd name="connsiteY34" fmla="*/ 4342508 h 6858000"/>
              <a:gd name="connsiteX35" fmla="*/ 1267250 w 4719204"/>
              <a:gd name="connsiteY35" fmla="*/ 4495151 h 6858000"/>
              <a:gd name="connsiteX36" fmla="*/ 2355429 w 4719204"/>
              <a:gd name="connsiteY36" fmla="*/ 5574680 h 6858000"/>
              <a:gd name="connsiteX37" fmla="*/ 2508080 w 4719204"/>
              <a:gd name="connsiteY37" fmla="*/ 57359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719204" h="6858000">
                <a:moveTo>
                  <a:pt x="4692319" y="4215047"/>
                </a:moveTo>
                <a:cubicBezTo>
                  <a:pt x="4624648" y="3815334"/>
                  <a:pt x="4471218" y="3450250"/>
                  <a:pt x="4318575" y="3118996"/>
                </a:cubicBezTo>
                <a:cubicBezTo>
                  <a:pt x="3859851" y="2107917"/>
                  <a:pt x="3307496" y="1189681"/>
                  <a:pt x="2763800" y="339913"/>
                </a:cubicBezTo>
                <a:lnTo>
                  <a:pt x="2696129" y="221101"/>
                </a:lnTo>
                <a:cubicBezTo>
                  <a:pt x="2602499" y="76321"/>
                  <a:pt x="2492338" y="0"/>
                  <a:pt x="2364876" y="0"/>
                </a:cubicBezTo>
                <a:cubicBezTo>
                  <a:pt x="2177615" y="0"/>
                  <a:pt x="2058803" y="169952"/>
                  <a:pt x="2024963" y="221101"/>
                </a:cubicBezTo>
                <a:cubicBezTo>
                  <a:pt x="2024963" y="221101"/>
                  <a:pt x="2024963" y="221101"/>
                  <a:pt x="2024963" y="229760"/>
                </a:cubicBezTo>
                <a:lnTo>
                  <a:pt x="1906152" y="417022"/>
                </a:lnTo>
                <a:cubicBezTo>
                  <a:pt x="1693710" y="756934"/>
                  <a:pt x="1472609" y="1114148"/>
                  <a:pt x="1260167" y="1470582"/>
                </a:cubicBezTo>
                <a:cubicBezTo>
                  <a:pt x="928913" y="2031596"/>
                  <a:pt x="512679" y="2779083"/>
                  <a:pt x="206606" y="3577711"/>
                </a:cubicBezTo>
                <a:cubicBezTo>
                  <a:pt x="104316" y="3841303"/>
                  <a:pt x="11474" y="4104885"/>
                  <a:pt x="2814" y="4393649"/>
                </a:cubicBezTo>
                <a:cubicBezTo>
                  <a:pt x="-31017" y="5141136"/>
                  <a:pt x="240437" y="5770600"/>
                  <a:pt x="801442" y="6263155"/>
                </a:cubicBezTo>
                <a:cubicBezTo>
                  <a:pt x="1234986" y="6645558"/>
                  <a:pt x="1787341" y="6858000"/>
                  <a:pt x="2356217" y="6858000"/>
                </a:cubicBezTo>
                <a:lnTo>
                  <a:pt x="2356217" y="6858000"/>
                </a:lnTo>
                <a:cubicBezTo>
                  <a:pt x="3188685" y="6858000"/>
                  <a:pt x="3945611" y="6433116"/>
                  <a:pt x="4378366" y="5710801"/>
                </a:cubicBezTo>
                <a:cubicBezTo>
                  <a:pt x="4667138" y="5234776"/>
                  <a:pt x="4777290" y="4724911"/>
                  <a:pt x="4692319" y="4215047"/>
                </a:cubicBezTo>
                <a:close/>
                <a:moveTo>
                  <a:pt x="4106124" y="5549508"/>
                </a:moveTo>
                <a:cubicBezTo>
                  <a:pt x="3732380" y="6178184"/>
                  <a:pt x="3077736" y="6543268"/>
                  <a:pt x="2355429" y="6543268"/>
                </a:cubicBezTo>
                <a:cubicBezTo>
                  <a:pt x="1862874" y="6543268"/>
                  <a:pt x="1378190" y="6364657"/>
                  <a:pt x="1004446" y="6033404"/>
                </a:cubicBezTo>
                <a:cubicBezTo>
                  <a:pt x="519762" y="5608519"/>
                  <a:pt x="282139" y="5056165"/>
                  <a:pt x="307320" y="4410179"/>
                </a:cubicBezTo>
                <a:cubicBezTo>
                  <a:pt x="315979" y="4172556"/>
                  <a:pt x="392300" y="3942805"/>
                  <a:pt x="494582" y="3696523"/>
                </a:cubicBezTo>
                <a:cubicBezTo>
                  <a:pt x="792004" y="2914416"/>
                  <a:pt x="1199579" y="2184238"/>
                  <a:pt x="1522970" y="1631884"/>
                </a:cubicBezTo>
                <a:cubicBezTo>
                  <a:pt x="1726762" y="1283321"/>
                  <a:pt x="1947854" y="926886"/>
                  <a:pt x="2168956" y="586974"/>
                </a:cubicBezTo>
                <a:lnTo>
                  <a:pt x="2279108" y="408363"/>
                </a:lnTo>
                <a:cubicBezTo>
                  <a:pt x="2279108" y="399704"/>
                  <a:pt x="2287767" y="399704"/>
                  <a:pt x="2287767" y="391053"/>
                </a:cubicBezTo>
                <a:cubicBezTo>
                  <a:pt x="2305076" y="365873"/>
                  <a:pt x="2338907" y="323382"/>
                  <a:pt x="2355438" y="314732"/>
                </a:cubicBezTo>
                <a:cubicBezTo>
                  <a:pt x="2355438" y="314732"/>
                  <a:pt x="2380618" y="323391"/>
                  <a:pt x="2423108" y="391053"/>
                </a:cubicBezTo>
                <a:lnTo>
                  <a:pt x="2490779" y="501206"/>
                </a:lnTo>
                <a:cubicBezTo>
                  <a:pt x="3017953" y="1333673"/>
                  <a:pt x="3570308" y="2243242"/>
                  <a:pt x="4020373" y="3237799"/>
                </a:cubicBezTo>
                <a:cubicBezTo>
                  <a:pt x="4165153" y="3560402"/>
                  <a:pt x="4309137" y="3900306"/>
                  <a:pt x="4368936" y="4257528"/>
                </a:cubicBezTo>
                <a:cubicBezTo>
                  <a:pt x="4454696" y="4699730"/>
                  <a:pt x="4361056" y="5132486"/>
                  <a:pt x="4106124" y="5549508"/>
                </a:cubicBezTo>
                <a:close/>
                <a:moveTo>
                  <a:pt x="2508080" y="5735981"/>
                </a:moveTo>
                <a:cubicBezTo>
                  <a:pt x="2508080" y="5820962"/>
                  <a:pt x="2440409" y="5888624"/>
                  <a:pt x="2355438" y="5888624"/>
                </a:cubicBezTo>
                <a:cubicBezTo>
                  <a:pt x="1581982" y="5888624"/>
                  <a:pt x="961965" y="5259948"/>
                  <a:pt x="961965" y="4495151"/>
                </a:cubicBezTo>
                <a:cubicBezTo>
                  <a:pt x="961965" y="4410171"/>
                  <a:pt x="1029636" y="4342508"/>
                  <a:pt x="1114607" y="4342508"/>
                </a:cubicBezTo>
                <a:cubicBezTo>
                  <a:pt x="1199588" y="4342508"/>
                  <a:pt x="1267250" y="4410179"/>
                  <a:pt x="1267250" y="4495151"/>
                </a:cubicBezTo>
                <a:cubicBezTo>
                  <a:pt x="1275900" y="5089996"/>
                  <a:pt x="1760593" y="5574680"/>
                  <a:pt x="2355429" y="5574680"/>
                </a:cubicBezTo>
                <a:cubicBezTo>
                  <a:pt x="2440409" y="5574680"/>
                  <a:pt x="2508080" y="5651001"/>
                  <a:pt x="2508080" y="5735981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3" name="Forma libre 296">
            <a:extLst>
              <a:ext uri="{FF2B5EF4-FFF2-40B4-BE49-F238E27FC236}">
                <a16:creationId xmlns:a16="http://schemas.microsoft.com/office/drawing/2014/main" xmlns="" id="{55D98335-B557-5446-8D92-0A9B966B59F2}"/>
              </a:ext>
            </a:extLst>
          </p:cNvPr>
          <p:cNvSpPr/>
          <p:nvPr/>
        </p:nvSpPr>
        <p:spPr>
          <a:xfrm>
            <a:off x="5691910" y="5325181"/>
            <a:ext cx="301338" cy="293447"/>
          </a:xfrm>
          <a:custGeom>
            <a:avLst/>
            <a:gdLst>
              <a:gd name="connsiteX0" fmla="*/ 5828415 w 5819775"/>
              <a:gd name="connsiteY0" fmla="*/ 1176338 h 5667375"/>
              <a:gd name="connsiteX1" fmla="*/ 5828415 w 5819775"/>
              <a:gd name="connsiteY1" fmla="*/ 735463 h 5667375"/>
              <a:gd name="connsiteX2" fmla="*/ 5828415 w 5819775"/>
              <a:gd name="connsiteY2" fmla="*/ 727977 h 5667375"/>
              <a:gd name="connsiteX3" fmla="*/ 5563754 w 5819775"/>
              <a:gd name="connsiteY3" fmla="*/ 455838 h 5667375"/>
              <a:gd name="connsiteX4" fmla="*/ 5556267 w 5819775"/>
              <a:gd name="connsiteY4" fmla="*/ 455838 h 5667375"/>
              <a:gd name="connsiteX5" fmla="*/ 4674528 w 5819775"/>
              <a:gd name="connsiteY5" fmla="*/ 455838 h 5667375"/>
              <a:gd name="connsiteX6" fmla="*/ 4674528 w 5819775"/>
              <a:gd name="connsiteY6" fmla="*/ 257175 h 5667375"/>
              <a:gd name="connsiteX7" fmla="*/ 4417353 w 5819775"/>
              <a:gd name="connsiteY7" fmla="*/ 0 h 5667375"/>
              <a:gd name="connsiteX8" fmla="*/ 1331939 w 5819775"/>
              <a:gd name="connsiteY8" fmla="*/ 0 h 5667375"/>
              <a:gd name="connsiteX9" fmla="*/ 1074764 w 5819775"/>
              <a:gd name="connsiteY9" fmla="*/ 257175 h 5667375"/>
              <a:gd name="connsiteX10" fmla="*/ 1074764 w 5819775"/>
              <a:gd name="connsiteY10" fmla="*/ 455838 h 5667375"/>
              <a:gd name="connsiteX11" fmla="*/ 273978 w 5819775"/>
              <a:gd name="connsiteY11" fmla="*/ 455838 h 5667375"/>
              <a:gd name="connsiteX12" fmla="*/ 266492 w 5819775"/>
              <a:gd name="connsiteY12" fmla="*/ 455838 h 5667375"/>
              <a:gd name="connsiteX13" fmla="*/ 1839 w 5819775"/>
              <a:gd name="connsiteY13" fmla="*/ 727977 h 5667375"/>
              <a:gd name="connsiteX14" fmla="*/ 1839 w 5819775"/>
              <a:gd name="connsiteY14" fmla="*/ 735463 h 5667375"/>
              <a:gd name="connsiteX15" fmla="*/ 1839 w 5819775"/>
              <a:gd name="connsiteY15" fmla="*/ 1176338 h 5667375"/>
              <a:gd name="connsiteX16" fmla="*/ 1177501 w 5819775"/>
              <a:gd name="connsiteY16" fmla="*/ 2624138 h 5667375"/>
              <a:gd name="connsiteX17" fmla="*/ 2368126 w 5819775"/>
              <a:gd name="connsiteY17" fmla="*/ 3748088 h 5667375"/>
              <a:gd name="connsiteX18" fmla="*/ 2368126 w 5819775"/>
              <a:gd name="connsiteY18" fmla="*/ 4475388 h 5667375"/>
              <a:gd name="connsiteX19" fmla="*/ 1397938 w 5819775"/>
              <a:gd name="connsiteY19" fmla="*/ 4938027 h 5667375"/>
              <a:gd name="connsiteX20" fmla="*/ 1390451 w 5819775"/>
              <a:gd name="connsiteY20" fmla="*/ 4945514 h 5667375"/>
              <a:gd name="connsiteX21" fmla="*/ 1177501 w 5819775"/>
              <a:gd name="connsiteY21" fmla="*/ 5276165 h 5667375"/>
              <a:gd name="connsiteX22" fmla="*/ 1177501 w 5819775"/>
              <a:gd name="connsiteY22" fmla="*/ 5423125 h 5667375"/>
              <a:gd name="connsiteX23" fmla="*/ 1177501 w 5819775"/>
              <a:gd name="connsiteY23" fmla="*/ 5430612 h 5667375"/>
              <a:gd name="connsiteX24" fmla="*/ 1449639 w 5819775"/>
              <a:gd name="connsiteY24" fmla="*/ 5672824 h 5667375"/>
              <a:gd name="connsiteX25" fmla="*/ 4307816 w 5819775"/>
              <a:gd name="connsiteY25" fmla="*/ 5672824 h 5667375"/>
              <a:gd name="connsiteX26" fmla="*/ 4579955 w 5819775"/>
              <a:gd name="connsiteY26" fmla="*/ 5430612 h 5667375"/>
              <a:gd name="connsiteX27" fmla="*/ 4579955 w 5819775"/>
              <a:gd name="connsiteY27" fmla="*/ 5423125 h 5667375"/>
              <a:gd name="connsiteX28" fmla="*/ 4579955 w 5819775"/>
              <a:gd name="connsiteY28" fmla="*/ 5276165 h 5667375"/>
              <a:gd name="connsiteX29" fmla="*/ 4367004 w 5819775"/>
              <a:gd name="connsiteY29" fmla="*/ 4945514 h 5667375"/>
              <a:gd name="connsiteX30" fmla="*/ 4359517 w 5819775"/>
              <a:gd name="connsiteY30" fmla="*/ 4938027 h 5667375"/>
              <a:gd name="connsiteX31" fmla="*/ 3404293 w 5819775"/>
              <a:gd name="connsiteY31" fmla="*/ 4482189 h 5667375"/>
              <a:gd name="connsiteX32" fmla="*/ 3404293 w 5819775"/>
              <a:gd name="connsiteY32" fmla="*/ 3741277 h 5667375"/>
              <a:gd name="connsiteX33" fmla="*/ 4572468 w 5819775"/>
              <a:gd name="connsiteY33" fmla="*/ 2631615 h 5667375"/>
              <a:gd name="connsiteX34" fmla="*/ 5520206 w 5819775"/>
              <a:gd name="connsiteY34" fmla="*/ 2168976 h 5667375"/>
              <a:gd name="connsiteX35" fmla="*/ 5828415 w 5819775"/>
              <a:gd name="connsiteY35" fmla="*/ 1176338 h 5667375"/>
              <a:gd name="connsiteX36" fmla="*/ 1104015 w 5819775"/>
              <a:gd name="connsiteY36" fmla="*/ 2337702 h 5667375"/>
              <a:gd name="connsiteX37" fmla="*/ 273978 w 5819775"/>
              <a:gd name="connsiteY37" fmla="*/ 1198788 h 5667375"/>
              <a:gd name="connsiteX38" fmla="*/ 273978 w 5819775"/>
              <a:gd name="connsiteY38" fmla="*/ 1183824 h 5667375"/>
              <a:gd name="connsiteX39" fmla="*/ 273978 w 5819775"/>
              <a:gd name="connsiteY39" fmla="*/ 742950 h 5667375"/>
              <a:gd name="connsiteX40" fmla="*/ 273978 w 5819775"/>
              <a:gd name="connsiteY40" fmla="*/ 727986 h 5667375"/>
              <a:gd name="connsiteX41" fmla="*/ 281465 w 5819775"/>
              <a:gd name="connsiteY41" fmla="*/ 727986 h 5667375"/>
              <a:gd name="connsiteX42" fmla="*/ 1074764 w 5819775"/>
              <a:gd name="connsiteY42" fmla="*/ 727986 h 5667375"/>
              <a:gd name="connsiteX43" fmla="*/ 1074764 w 5819775"/>
              <a:gd name="connsiteY43" fmla="*/ 2021348 h 5667375"/>
              <a:gd name="connsiteX44" fmla="*/ 1082251 w 5819775"/>
              <a:gd name="connsiteY44" fmla="*/ 2168309 h 5667375"/>
              <a:gd name="connsiteX45" fmla="*/ 1082251 w 5819775"/>
              <a:gd name="connsiteY45" fmla="*/ 2183273 h 5667375"/>
              <a:gd name="connsiteX46" fmla="*/ 1104015 w 5819775"/>
              <a:gd name="connsiteY46" fmla="*/ 2337702 h 5667375"/>
              <a:gd name="connsiteX47" fmla="*/ 1104015 w 5819775"/>
              <a:gd name="connsiteY47" fmla="*/ 2337702 h 5667375"/>
              <a:gd name="connsiteX48" fmla="*/ 4307816 w 5819775"/>
              <a:gd name="connsiteY48" fmla="*/ 5269364 h 5667375"/>
              <a:gd name="connsiteX49" fmla="*/ 4307816 w 5819775"/>
              <a:gd name="connsiteY49" fmla="*/ 5394550 h 5667375"/>
              <a:gd name="connsiteX50" fmla="*/ 4307816 w 5819775"/>
              <a:gd name="connsiteY50" fmla="*/ 5394550 h 5667375"/>
              <a:gd name="connsiteX51" fmla="*/ 1442153 w 5819775"/>
              <a:gd name="connsiteY51" fmla="*/ 5394550 h 5667375"/>
              <a:gd name="connsiteX52" fmla="*/ 1442153 w 5819775"/>
              <a:gd name="connsiteY52" fmla="*/ 5394550 h 5667375"/>
              <a:gd name="connsiteX53" fmla="*/ 1442153 w 5819775"/>
              <a:gd name="connsiteY53" fmla="*/ 5269364 h 5667375"/>
              <a:gd name="connsiteX54" fmla="*/ 1515629 w 5819775"/>
              <a:gd name="connsiteY54" fmla="*/ 5180915 h 5667375"/>
              <a:gd name="connsiteX55" fmla="*/ 2515077 w 5819775"/>
              <a:gd name="connsiteY55" fmla="*/ 4710789 h 5667375"/>
              <a:gd name="connsiteX56" fmla="*/ 3234891 w 5819775"/>
              <a:gd name="connsiteY56" fmla="*/ 4710789 h 5667375"/>
              <a:gd name="connsiteX57" fmla="*/ 4234340 w 5819775"/>
              <a:gd name="connsiteY57" fmla="*/ 5180915 h 5667375"/>
              <a:gd name="connsiteX58" fmla="*/ 4307816 w 5819775"/>
              <a:gd name="connsiteY58" fmla="*/ 5269364 h 5667375"/>
              <a:gd name="connsiteX59" fmla="*/ 3124677 w 5819775"/>
              <a:gd name="connsiteY59" fmla="*/ 3821563 h 5667375"/>
              <a:gd name="connsiteX60" fmla="*/ 3124677 w 5819775"/>
              <a:gd name="connsiteY60" fmla="*/ 4438650 h 5667375"/>
              <a:gd name="connsiteX61" fmla="*/ 2639579 w 5819775"/>
              <a:gd name="connsiteY61" fmla="*/ 4438650 h 5667375"/>
              <a:gd name="connsiteX62" fmla="*/ 2639579 w 5819775"/>
              <a:gd name="connsiteY62" fmla="*/ 3821563 h 5667375"/>
              <a:gd name="connsiteX63" fmla="*/ 3124677 w 5819775"/>
              <a:gd name="connsiteY63" fmla="*/ 3821563 h 5667375"/>
              <a:gd name="connsiteX64" fmla="*/ 2874989 w 5819775"/>
              <a:gd name="connsiteY64" fmla="*/ 3550101 h 5667375"/>
              <a:gd name="connsiteX65" fmla="*/ 1412901 w 5819775"/>
              <a:gd name="connsiteY65" fmla="*/ 2469690 h 5667375"/>
              <a:gd name="connsiteX66" fmla="*/ 1412901 w 5819775"/>
              <a:gd name="connsiteY66" fmla="*/ 2469690 h 5667375"/>
              <a:gd name="connsiteX67" fmla="*/ 1383650 w 5819775"/>
              <a:gd name="connsiteY67" fmla="*/ 2359476 h 5667375"/>
              <a:gd name="connsiteX68" fmla="*/ 1383650 w 5819775"/>
              <a:gd name="connsiteY68" fmla="*/ 2359476 h 5667375"/>
              <a:gd name="connsiteX69" fmla="*/ 1354399 w 5819775"/>
              <a:gd name="connsiteY69" fmla="*/ 2154012 h 5667375"/>
              <a:gd name="connsiteX70" fmla="*/ 1354399 w 5819775"/>
              <a:gd name="connsiteY70" fmla="*/ 2132238 h 5667375"/>
              <a:gd name="connsiteX71" fmla="*/ 1346912 w 5819775"/>
              <a:gd name="connsiteY71" fmla="*/ 2029501 h 5667375"/>
              <a:gd name="connsiteX72" fmla="*/ 1346912 w 5819775"/>
              <a:gd name="connsiteY72" fmla="*/ 595989 h 5667375"/>
              <a:gd name="connsiteX73" fmla="*/ 1346912 w 5819775"/>
              <a:gd name="connsiteY73" fmla="*/ 272815 h 5667375"/>
              <a:gd name="connsiteX74" fmla="*/ 4396265 w 5819775"/>
              <a:gd name="connsiteY74" fmla="*/ 272815 h 5667375"/>
              <a:gd name="connsiteX75" fmla="*/ 4396265 w 5819775"/>
              <a:gd name="connsiteY75" fmla="*/ 640204 h 5667375"/>
              <a:gd name="connsiteX76" fmla="*/ 4396265 w 5819775"/>
              <a:gd name="connsiteY76" fmla="*/ 2014528 h 5667375"/>
              <a:gd name="connsiteX77" fmla="*/ 4388778 w 5819775"/>
              <a:gd name="connsiteY77" fmla="*/ 2117265 h 5667375"/>
              <a:gd name="connsiteX78" fmla="*/ 4388778 w 5819775"/>
              <a:gd name="connsiteY78" fmla="*/ 2139039 h 5667375"/>
              <a:gd name="connsiteX79" fmla="*/ 4381292 w 5819775"/>
              <a:gd name="connsiteY79" fmla="*/ 2234289 h 5667375"/>
              <a:gd name="connsiteX80" fmla="*/ 4381292 w 5819775"/>
              <a:gd name="connsiteY80" fmla="*/ 2241776 h 5667375"/>
              <a:gd name="connsiteX81" fmla="*/ 4359517 w 5819775"/>
              <a:gd name="connsiteY81" fmla="*/ 2344512 h 5667375"/>
              <a:gd name="connsiteX82" fmla="*/ 4352031 w 5819775"/>
              <a:gd name="connsiteY82" fmla="*/ 2366286 h 5667375"/>
              <a:gd name="connsiteX83" fmla="*/ 4330257 w 5819775"/>
              <a:gd name="connsiteY83" fmla="*/ 2454736 h 5667375"/>
              <a:gd name="connsiteX84" fmla="*/ 2874989 w 5819775"/>
              <a:gd name="connsiteY84" fmla="*/ 3550101 h 5667375"/>
              <a:gd name="connsiteX85" fmla="*/ 5307265 w 5819775"/>
              <a:gd name="connsiteY85" fmla="*/ 1999564 h 5667375"/>
              <a:gd name="connsiteX86" fmla="*/ 4645953 w 5819775"/>
              <a:gd name="connsiteY86" fmla="*/ 2351989 h 5667375"/>
              <a:gd name="connsiteX87" fmla="*/ 4645953 w 5819775"/>
              <a:gd name="connsiteY87" fmla="*/ 2344503 h 5667375"/>
              <a:gd name="connsiteX88" fmla="*/ 4667727 w 5819775"/>
              <a:gd name="connsiteY88" fmla="*/ 2197542 h 5667375"/>
              <a:gd name="connsiteX89" fmla="*/ 4667727 w 5819775"/>
              <a:gd name="connsiteY89" fmla="*/ 2182578 h 5667375"/>
              <a:gd name="connsiteX90" fmla="*/ 4675214 w 5819775"/>
              <a:gd name="connsiteY90" fmla="*/ 2028139 h 5667375"/>
              <a:gd name="connsiteX91" fmla="*/ 4675214 w 5819775"/>
              <a:gd name="connsiteY91" fmla="*/ 728663 h 5667375"/>
              <a:gd name="connsiteX92" fmla="*/ 5549476 w 5819775"/>
              <a:gd name="connsiteY92" fmla="*/ 728663 h 5667375"/>
              <a:gd name="connsiteX93" fmla="*/ 5556963 w 5819775"/>
              <a:gd name="connsiteY93" fmla="*/ 728663 h 5667375"/>
              <a:gd name="connsiteX94" fmla="*/ 5556963 w 5819775"/>
              <a:gd name="connsiteY94" fmla="*/ 743626 h 5667375"/>
              <a:gd name="connsiteX95" fmla="*/ 5556963 w 5819775"/>
              <a:gd name="connsiteY95" fmla="*/ 1184501 h 5667375"/>
              <a:gd name="connsiteX96" fmla="*/ 5556963 w 5819775"/>
              <a:gd name="connsiteY96" fmla="*/ 1199464 h 5667375"/>
              <a:gd name="connsiteX97" fmla="*/ 5307265 w 5819775"/>
              <a:gd name="connsiteY97" fmla="*/ 1999564 h 5667375"/>
              <a:gd name="connsiteX98" fmla="*/ 2595364 w 5819775"/>
              <a:gd name="connsiteY98" fmla="*/ 2910564 h 5667375"/>
              <a:gd name="connsiteX99" fmla="*/ 2470177 w 5819775"/>
              <a:gd name="connsiteY99" fmla="*/ 2999013 h 5667375"/>
              <a:gd name="connsiteX100" fmla="*/ 2418465 w 5819775"/>
              <a:gd name="connsiteY100" fmla="*/ 2991526 h 5667375"/>
              <a:gd name="connsiteX101" fmla="*/ 1882341 w 5819775"/>
              <a:gd name="connsiteY101" fmla="*/ 2234965 h 5667375"/>
              <a:gd name="connsiteX102" fmla="*/ 1882341 w 5819775"/>
              <a:gd name="connsiteY102" fmla="*/ 853840 h 5667375"/>
              <a:gd name="connsiteX103" fmla="*/ 2014329 w 5819775"/>
              <a:gd name="connsiteY103" fmla="*/ 721852 h 5667375"/>
              <a:gd name="connsiteX104" fmla="*/ 2146317 w 5819775"/>
              <a:gd name="connsiteY104" fmla="*/ 853840 h 5667375"/>
              <a:gd name="connsiteX105" fmla="*/ 2146317 w 5819775"/>
              <a:gd name="connsiteY105" fmla="*/ 2242452 h 5667375"/>
              <a:gd name="connsiteX106" fmla="*/ 2506229 w 5819775"/>
              <a:gd name="connsiteY106" fmla="*/ 2741838 h 5667375"/>
              <a:gd name="connsiteX107" fmla="*/ 2595364 w 5819775"/>
              <a:gd name="connsiteY107" fmla="*/ 2910564 h 5667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5819775" h="5667375">
                <a:moveTo>
                  <a:pt x="5828415" y="1176338"/>
                </a:moveTo>
                <a:lnTo>
                  <a:pt x="5828415" y="735463"/>
                </a:lnTo>
                <a:lnTo>
                  <a:pt x="5828415" y="727977"/>
                </a:lnTo>
                <a:cubicBezTo>
                  <a:pt x="5813452" y="573538"/>
                  <a:pt x="5710715" y="470802"/>
                  <a:pt x="5563754" y="455838"/>
                </a:cubicBezTo>
                <a:lnTo>
                  <a:pt x="5556267" y="455838"/>
                </a:lnTo>
                <a:lnTo>
                  <a:pt x="4674528" y="455838"/>
                </a:lnTo>
                <a:lnTo>
                  <a:pt x="4674528" y="257175"/>
                </a:lnTo>
                <a:cubicBezTo>
                  <a:pt x="4674528" y="117700"/>
                  <a:pt x="4556828" y="0"/>
                  <a:pt x="4417353" y="0"/>
                </a:cubicBezTo>
                <a:lnTo>
                  <a:pt x="1331939" y="0"/>
                </a:lnTo>
                <a:cubicBezTo>
                  <a:pt x="1192464" y="0"/>
                  <a:pt x="1074764" y="117700"/>
                  <a:pt x="1074764" y="257175"/>
                </a:cubicBezTo>
                <a:lnTo>
                  <a:pt x="1074764" y="455838"/>
                </a:lnTo>
                <a:lnTo>
                  <a:pt x="273978" y="455838"/>
                </a:lnTo>
                <a:lnTo>
                  <a:pt x="266492" y="455838"/>
                </a:lnTo>
                <a:cubicBezTo>
                  <a:pt x="119540" y="463315"/>
                  <a:pt x="16803" y="573538"/>
                  <a:pt x="1839" y="727977"/>
                </a:cubicBezTo>
                <a:lnTo>
                  <a:pt x="1839" y="735463"/>
                </a:lnTo>
                <a:lnTo>
                  <a:pt x="1839" y="1176338"/>
                </a:lnTo>
                <a:cubicBezTo>
                  <a:pt x="-5647" y="1294038"/>
                  <a:pt x="-42385" y="2432961"/>
                  <a:pt x="1177501" y="2624138"/>
                </a:cubicBezTo>
                <a:cubicBezTo>
                  <a:pt x="1368677" y="3160262"/>
                  <a:pt x="1809551" y="3586839"/>
                  <a:pt x="2368126" y="3748088"/>
                </a:cubicBezTo>
                <a:lnTo>
                  <a:pt x="2368126" y="4475388"/>
                </a:lnTo>
                <a:lnTo>
                  <a:pt x="1397938" y="4938027"/>
                </a:lnTo>
                <a:cubicBezTo>
                  <a:pt x="1397938" y="4938027"/>
                  <a:pt x="1390451" y="4938027"/>
                  <a:pt x="1390451" y="4945514"/>
                </a:cubicBezTo>
                <a:cubicBezTo>
                  <a:pt x="1250976" y="5026476"/>
                  <a:pt x="1177501" y="5144177"/>
                  <a:pt x="1177501" y="5276165"/>
                </a:cubicBezTo>
                <a:lnTo>
                  <a:pt x="1177501" y="5423125"/>
                </a:lnTo>
                <a:lnTo>
                  <a:pt x="1177501" y="5430612"/>
                </a:lnTo>
                <a:cubicBezTo>
                  <a:pt x="1192464" y="5577574"/>
                  <a:pt x="1295201" y="5672824"/>
                  <a:pt x="1449639" y="5672824"/>
                </a:cubicBezTo>
                <a:lnTo>
                  <a:pt x="4307816" y="5672824"/>
                </a:lnTo>
                <a:cubicBezTo>
                  <a:pt x="4462254" y="5672824"/>
                  <a:pt x="4572477" y="5577574"/>
                  <a:pt x="4579955" y="5430612"/>
                </a:cubicBezTo>
                <a:lnTo>
                  <a:pt x="4579955" y="5423125"/>
                </a:lnTo>
                <a:lnTo>
                  <a:pt x="4579955" y="5276165"/>
                </a:lnTo>
                <a:cubicBezTo>
                  <a:pt x="4579955" y="5144177"/>
                  <a:pt x="4506479" y="5026476"/>
                  <a:pt x="4367004" y="4945514"/>
                </a:cubicBezTo>
                <a:lnTo>
                  <a:pt x="4359517" y="4938027"/>
                </a:lnTo>
                <a:lnTo>
                  <a:pt x="3404293" y="4482189"/>
                </a:lnTo>
                <a:lnTo>
                  <a:pt x="3404293" y="3741277"/>
                </a:lnTo>
                <a:cubicBezTo>
                  <a:pt x="3940417" y="3579352"/>
                  <a:pt x="4374481" y="3160928"/>
                  <a:pt x="4572468" y="2631615"/>
                </a:cubicBezTo>
                <a:cubicBezTo>
                  <a:pt x="4984081" y="2579903"/>
                  <a:pt x="5299768" y="2426151"/>
                  <a:pt x="5520206" y="2168976"/>
                </a:cubicBezTo>
                <a:cubicBezTo>
                  <a:pt x="5858352" y="1764163"/>
                  <a:pt x="5828415" y="1249813"/>
                  <a:pt x="5828415" y="1176338"/>
                </a:cubicBezTo>
                <a:close/>
                <a:moveTo>
                  <a:pt x="1104015" y="2337702"/>
                </a:moveTo>
                <a:cubicBezTo>
                  <a:pt x="200502" y="2124751"/>
                  <a:pt x="266501" y="1243013"/>
                  <a:pt x="273978" y="1198788"/>
                </a:cubicBezTo>
                <a:cubicBezTo>
                  <a:pt x="273978" y="1191301"/>
                  <a:pt x="273978" y="1191301"/>
                  <a:pt x="273978" y="1183824"/>
                </a:cubicBezTo>
                <a:lnTo>
                  <a:pt x="273978" y="742950"/>
                </a:lnTo>
                <a:cubicBezTo>
                  <a:pt x="273978" y="735463"/>
                  <a:pt x="273978" y="727986"/>
                  <a:pt x="273978" y="727986"/>
                </a:cubicBezTo>
                <a:lnTo>
                  <a:pt x="281465" y="727986"/>
                </a:lnTo>
                <a:lnTo>
                  <a:pt x="1074764" y="727986"/>
                </a:lnTo>
                <a:lnTo>
                  <a:pt x="1074764" y="2021348"/>
                </a:lnTo>
                <a:cubicBezTo>
                  <a:pt x="1074764" y="2073059"/>
                  <a:pt x="1074764" y="2116598"/>
                  <a:pt x="1082251" y="2168309"/>
                </a:cubicBezTo>
                <a:cubicBezTo>
                  <a:pt x="1082251" y="2175796"/>
                  <a:pt x="1082251" y="2183273"/>
                  <a:pt x="1082251" y="2183273"/>
                </a:cubicBezTo>
                <a:cubicBezTo>
                  <a:pt x="1089051" y="2234965"/>
                  <a:pt x="1096538" y="2278513"/>
                  <a:pt x="1104015" y="2337702"/>
                </a:cubicBezTo>
                <a:cubicBezTo>
                  <a:pt x="1104015" y="2330215"/>
                  <a:pt x="1104015" y="2330215"/>
                  <a:pt x="1104015" y="2337702"/>
                </a:cubicBezTo>
                <a:close/>
                <a:moveTo>
                  <a:pt x="4307816" y="5269364"/>
                </a:moveTo>
                <a:lnTo>
                  <a:pt x="4307816" y="5394550"/>
                </a:lnTo>
                <a:lnTo>
                  <a:pt x="4307816" y="5394550"/>
                </a:lnTo>
                <a:lnTo>
                  <a:pt x="1442153" y="5394550"/>
                </a:lnTo>
                <a:lnTo>
                  <a:pt x="1442153" y="5394550"/>
                </a:lnTo>
                <a:lnTo>
                  <a:pt x="1442153" y="5269364"/>
                </a:lnTo>
                <a:cubicBezTo>
                  <a:pt x="1442153" y="5232625"/>
                  <a:pt x="1486377" y="5195888"/>
                  <a:pt x="1515629" y="5180915"/>
                </a:cubicBezTo>
                <a:lnTo>
                  <a:pt x="2515077" y="4710789"/>
                </a:lnTo>
                <a:lnTo>
                  <a:pt x="3234891" y="4710789"/>
                </a:lnTo>
                <a:lnTo>
                  <a:pt x="4234340" y="5180915"/>
                </a:lnTo>
                <a:cubicBezTo>
                  <a:pt x="4263601" y="5195888"/>
                  <a:pt x="4307816" y="5232625"/>
                  <a:pt x="4307816" y="5269364"/>
                </a:cubicBezTo>
                <a:close/>
                <a:moveTo>
                  <a:pt x="3124677" y="3821563"/>
                </a:moveTo>
                <a:lnTo>
                  <a:pt x="3124677" y="4438650"/>
                </a:lnTo>
                <a:lnTo>
                  <a:pt x="2639579" y="4438650"/>
                </a:lnTo>
                <a:lnTo>
                  <a:pt x="2639579" y="3821563"/>
                </a:lnTo>
                <a:lnTo>
                  <a:pt x="3124677" y="3821563"/>
                </a:lnTo>
                <a:close/>
                <a:moveTo>
                  <a:pt x="2874989" y="3550101"/>
                </a:moveTo>
                <a:cubicBezTo>
                  <a:pt x="2184427" y="3550101"/>
                  <a:pt x="1604078" y="3094263"/>
                  <a:pt x="1412901" y="2469690"/>
                </a:cubicBezTo>
                <a:lnTo>
                  <a:pt x="1412901" y="2469690"/>
                </a:lnTo>
                <a:cubicBezTo>
                  <a:pt x="1405415" y="2432952"/>
                  <a:pt x="1391127" y="2396214"/>
                  <a:pt x="1383650" y="2359476"/>
                </a:cubicBezTo>
                <a:lnTo>
                  <a:pt x="1383650" y="2359476"/>
                </a:lnTo>
                <a:cubicBezTo>
                  <a:pt x="1368686" y="2293477"/>
                  <a:pt x="1361876" y="2220001"/>
                  <a:pt x="1354399" y="2154012"/>
                </a:cubicBezTo>
                <a:cubicBezTo>
                  <a:pt x="1354399" y="2146526"/>
                  <a:pt x="1354399" y="2139048"/>
                  <a:pt x="1354399" y="2132238"/>
                </a:cubicBezTo>
                <a:cubicBezTo>
                  <a:pt x="1354399" y="2095500"/>
                  <a:pt x="1346912" y="2066239"/>
                  <a:pt x="1346912" y="2029501"/>
                </a:cubicBezTo>
                <a:lnTo>
                  <a:pt x="1346912" y="595989"/>
                </a:lnTo>
                <a:lnTo>
                  <a:pt x="1346912" y="272815"/>
                </a:lnTo>
                <a:lnTo>
                  <a:pt x="4396265" y="272815"/>
                </a:lnTo>
                <a:lnTo>
                  <a:pt x="4396265" y="640204"/>
                </a:lnTo>
                <a:lnTo>
                  <a:pt x="4396265" y="2014528"/>
                </a:lnTo>
                <a:cubicBezTo>
                  <a:pt x="4396265" y="2051266"/>
                  <a:pt x="4396265" y="2080527"/>
                  <a:pt x="4388778" y="2117265"/>
                </a:cubicBezTo>
                <a:cubicBezTo>
                  <a:pt x="4388778" y="2124751"/>
                  <a:pt x="4388778" y="2132228"/>
                  <a:pt x="4388778" y="2139039"/>
                </a:cubicBezTo>
                <a:cubicBezTo>
                  <a:pt x="4388778" y="2168290"/>
                  <a:pt x="4381292" y="2205038"/>
                  <a:pt x="4381292" y="2234289"/>
                </a:cubicBezTo>
                <a:lnTo>
                  <a:pt x="4381292" y="2241776"/>
                </a:lnTo>
                <a:cubicBezTo>
                  <a:pt x="4373805" y="2278513"/>
                  <a:pt x="4366328" y="2307774"/>
                  <a:pt x="4359517" y="2344512"/>
                </a:cubicBezTo>
                <a:cubicBezTo>
                  <a:pt x="4359517" y="2351999"/>
                  <a:pt x="4359517" y="2359476"/>
                  <a:pt x="4352031" y="2366286"/>
                </a:cubicBezTo>
                <a:cubicBezTo>
                  <a:pt x="4344544" y="2395538"/>
                  <a:pt x="4337067" y="2424798"/>
                  <a:pt x="4330257" y="2454736"/>
                </a:cubicBezTo>
                <a:cubicBezTo>
                  <a:pt x="4145891" y="3086776"/>
                  <a:pt x="3558065" y="3550101"/>
                  <a:pt x="2874989" y="3550101"/>
                </a:cubicBezTo>
                <a:close/>
                <a:moveTo>
                  <a:pt x="5307265" y="1999564"/>
                </a:moveTo>
                <a:cubicBezTo>
                  <a:pt x="5152826" y="2183263"/>
                  <a:pt x="4932389" y="2300964"/>
                  <a:pt x="4645953" y="2351989"/>
                </a:cubicBezTo>
                <a:lnTo>
                  <a:pt x="4645953" y="2344503"/>
                </a:lnTo>
                <a:cubicBezTo>
                  <a:pt x="4653440" y="2292792"/>
                  <a:pt x="4660917" y="2249253"/>
                  <a:pt x="4667727" y="2197542"/>
                </a:cubicBezTo>
                <a:cubicBezTo>
                  <a:pt x="4667727" y="2190055"/>
                  <a:pt x="4667727" y="2182578"/>
                  <a:pt x="4667727" y="2182578"/>
                </a:cubicBezTo>
                <a:cubicBezTo>
                  <a:pt x="4675214" y="2130867"/>
                  <a:pt x="4675214" y="2079841"/>
                  <a:pt x="4675214" y="2028139"/>
                </a:cubicBezTo>
                <a:lnTo>
                  <a:pt x="4675214" y="728663"/>
                </a:lnTo>
                <a:lnTo>
                  <a:pt x="5549476" y="728663"/>
                </a:lnTo>
                <a:cubicBezTo>
                  <a:pt x="5556963" y="728663"/>
                  <a:pt x="5556963" y="728663"/>
                  <a:pt x="5556963" y="728663"/>
                </a:cubicBezTo>
                <a:cubicBezTo>
                  <a:pt x="5556963" y="728663"/>
                  <a:pt x="5556963" y="736149"/>
                  <a:pt x="5556963" y="743626"/>
                </a:cubicBezTo>
                <a:lnTo>
                  <a:pt x="5556963" y="1184501"/>
                </a:lnTo>
                <a:cubicBezTo>
                  <a:pt x="5556963" y="1191987"/>
                  <a:pt x="5556963" y="1191987"/>
                  <a:pt x="5556963" y="1199464"/>
                </a:cubicBezTo>
                <a:cubicBezTo>
                  <a:pt x="5556953" y="1206265"/>
                  <a:pt x="5593691" y="1653940"/>
                  <a:pt x="5307265" y="1999564"/>
                </a:cubicBezTo>
                <a:close/>
                <a:moveTo>
                  <a:pt x="2595364" y="2910564"/>
                </a:moveTo>
                <a:cubicBezTo>
                  <a:pt x="2573589" y="2962275"/>
                  <a:pt x="2521888" y="2999013"/>
                  <a:pt x="2470177" y="2999013"/>
                </a:cubicBezTo>
                <a:cubicBezTo>
                  <a:pt x="2455213" y="2999013"/>
                  <a:pt x="2440925" y="2999013"/>
                  <a:pt x="2418465" y="2991526"/>
                </a:cubicBezTo>
                <a:cubicBezTo>
                  <a:pt x="1970114" y="2822801"/>
                  <a:pt x="1874864" y="2418664"/>
                  <a:pt x="1882341" y="2234965"/>
                </a:cubicBezTo>
                <a:lnTo>
                  <a:pt x="1882341" y="853840"/>
                </a:lnTo>
                <a:cubicBezTo>
                  <a:pt x="1882341" y="780364"/>
                  <a:pt x="1940853" y="721852"/>
                  <a:pt x="2014329" y="721852"/>
                </a:cubicBezTo>
                <a:cubicBezTo>
                  <a:pt x="2087805" y="721852"/>
                  <a:pt x="2146317" y="780364"/>
                  <a:pt x="2146317" y="853840"/>
                </a:cubicBezTo>
                <a:lnTo>
                  <a:pt x="2146317" y="2242452"/>
                </a:lnTo>
                <a:cubicBezTo>
                  <a:pt x="2146317" y="2264226"/>
                  <a:pt x="2131353" y="2602363"/>
                  <a:pt x="2506229" y="2741838"/>
                </a:cubicBezTo>
                <a:cubicBezTo>
                  <a:pt x="2588553" y="2763603"/>
                  <a:pt x="2625301" y="2844565"/>
                  <a:pt x="2595364" y="291056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4" name="Forma libre 298">
            <a:extLst>
              <a:ext uri="{FF2B5EF4-FFF2-40B4-BE49-F238E27FC236}">
                <a16:creationId xmlns:a16="http://schemas.microsoft.com/office/drawing/2014/main" xmlns="" id="{55847BAC-62D5-D24E-9000-A3369E73E127}"/>
              </a:ext>
            </a:extLst>
          </p:cNvPr>
          <p:cNvSpPr/>
          <p:nvPr/>
        </p:nvSpPr>
        <p:spPr>
          <a:xfrm>
            <a:off x="468779" y="5912570"/>
            <a:ext cx="270805" cy="354647"/>
          </a:xfrm>
          <a:custGeom>
            <a:avLst/>
            <a:gdLst>
              <a:gd name="connsiteX0" fmla="*/ 4920667 w 5230090"/>
              <a:gd name="connsiteY0" fmla="*/ 905931 h 6849340"/>
              <a:gd name="connsiteX1" fmla="*/ 4496562 w 5230090"/>
              <a:gd name="connsiteY1" fmla="*/ 905931 h 6849340"/>
              <a:gd name="connsiteX2" fmla="*/ 4496562 w 5230090"/>
              <a:gd name="connsiteY2" fmla="*/ 540327 h 6849340"/>
              <a:gd name="connsiteX3" fmla="*/ 4122489 w 5230090"/>
              <a:gd name="connsiteY3" fmla="*/ 166255 h 6849340"/>
              <a:gd name="connsiteX4" fmla="*/ 3225027 w 5230090"/>
              <a:gd name="connsiteY4" fmla="*/ 166255 h 6849340"/>
              <a:gd name="connsiteX5" fmla="*/ 3225027 w 5230090"/>
              <a:gd name="connsiteY5" fmla="*/ 149317 h 6849340"/>
              <a:gd name="connsiteX6" fmla="*/ 3075709 w 5230090"/>
              <a:gd name="connsiteY6" fmla="*/ 0 h 6849340"/>
              <a:gd name="connsiteX7" fmla="*/ 1453957 w 5230090"/>
              <a:gd name="connsiteY7" fmla="*/ 0 h 6849340"/>
              <a:gd name="connsiteX8" fmla="*/ 1304639 w 5230090"/>
              <a:gd name="connsiteY8" fmla="*/ 149317 h 6849340"/>
              <a:gd name="connsiteX9" fmla="*/ 1304639 w 5230090"/>
              <a:gd name="connsiteY9" fmla="*/ 173944 h 6849340"/>
              <a:gd name="connsiteX10" fmla="*/ 523390 w 5230090"/>
              <a:gd name="connsiteY10" fmla="*/ 173944 h 6849340"/>
              <a:gd name="connsiteX11" fmla="*/ 0 w 5230090"/>
              <a:gd name="connsiteY11" fmla="*/ 672708 h 6849340"/>
              <a:gd name="connsiteX12" fmla="*/ 0 w 5230090"/>
              <a:gd name="connsiteY12" fmla="*/ 697334 h 6849340"/>
              <a:gd name="connsiteX13" fmla="*/ 0 w 5230090"/>
              <a:gd name="connsiteY13" fmla="*/ 6325362 h 6849340"/>
              <a:gd name="connsiteX14" fmla="*/ 0 w 5230090"/>
              <a:gd name="connsiteY14" fmla="*/ 6325362 h 6849340"/>
              <a:gd name="connsiteX15" fmla="*/ 0 w 5230090"/>
              <a:gd name="connsiteY15" fmla="*/ 6333831 h 6849340"/>
              <a:gd name="connsiteX16" fmla="*/ 523390 w 5230090"/>
              <a:gd name="connsiteY16" fmla="*/ 6857221 h 6849340"/>
              <a:gd name="connsiteX17" fmla="*/ 4488873 w 5230090"/>
              <a:gd name="connsiteY17" fmla="*/ 6857221 h 6849340"/>
              <a:gd name="connsiteX18" fmla="*/ 4497342 w 5230090"/>
              <a:gd name="connsiteY18" fmla="*/ 6857221 h 6849340"/>
              <a:gd name="connsiteX19" fmla="*/ 5237019 w 5230090"/>
              <a:gd name="connsiteY19" fmla="*/ 6034417 h 6849340"/>
              <a:gd name="connsiteX20" fmla="*/ 5237019 w 5230090"/>
              <a:gd name="connsiteY20" fmla="*/ 1213035 h 6849340"/>
              <a:gd name="connsiteX21" fmla="*/ 4920667 w 5230090"/>
              <a:gd name="connsiteY21" fmla="*/ 905931 h 6849340"/>
              <a:gd name="connsiteX22" fmla="*/ 1612513 w 5230090"/>
              <a:gd name="connsiteY22" fmla="*/ 298643 h 6849340"/>
              <a:gd name="connsiteX23" fmla="*/ 2917923 w 5230090"/>
              <a:gd name="connsiteY23" fmla="*/ 298643 h 6849340"/>
              <a:gd name="connsiteX24" fmla="*/ 2917923 w 5230090"/>
              <a:gd name="connsiteY24" fmla="*/ 315581 h 6849340"/>
              <a:gd name="connsiteX25" fmla="*/ 2917923 w 5230090"/>
              <a:gd name="connsiteY25" fmla="*/ 3067249 h 6849340"/>
              <a:gd name="connsiteX26" fmla="*/ 2360659 w 5230090"/>
              <a:gd name="connsiteY26" fmla="*/ 2593112 h 6849340"/>
              <a:gd name="connsiteX27" fmla="*/ 2319095 w 5230090"/>
              <a:gd name="connsiteY27" fmla="*/ 2568486 h 6849340"/>
              <a:gd name="connsiteX28" fmla="*/ 2319095 w 5230090"/>
              <a:gd name="connsiteY28" fmla="*/ 2568486 h 6849340"/>
              <a:gd name="connsiteX29" fmla="*/ 2269063 w 5230090"/>
              <a:gd name="connsiteY29" fmla="*/ 2560017 h 6849340"/>
              <a:gd name="connsiteX30" fmla="*/ 2269063 w 5230090"/>
              <a:gd name="connsiteY30" fmla="*/ 2560017 h 6849340"/>
              <a:gd name="connsiteX31" fmla="*/ 2269063 w 5230090"/>
              <a:gd name="connsiteY31" fmla="*/ 2560017 h 6849340"/>
              <a:gd name="connsiteX32" fmla="*/ 2235968 w 5230090"/>
              <a:gd name="connsiteY32" fmla="*/ 2568486 h 6849340"/>
              <a:gd name="connsiteX33" fmla="*/ 2219031 w 5230090"/>
              <a:gd name="connsiteY33" fmla="*/ 2568486 h 6849340"/>
              <a:gd name="connsiteX34" fmla="*/ 2168999 w 5230090"/>
              <a:gd name="connsiteY34" fmla="*/ 2593112 h 6849340"/>
              <a:gd name="connsiteX35" fmla="*/ 1611734 w 5230090"/>
              <a:gd name="connsiteY35" fmla="*/ 3025686 h 6849340"/>
              <a:gd name="connsiteX36" fmla="*/ 1611734 w 5230090"/>
              <a:gd name="connsiteY36" fmla="*/ 324049 h 6849340"/>
              <a:gd name="connsiteX37" fmla="*/ 1611734 w 5230090"/>
              <a:gd name="connsiteY37" fmla="*/ 298652 h 6849340"/>
              <a:gd name="connsiteX38" fmla="*/ 1612513 w 5230090"/>
              <a:gd name="connsiteY38" fmla="*/ 298652 h 6849340"/>
              <a:gd name="connsiteX39" fmla="*/ 307103 w 5230090"/>
              <a:gd name="connsiteY39" fmla="*/ 714280 h 6849340"/>
              <a:gd name="connsiteX40" fmla="*/ 307103 w 5230090"/>
              <a:gd name="connsiteY40" fmla="*/ 697343 h 6849340"/>
              <a:gd name="connsiteX41" fmla="*/ 523390 w 5230090"/>
              <a:gd name="connsiteY41" fmla="*/ 481056 h 6849340"/>
              <a:gd name="connsiteX42" fmla="*/ 1304631 w 5230090"/>
              <a:gd name="connsiteY42" fmla="*/ 481056 h 6849340"/>
              <a:gd name="connsiteX43" fmla="*/ 1304631 w 5230090"/>
              <a:gd name="connsiteY43" fmla="*/ 3340478 h 6849340"/>
              <a:gd name="connsiteX44" fmla="*/ 1387758 w 5230090"/>
              <a:gd name="connsiteY44" fmla="*/ 3482106 h 6849340"/>
              <a:gd name="connsiteX45" fmla="*/ 1545544 w 5230090"/>
              <a:gd name="connsiteY45" fmla="*/ 3465169 h 6849340"/>
              <a:gd name="connsiteX46" fmla="*/ 2252126 w 5230090"/>
              <a:gd name="connsiteY46" fmla="*/ 2916373 h 6849340"/>
              <a:gd name="connsiteX47" fmla="*/ 2967176 w 5230090"/>
              <a:gd name="connsiteY47" fmla="*/ 3522891 h 6849340"/>
              <a:gd name="connsiteX48" fmla="*/ 3000271 w 5230090"/>
              <a:gd name="connsiteY48" fmla="*/ 3547517 h 6849340"/>
              <a:gd name="connsiteX49" fmla="*/ 3008740 w 5230090"/>
              <a:gd name="connsiteY49" fmla="*/ 3547517 h 6849340"/>
              <a:gd name="connsiteX50" fmla="*/ 3041835 w 5230090"/>
              <a:gd name="connsiteY50" fmla="*/ 3555986 h 6849340"/>
              <a:gd name="connsiteX51" fmla="*/ 3050303 w 5230090"/>
              <a:gd name="connsiteY51" fmla="*/ 3555986 h 6849340"/>
              <a:gd name="connsiteX52" fmla="*/ 3067241 w 5230090"/>
              <a:gd name="connsiteY52" fmla="*/ 3555986 h 6849340"/>
              <a:gd name="connsiteX53" fmla="*/ 3084178 w 5230090"/>
              <a:gd name="connsiteY53" fmla="*/ 3555986 h 6849340"/>
              <a:gd name="connsiteX54" fmla="*/ 3092646 w 5230090"/>
              <a:gd name="connsiteY54" fmla="*/ 3555986 h 6849340"/>
              <a:gd name="connsiteX55" fmla="*/ 3134210 w 5230090"/>
              <a:gd name="connsiteY55" fmla="*/ 3547517 h 6849340"/>
              <a:gd name="connsiteX56" fmla="*/ 3225806 w 5230090"/>
              <a:gd name="connsiteY56" fmla="*/ 3405889 h 6849340"/>
              <a:gd name="connsiteX57" fmla="*/ 3225806 w 5230090"/>
              <a:gd name="connsiteY57" fmla="*/ 473367 h 6849340"/>
              <a:gd name="connsiteX58" fmla="*/ 4123269 w 5230090"/>
              <a:gd name="connsiteY58" fmla="*/ 473367 h 6849340"/>
              <a:gd name="connsiteX59" fmla="*/ 4189459 w 5230090"/>
              <a:gd name="connsiteY59" fmla="*/ 539557 h 6849340"/>
              <a:gd name="connsiteX60" fmla="*/ 4189459 w 5230090"/>
              <a:gd name="connsiteY60" fmla="*/ 1062947 h 6849340"/>
              <a:gd name="connsiteX61" fmla="*/ 4189459 w 5230090"/>
              <a:gd name="connsiteY61" fmla="*/ 5684979 h 6849340"/>
              <a:gd name="connsiteX62" fmla="*/ 4097863 w 5230090"/>
              <a:gd name="connsiteY62" fmla="*/ 5818139 h 6849340"/>
              <a:gd name="connsiteX63" fmla="*/ 523390 w 5230090"/>
              <a:gd name="connsiteY63" fmla="*/ 5818139 h 6849340"/>
              <a:gd name="connsiteX64" fmla="*/ 464889 w 5230090"/>
              <a:gd name="connsiteY64" fmla="*/ 5818139 h 6849340"/>
              <a:gd name="connsiteX65" fmla="*/ 431794 w 5230090"/>
              <a:gd name="connsiteY65" fmla="*/ 5826607 h 6849340"/>
              <a:gd name="connsiteX66" fmla="*/ 407168 w 5230090"/>
              <a:gd name="connsiteY66" fmla="*/ 5826607 h 6849340"/>
              <a:gd name="connsiteX67" fmla="*/ 365604 w 5230090"/>
              <a:gd name="connsiteY67" fmla="*/ 5835076 h 6849340"/>
              <a:gd name="connsiteX68" fmla="*/ 357136 w 5230090"/>
              <a:gd name="connsiteY68" fmla="*/ 5835076 h 6849340"/>
              <a:gd name="connsiteX69" fmla="*/ 315572 w 5230090"/>
              <a:gd name="connsiteY69" fmla="*/ 5852013 h 6849340"/>
              <a:gd name="connsiteX70" fmla="*/ 307103 w 5230090"/>
              <a:gd name="connsiteY70" fmla="*/ 5852013 h 6849340"/>
              <a:gd name="connsiteX71" fmla="*/ 298635 w 5230090"/>
              <a:gd name="connsiteY71" fmla="*/ 5860482 h 6849340"/>
              <a:gd name="connsiteX72" fmla="*/ 298635 w 5230090"/>
              <a:gd name="connsiteY72" fmla="*/ 714280 h 6849340"/>
              <a:gd name="connsiteX73" fmla="*/ 307103 w 5230090"/>
              <a:gd name="connsiteY73" fmla="*/ 714280 h 6849340"/>
              <a:gd name="connsiteX74" fmla="*/ 4929136 w 5230090"/>
              <a:gd name="connsiteY74" fmla="*/ 6042894 h 6849340"/>
              <a:gd name="connsiteX75" fmla="*/ 4488873 w 5230090"/>
              <a:gd name="connsiteY75" fmla="*/ 6558595 h 6849340"/>
              <a:gd name="connsiteX76" fmla="*/ 523390 w 5230090"/>
              <a:gd name="connsiteY76" fmla="*/ 6558595 h 6849340"/>
              <a:gd name="connsiteX77" fmla="*/ 307103 w 5230090"/>
              <a:gd name="connsiteY77" fmla="*/ 6342308 h 6849340"/>
              <a:gd name="connsiteX78" fmla="*/ 307103 w 5230090"/>
              <a:gd name="connsiteY78" fmla="*/ 6333839 h 6849340"/>
              <a:gd name="connsiteX79" fmla="*/ 348667 w 5230090"/>
              <a:gd name="connsiteY79" fmla="*/ 6217617 h 6849340"/>
              <a:gd name="connsiteX80" fmla="*/ 357136 w 5230090"/>
              <a:gd name="connsiteY80" fmla="*/ 6209149 h 6849340"/>
              <a:gd name="connsiteX81" fmla="*/ 374073 w 5230090"/>
              <a:gd name="connsiteY81" fmla="*/ 6184522 h 6849340"/>
              <a:gd name="connsiteX82" fmla="*/ 391010 w 5230090"/>
              <a:gd name="connsiteY82" fmla="*/ 6167585 h 6849340"/>
              <a:gd name="connsiteX83" fmla="*/ 399479 w 5230090"/>
              <a:gd name="connsiteY83" fmla="*/ 6159116 h 6849340"/>
              <a:gd name="connsiteX84" fmla="*/ 432574 w 5230090"/>
              <a:gd name="connsiteY84" fmla="*/ 6142179 h 6849340"/>
              <a:gd name="connsiteX85" fmla="*/ 441042 w 5230090"/>
              <a:gd name="connsiteY85" fmla="*/ 6142179 h 6849340"/>
              <a:gd name="connsiteX86" fmla="*/ 474137 w 5230090"/>
              <a:gd name="connsiteY86" fmla="*/ 6133710 h 6849340"/>
              <a:gd name="connsiteX87" fmla="*/ 482606 w 5230090"/>
              <a:gd name="connsiteY87" fmla="*/ 6133710 h 6849340"/>
              <a:gd name="connsiteX88" fmla="*/ 524169 w 5230090"/>
              <a:gd name="connsiteY88" fmla="*/ 6125242 h 6849340"/>
              <a:gd name="connsiteX89" fmla="*/ 4123269 w 5230090"/>
              <a:gd name="connsiteY89" fmla="*/ 6125242 h 6849340"/>
              <a:gd name="connsiteX90" fmla="*/ 4497342 w 5230090"/>
              <a:gd name="connsiteY90" fmla="*/ 5734232 h 6849340"/>
              <a:gd name="connsiteX91" fmla="*/ 4497342 w 5230090"/>
              <a:gd name="connsiteY91" fmla="*/ 5684200 h 6849340"/>
              <a:gd name="connsiteX92" fmla="*/ 4497342 w 5230090"/>
              <a:gd name="connsiteY92" fmla="*/ 1212273 h 6849340"/>
              <a:gd name="connsiteX93" fmla="*/ 4929915 w 5230090"/>
              <a:gd name="connsiteY93" fmla="*/ 1212273 h 6849340"/>
              <a:gd name="connsiteX94" fmla="*/ 4929915 w 5230090"/>
              <a:gd name="connsiteY94" fmla="*/ 6042894 h 6849340"/>
              <a:gd name="connsiteX95" fmla="*/ 4929136 w 5230090"/>
              <a:gd name="connsiteY95" fmla="*/ 6042894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230090" h="6849340">
                <a:moveTo>
                  <a:pt x="4920667" y="905931"/>
                </a:moveTo>
                <a:lnTo>
                  <a:pt x="4496562" y="905931"/>
                </a:lnTo>
                <a:lnTo>
                  <a:pt x="4496562" y="540327"/>
                </a:lnTo>
                <a:cubicBezTo>
                  <a:pt x="4496562" y="290945"/>
                  <a:pt x="4313370" y="174723"/>
                  <a:pt x="4122489" y="166255"/>
                </a:cubicBezTo>
                <a:lnTo>
                  <a:pt x="3225027" y="166255"/>
                </a:lnTo>
                <a:lnTo>
                  <a:pt x="3225027" y="149317"/>
                </a:lnTo>
                <a:cubicBezTo>
                  <a:pt x="3225027" y="66190"/>
                  <a:pt x="3158836" y="0"/>
                  <a:pt x="3075709" y="0"/>
                </a:cubicBezTo>
                <a:lnTo>
                  <a:pt x="1453957" y="0"/>
                </a:lnTo>
                <a:cubicBezTo>
                  <a:pt x="1370829" y="0"/>
                  <a:pt x="1304639" y="66190"/>
                  <a:pt x="1304639" y="149317"/>
                </a:cubicBezTo>
                <a:lnTo>
                  <a:pt x="1304639" y="173944"/>
                </a:lnTo>
                <a:lnTo>
                  <a:pt x="523390" y="173944"/>
                </a:lnTo>
                <a:cubicBezTo>
                  <a:pt x="240913" y="173944"/>
                  <a:pt x="16158" y="398699"/>
                  <a:pt x="0" y="672708"/>
                </a:cubicBezTo>
                <a:cubicBezTo>
                  <a:pt x="0" y="681176"/>
                  <a:pt x="0" y="689645"/>
                  <a:pt x="0" y="697334"/>
                </a:cubicBezTo>
                <a:lnTo>
                  <a:pt x="0" y="6325362"/>
                </a:lnTo>
                <a:lnTo>
                  <a:pt x="0" y="6325362"/>
                </a:lnTo>
                <a:lnTo>
                  <a:pt x="0" y="6333831"/>
                </a:lnTo>
                <a:cubicBezTo>
                  <a:pt x="0" y="6624776"/>
                  <a:pt x="232445" y="6857221"/>
                  <a:pt x="523390" y="6857221"/>
                </a:cubicBezTo>
                <a:lnTo>
                  <a:pt x="4488873" y="6857221"/>
                </a:lnTo>
                <a:lnTo>
                  <a:pt x="4497342" y="6857221"/>
                </a:lnTo>
                <a:cubicBezTo>
                  <a:pt x="4854477" y="6840284"/>
                  <a:pt x="5237019" y="6616308"/>
                  <a:pt x="5237019" y="6034417"/>
                </a:cubicBezTo>
                <a:lnTo>
                  <a:pt x="5237019" y="1213035"/>
                </a:lnTo>
                <a:cubicBezTo>
                  <a:pt x="5236248" y="1046789"/>
                  <a:pt x="5095390" y="905931"/>
                  <a:pt x="4920667" y="905931"/>
                </a:cubicBezTo>
                <a:close/>
                <a:moveTo>
                  <a:pt x="1612513" y="298643"/>
                </a:moveTo>
                <a:lnTo>
                  <a:pt x="2917923" y="298643"/>
                </a:lnTo>
                <a:lnTo>
                  <a:pt x="2917923" y="315581"/>
                </a:lnTo>
                <a:lnTo>
                  <a:pt x="2917923" y="3067249"/>
                </a:lnTo>
                <a:lnTo>
                  <a:pt x="2360659" y="2593112"/>
                </a:lnTo>
                <a:cubicBezTo>
                  <a:pt x="2343721" y="2584644"/>
                  <a:pt x="2336032" y="2576175"/>
                  <a:pt x="2319095" y="2568486"/>
                </a:cubicBezTo>
                <a:lnTo>
                  <a:pt x="2319095" y="2568486"/>
                </a:lnTo>
                <a:cubicBezTo>
                  <a:pt x="2302158" y="2560017"/>
                  <a:pt x="2286000" y="2560017"/>
                  <a:pt x="2269063" y="2560017"/>
                </a:cubicBezTo>
                <a:lnTo>
                  <a:pt x="2269063" y="2560017"/>
                </a:lnTo>
                <a:lnTo>
                  <a:pt x="2269063" y="2560017"/>
                </a:lnTo>
                <a:cubicBezTo>
                  <a:pt x="2260594" y="2560017"/>
                  <a:pt x="2244437" y="2560017"/>
                  <a:pt x="2235968" y="2568486"/>
                </a:cubicBezTo>
                <a:cubicBezTo>
                  <a:pt x="2227499" y="2568486"/>
                  <a:pt x="2227499" y="2568486"/>
                  <a:pt x="2219031" y="2568486"/>
                </a:cubicBezTo>
                <a:cubicBezTo>
                  <a:pt x="2202094" y="2576954"/>
                  <a:pt x="2185936" y="2585423"/>
                  <a:pt x="2168999" y="2593112"/>
                </a:cubicBezTo>
                <a:lnTo>
                  <a:pt x="1611734" y="3025686"/>
                </a:lnTo>
                <a:lnTo>
                  <a:pt x="1611734" y="324049"/>
                </a:lnTo>
                <a:lnTo>
                  <a:pt x="1611734" y="298652"/>
                </a:lnTo>
                <a:lnTo>
                  <a:pt x="1612513" y="298652"/>
                </a:lnTo>
                <a:close/>
                <a:moveTo>
                  <a:pt x="307103" y="714280"/>
                </a:moveTo>
                <a:cubicBezTo>
                  <a:pt x="307103" y="705811"/>
                  <a:pt x="307103" y="697343"/>
                  <a:pt x="307103" y="697343"/>
                </a:cubicBezTo>
                <a:cubicBezTo>
                  <a:pt x="307103" y="581120"/>
                  <a:pt x="407168" y="481056"/>
                  <a:pt x="523390" y="481056"/>
                </a:cubicBezTo>
                <a:lnTo>
                  <a:pt x="1304631" y="481056"/>
                </a:lnTo>
                <a:lnTo>
                  <a:pt x="1304631" y="3340478"/>
                </a:lnTo>
                <a:cubicBezTo>
                  <a:pt x="1304631" y="3398979"/>
                  <a:pt x="1337726" y="3456701"/>
                  <a:pt x="1387758" y="3482106"/>
                </a:cubicBezTo>
                <a:cubicBezTo>
                  <a:pt x="1437790" y="3507504"/>
                  <a:pt x="1503980" y="3499043"/>
                  <a:pt x="1545544" y="3465169"/>
                </a:cubicBezTo>
                <a:lnTo>
                  <a:pt x="2252126" y="2916373"/>
                </a:lnTo>
                <a:lnTo>
                  <a:pt x="2967176" y="3522891"/>
                </a:lnTo>
                <a:cubicBezTo>
                  <a:pt x="2975645" y="3531359"/>
                  <a:pt x="2991803" y="3539828"/>
                  <a:pt x="3000271" y="3547517"/>
                </a:cubicBezTo>
                <a:lnTo>
                  <a:pt x="3008740" y="3547517"/>
                </a:lnTo>
                <a:cubicBezTo>
                  <a:pt x="3017208" y="3555986"/>
                  <a:pt x="3033366" y="3555986"/>
                  <a:pt x="3041835" y="3555986"/>
                </a:cubicBezTo>
                <a:cubicBezTo>
                  <a:pt x="3041835" y="3555986"/>
                  <a:pt x="3041835" y="3555986"/>
                  <a:pt x="3050303" y="3555986"/>
                </a:cubicBezTo>
                <a:cubicBezTo>
                  <a:pt x="3058772" y="3555986"/>
                  <a:pt x="3058772" y="3555986"/>
                  <a:pt x="3067241" y="3555986"/>
                </a:cubicBezTo>
                <a:cubicBezTo>
                  <a:pt x="3075709" y="3555986"/>
                  <a:pt x="3075709" y="3555986"/>
                  <a:pt x="3084178" y="3555986"/>
                </a:cubicBezTo>
                <a:lnTo>
                  <a:pt x="3092646" y="3555986"/>
                </a:lnTo>
                <a:cubicBezTo>
                  <a:pt x="3109584" y="3555986"/>
                  <a:pt x="3117273" y="3547517"/>
                  <a:pt x="3134210" y="3547517"/>
                </a:cubicBezTo>
                <a:cubicBezTo>
                  <a:pt x="3192711" y="3522891"/>
                  <a:pt x="3225806" y="3464390"/>
                  <a:pt x="3225806" y="3405889"/>
                </a:cubicBezTo>
                <a:lnTo>
                  <a:pt x="3225806" y="473367"/>
                </a:lnTo>
                <a:lnTo>
                  <a:pt x="4123269" y="473367"/>
                </a:lnTo>
                <a:cubicBezTo>
                  <a:pt x="4189459" y="473367"/>
                  <a:pt x="4189459" y="506462"/>
                  <a:pt x="4189459" y="539557"/>
                </a:cubicBezTo>
                <a:lnTo>
                  <a:pt x="4189459" y="1062947"/>
                </a:lnTo>
                <a:lnTo>
                  <a:pt x="4189459" y="5684979"/>
                </a:lnTo>
                <a:cubicBezTo>
                  <a:pt x="4189459" y="5792733"/>
                  <a:pt x="4147895" y="5809670"/>
                  <a:pt x="4097863" y="5818139"/>
                </a:cubicBezTo>
                <a:lnTo>
                  <a:pt x="523390" y="5818139"/>
                </a:lnTo>
                <a:cubicBezTo>
                  <a:pt x="506453" y="5818139"/>
                  <a:pt x="490295" y="5818139"/>
                  <a:pt x="464889" y="5818139"/>
                </a:cubicBezTo>
                <a:cubicBezTo>
                  <a:pt x="456421" y="5818139"/>
                  <a:pt x="447952" y="5818139"/>
                  <a:pt x="431794" y="5826607"/>
                </a:cubicBezTo>
                <a:cubicBezTo>
                  <a:pt x="423326" y="5826607"/>
                  <a:pt x="414857" y="5826607"/>
                  <a:pt x="407168" y="5826607"/>
                </a:cubicBezTo>
                <a:cubicBezTo>
                  <a:pt x="390231" y="5826607"/>
                  <a:pt x="382541" y="5835076"/>
                  <a:pt x="365604" y="5835076"/>
                </a:cubicBezTo>
                <a:lnTo>
                  <a:pt x="357136" y="5835076"/>
                </a:lnTo>
                <a:cubicBezTo>
                  <a:pt x="340198" y="5843544"/>
                  <a:pt x="332509" y="5843544"/>
                  <a:pt x="315572" y="5852013"/>
                </a:cubicBezTo>
                <a:cubicBezTo>
                  <a:pt x="315572" y="5852013"/>
                  <a:pt x="315572" y="5852013"/>
                  <a:pt x="307103" y="5852013"/>
                </a:cubicBezTo>
                <a:cubicBezTo>
                  <a:pt x="307103" y="5852013"/>
                  <a:pt x="298635" y="5852013"/>
                  <a:pt x="298635" y="5860482"/>
                </a:cubicBezTo>
                <a:lnTo>
                  <a:pt x="298635" y="714280"/>
                </a:lnTo>
                <a:lnTo>
                  <a:pt x="307103" y="714280"/>
                </a:lnTo>
                <a:close/>
                <a:moveTo>
                  <a:pt x="4929136" y="6042894"/>
                </a:moveTo>
                <a:cubicBezTo>
                  <a:pt x="4929136" y="6441593"/>
                  <a:pt x="4688223" y="6541658"/>
                  <a:pt x="4488873" y="6558595"/>
                </a:cubicBezTo>
                <a:lnTo>
                  <a:pt x="523390" y="6558595"/>
                </a:lnTo>
                <a:cubicBezTo>
                  <a:pt x="407168" y="6558595"/>
                  <a:pt x="307103" y="6458530"/>
                  <a:pt x="307103" y="6342308"/>
                </a:cubicBezTo>
                <a:lnTo>
                  <a:pt x="307103" y="6333839"/>
                </a:lnTo>
                <a:cubicBezTo>
                  <a:pt x="307103" y="6292276"/>
                  <a:pt x="324040" y="6250712"/>
                  <a:pt x="348667" y="6217617"/>
                </a:cubicBezTo>
                <a:cubicBezTo>
                  <a:pt x="348667" y="6217617"/>
                  <a:pt x="348667" y="6209149"/>
                  <a:pt x="357136" y="6209149"/>
                </a:cubicBezTo>
                <a:cubicBezTo>
                  <a:pt x="365604" y="6200680"/>
                  <a:pt x="365604" y="6192212"/>
                  <a:pt x="374073" y="6184522"/>
                </a:cubicBezTo>
                <a:cubicBezTo>
                  <a:pt x="382541" y="6176054"/>
                  <a:pt x="391010" y="6176054"/>
                  <a:pt x="391010" y="6167585"/>
                </a:cubicBezTo>
                <a:lnTo>
                  <a:pt x="399479" y="6159116"/>
                </a:lnTo>
                <a:cubicBezTo>
                  <a:pt x="407947" y="6150648"/>
                  <a:pt x="416416" y="6150648"/>
                  <a:pt x="432574" y="6142179"/>
                </a:cubicBezTo>
                <a:cubicBezTo>
                  <a:pt x="432574" y="6142179"/>
                  <a:pt x="432574" y="6142179"/>
                  <a:pt x="441042" y="6142179"/>
                </a:cubicBezTo>
                <a:cubicBezTo>
                  <a:pt x="449511" y="6133710"/>
                  <a:pt x="465669" y="6133710"/>
                  <a:pt x="474137" y="6133710"/>
                </a:cubicBezTo>
                <a:cubicBezTo>
                  <a:pt x="474137" y="6133710"/>
                  <a:pt x="474137" y="6133710"/>
                  <a:pt x="482606" y="6133710"/>
                </a:cubicBezTo>
                <a:cubicBezTo>
                  <a:pt x="499543" y="6133710"/>
                  <a:pt x="507232" y="6125242"/>
                  <a:pt x="524169" y="6125242"/>
                </a:cubicBezTo>
                <a:lnTo>
                  <a:pt x="4123269" y="6125242"/>
                </a:lnTo>
                <a:cubicBezTo>
                  <a:pt x="4306461" y="6125242"/>
                  <a:pt x="4497342" y="6000551"/>
                  <a:pt x="4497342" y="5734232"/>
                </a:cubicBezTo>
                <a:lnTo>
                  <a:pt x="4497342" y="5684200"/>
                </a:lnTo>
                <a:lnTo>
                  <a:pt x="4497342" y="1212273"/>
                </a:lnTo>
                <a:lnTo>
                  <a:pt x="4929915" y="1212273"/>
                </a:lnTo>
                <a:lnTo>
                  <a:pt x="4929915" y="6042894"/>
                </a:lnTo>
                <a:lnTo>
                  <a:pt x="4929136" y="6042894"/>
                </a:ln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5" name="Forma libre 300">
            <a:extLst>
              <a:ext uri="{FF2B5EF4-FFF2-40B4-BE49-F238E27FC236}">
                <a16:creationId xmlns:a16="http://schemas.microsoft.com/office/drawing/2014/main" xmlns="" id="{8D02ADF6-06CD-1945-A8EF-D0375ADFDBAA}"/>
              </a:ext>
            </a:extLst>
          </p:cNvPr>
          <p:cNvSpPr/>
          <p:nvPr/>
        </p:nvSpPr>
        <p:spPr>
          <a:xfrm>
            <a:off x="6502609" y="1403342"/>
            <a:ext cx="301338" cy="301831"/>
          </a:xfrm>
          <a:custGeom>
            <a:avLst/>
            <a:gdLst>
              <a:gd name="connsiteX0" fmla="*/ 4975861 w 5819775"/>
              <a:gd name="connsiteY0" fmla="*/ 855383 h 5829300"/>
              <a:gd name="connsiteX1" fmla="*/ 2914469 w 5819775"/>
              <a:gd name="connsiteY1" fmla="*/ 0 h 5829300"/>
              <a:gd name="connsiteX2" fmla="*/ 853078 w 5819775"/>
              <a:gd name="connsiteY2" fmla="*/ 855383 h 5829300"/>
              <a:gd name="connsiteX3" fmla="*/ 853078 w 5819775"/>
              <a:gd name="connsiteY3" fmla="*/ 4978166 h 5829300"/>
              <a:gd name="connsiteX4" fmla="*/ 2914469 w 5819775"/>
              <a:gd name="connsiteY4" fmla="*/ 5833548 h 5829300"/>
              <a:gd name="connsiteX5" fmla="*/ 4975861 w 5819775"/>
              <a:gd name="connsiteY5" fmla="*/ 4978166 h 5829300"/>
              <a:gd name="connsiteX6" fmla="*/ 4975861 w 5819775"/>
              <a:gd name="connsiteY6" fmla="*/ 855383 h 5829300"/>
              <a:gd name="connsiteX7" fmla="*/ 4777216 w 5819775"/>
              <a:gd name="connsiteY7" fmla="*/ 4779521 h 5829300"/>
              <a:gd name="connsiteX8" fmla="*/ 2914469 w 5819775"/>
              <a:gd name="connsiteY8" fmla="*/ 5550779 h 5829300"/>
              <a:gd name="connsiteX9" fmla="*/ 1051722 w 5819775"/>
              <a:gd name="connsiteY9" fmla="*/ 4779521 h 5829300"/>
              <a:gd name="connsiteX10" fmla="*/ 280464 w 5819775"/>
              <a:gd name="connsiteY10" fmla="*/ 2916774 h 5829300"/>
              <a:gd name="connsiteX11" fmla="*/ 1051722 w 5819775"/>
              <a:gd name="connsiteY11" fmla="*/ 1054027 h 5829300"/>
              <a:gd name="connsiteX12" fmla="*/ 2914469 w 5819775"/>
              <a:gd name="connsiteY12" fmla="*/ 282769 h 5829300"/>
              <a:gd name="connsiteX13" fmla="*/ 4777216 w 5819775"/>
              <a:gd name="connsiteY13" fmla="*/ 1054027 h 5829300"/>
              <a:gd name="connsiteX14" fmla="*/ 5548474 w 5819775"/>
              <a:gd name="connsiteY14" fmla="*/ 2916774 h 5829300"/>
              <a:gd name="connsiteX15" fmla="*/ 4777216 w 5819775"/>
              <a:gd name="connsiteY15" fmla="*/ 4779521 h 5829300"/>
              <a:gd name="connsiteX16" fmla="*/ 3800246 w 5819775"/>
              <a:gd name="connsiteY16" fmla="*/ 2237413 h 5829300"/>
              <a:gd name="connsiteX17" fmla="*/ 3090491 w 5819775"/>
              <a:gd name="connsiteY17" fmla="*/ 2947168 h 5829300"/>
              <a:gd name="connsiteX18" fmla="*/ 3800246 w 5819775"/>
              <a:gd name="connsiteY18" fmla="*/ 3656924 h 5829300"/>
              <a:gd name="connsiteX19" fmla="*/ 3800246 w 5819775"/>
              <a:gd name="connsiteY19" fmla="*/ 3855568 h 5829300"/>
              <a:gd name="connsiteX20" fmla="*/ 3701272 w 5819775"/>
              <a:gd name="connsiteY20" fmla="*/ 3893744 h 5829300"/>
              <a:gd name="connsiteX21" fmla="*/ 3602308 w 5819775"/>
              <a:gd name="connsiteY21" fmla="*/ 3855568 h 5829300"/>
              <a:gd name="connsiteX22" fmla="*/ 2891847 w 5819775"/>
              <a:gd name="connsiteY22" fmla="*/ 3145812 h 5829300"/>
              <a:gd name="connsiteX23" fmla="*/ 2181387 w 5819775"/>
              <a:gd name="connsiteY23" fmla="*/ 3855568 h 5829300"/>
              <a:gd name="connsiteX24" fmla="*/ 2082422 w 5819775"/>
              <a:gd name="connsiteY24" fmla="*/ 3893744 h 5829300"/>
              <a:gd name="connsiteX25" fmla="*/ 1983458 w 5819775"/>
              <a:gd name="connsiteY25" fmla="*/ 3855568 h 5829300"/>
              <a:gd name="connsiteX26" fmla="*/ 1983458 w 5819775"/>
              <a:gd name="connsiteY26" fmla="*/ 3656924 h 5829300"/>
              <a:gd name="connsiteX27" fmla="*/ 2693213 w 5819775"/>
              <a:gd name="connsiteY27" fmla="*/ 2947168 h 5829300"/>
              <a:gd name="connsiteX28" fmla="*/ 1983458 w 5819775"/>
              <a:gd name="connsiteY28" fmla="*/ 2237413 h 5829300"/>
              <a:gd name="connsiteX29" fmla="*/ 1983458 w 5819775"/>
              <a:gd name="connsiteY29" fmla="*/ 2038769 h 5829300"/>
              <a:gd name="connsiteX30" fmla="*/ 2182101 w 5819775"/>
              <a:gd name="connsiteY30" fmla="*/ 2038769 h 5829300"/>
              <a:gd name="connsiteX31" fmla="*/ 2891857 w 5819775"/>
              <a:gd name="connsiteY31" fmla="*/ 2748525 h 5829300"/>
              <a:gd name="connsiteX32" fmla="*/ 3601612 w 5819775"/>
              <a:gd name="connsiteY32" fmla="*/ 2038769 h 5829300"/>
              <a:gd name="connsiteX33" fmla="*/ 3800256 w 5819775"/>
              <a:gd name="connsiteY33" fmla="*/ 2038769 h 5829300"/>
              <a:gd name="connsiteX34" fmla="*/ 3800246 w 5819775"/>
              <a:gd name="connsiteY34" fmla="*/ 2237413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819775" h="5829300">
                <a:moveTo>
                  <a:pt x="4975861" y="855383"/>
                </a:moveTo>
                <a:cubicBezTo>
                  <a:pt x="4425868" y="305391"/>
                  <a:pt x="3693500" y="0"/>
                  <a:pt x="2914469" y="0"/>
                </a:cubicBezTo>
                <a:cubicBezTo>
                  <a:pt x="2135438" y="0"/>
                  <a:pt x="1403061" y="305391"/>
                  <a:pt x="853078" y="855383"/>
                </a:cubicBezTo>
                <a:cubicBezTo>
                  <a:pt x="-284359" y="1992821"/>
                  <a:pt x="-284359" y="3840728"/>
                  <a:pt x="853078" y="4978166"/>
                </a:cubicBezTo>
                <a:cubicBezTo>
                  <a:pt x="1403061" y="5528148"/>
                  <a:pt x="2135438" y="5833548"/>
                  <a:pt x="2914469" y="5833548"/>
                </a:cubicBezTo>
                <a:cubicBezTo>
                  <a:pt x="3693500" y="5833548"/>
                  <a:pt x="4425877" y="5528158"/>
                  <a:pt x="4975861" y="4978166"/>
                </a:cubicBezTo>
                <a:cubicBezTo>
                  <a:pt x="6113297" y="3840718"/>
                  <a:pt x="6113297" y="1992821"/>
                  <a:pt x="4975861" y="855383"/>
                </a:cubicBezTo>
                <a:close/>
                <a:moveTo>
                  <a:pt x="4777216" y="4779521"/>
                </a:moveTo>
                <a:cubicBezTo>
                  <a:pt x="4280954" y="5275783"/>
                  <a:pt x="3617157" y="5550779"/>
                  <a:pt x="2914469" y="5550779"/>
                </a:cubicBezTo>
                <a:cubicBezTo>
                  <a:pt x="2211781" y="5550779"/>
                  <a:pt x="1547984" y="5275783"/>
                  <a:pt x="1051722" y="4779521"/>
                </a:cubicBezTo>
                <a:cubicBezTo>
                  <a:pt x="555460" y="4283259"/>
                  <a:pt x="280464" y="3619452"/>
                  <a:pt x="280464" y="2916774"/>
                </a:cubicBezTo>
                <a:cubicBezTo>
                  <a:pt x="280464" y="2214096"/>
                  <a:pt x="555460" y="1550289"/>
                  <a:pt x="1051722" y="1054027"/>
                </a:cubicBezTo>
                <a:cubicBezTo>
                  <a:pt x="1547984" y="557765"/>
                  <a:pt x="2212496" y="282769"/>
                  <a:pt x="2914469" y="282769"/>
                </a:cubicBezTo>
                <a:cubicBezTo>
                  <a:pt x="3616442" y="282769"/>
                  <a:pt x="4280954" y="557765"/>
                  <a:pt x="4777216" y="1054027"/>
                </a:cubicBezTo>
                <a:cubicBezTo>
                  <a:pt x="5273478" y="1550289"/>
                  <a:pt x="5548474" y="2214801"/>
                  <a:pt x="5548474" y="2916774"/>
                </a:cubicBezTo>
                <a:cubicBezTo>
                  <a:pt x="5548474" y="3618748"/>
                  <a:pt x="5273469" y="4283259"/>
                  <a:pt x="4777216" y="4779521"/>
                </a:cubicBezTo>
                <a:close/>
                <a:moveTo>
                  <a:pt x="3800246" y="2237413"/>
                </a:moveTo>
                <a:lnTo>
                  <a:pt x="3090491" y="2947168"/>
                </a:lnTo>
                <a:lnTo>
                  <a:pt x="3800246" y="3656924"/>
                </a:lnTo>
                <a:cubicBezTo>
                  <a:pt x="3853977" y="3710654"/>
                  <a:pt x="3853977" y="3801847"/>
                  <a:pt x="3800246" y="3855568"/>
                </a:cubicBezTo>
                <a:cubicBezTo>
                  <a:pt x="3769852" y="3885962"/>
                  <a:pt x="3739448" y="3893744"/>
                  <a:pt x="3701272" y="3893744"/>
                </a:cubicBezTo>
                <a:cubicBezTo>
                  <a:pt x="3663096" y="3893744"/>
                  <a:pt x="3632702" y="3878190"/>
                  <a:pt x="3602308" y="3855568"/>
                </a:cubicBezTo>
                <a:lnTo>
                  <a:pt x="2891847" y="3145812"/>
                </a:lnTo>
                <a:lnTo>
                  <a:pt x="2181387" y="3855568"/>
                </a:lnTo>
                <a:cubicBezTo>
                  <a:pt x="2150993" y="3885962"/>
                  <a:pt x="2120589" y="3893744"/>
                  <a:pt x="2082422" y="3893744"/>
                </a:cubicBezTo>
                <a:cubicBezTo>
                  <a:pt x="2044256" y="3893744"/>
                  <a:pt x="2013852" y="3878190"/>
                  <a:pt x="1983458" y="3855568"/>
                </a:cubicBezTo>
                <a:cubicBezTo>
                  <a:pt x="1929727" y="3801837"/>
                  <a:pt x="1929727" y="3710645"/>
                  <a:pt x="1983458" y="3656924"/>
                </a:cubicBezTo>
                <a:lnTo>
                  <a:pt x="2693213" y="2947168"/>
                </a:lnTo>
                <a:lnTo>
                  <a:pt x="1983458" y="2237413"/>
                </a:lnTo>
                <a:cubicBezTo>
                  <a:pt x="1929727" y="2183683"/>
                  <a:pt x="1929727" y="2092490"/>
                  <a:pt x="1983458" y="2038769"/>
                </a:cubicBezTo>
                <a:cubicBezTo>
                  <a:pt x="2037188" y="1985039"/>
                  <a:pt x="2128380" y="1985039"/>
                  <a:pt x="2182101" y="2038769"/>
                </a:cubicBezTo>
                <a:lnTo>
                  <a:pt x="2891857" y="2748525"/>
                </a:lnTo>
                <a:lnTo>
                  <a:pt x="3601612" y="2038769"/>
                </a:lnTo>
                <a:cubicBezTo>
                  <a:pt x="3655343" y="1985039"/>
                  <a:pt x="3746535" y="1985039"/>
                  <a:pt x="3800256" y="2038769"/>
                </a:cubicBezTo>
                <a:cubicBezTo>
                  <a:pt x="3853968" y="2092500"/>
                  <a:pt x="3853968" y="2175910"/>
                  <a:pt x="3800246" y="2237413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6" name="Forma libre 302">
            <a:extLst>
              <a:ext uri="{FF2B5EF4-FFF2-40B4-BE49-F238E27FC236}">
                <a16:creationId xmlns:a16="http://schemas.microsoft.com/office/drawing/2014/main" xmlns="" id="{6294E537-CDA4-7B4E-AA0A-EF15449EDD86}"/>
              </a:ext>
            </a:extLst>
          </p:cNvPr>
          <p:cNvSpPr/>
          <p:nvPr/>
        </p:nvSpPr>
        <p:spPr>
          <a:xfrm>
            <a:off x="6460771" y="4669797"/>
            <a:ext cx="301338" cy="337341"/>
          </a:xfrm>
          <a:custGeom>
            <a:avLst/>
            <a:gdLst>
              <a:gd name="connsiteX0" fmla="*/ 5398875 w 5819775"/>
              <a:gd name="connsiteY0" fmla="*/ 0 h 6515100"/>
              <a:gd name="connsiteX1" fmla="*/ 421100 w 5819775"/>
              <a:gd name="connsiteY1" fmla="*/ 0 h 6515100"/>
              <a:gd name="connsiteX2" fmla="*/ 0 w 5819775"/>
              <a:gd name="connsiteY2" fmla="*/ 421100 h 6515100"/>
              <a:gd name="connsiteX3" fmla="*/ 0 w 5819775"/>
              <a:gd name="connsiteY3" fmla="*/ 485489 h 6515100"/>
              <a:gd name="connsiteX4" fmla="*/ 0 w 5819775"/>
              <a:gd name="connsiteY4" fmla="*/ 494805 h 6515100"/>
              <a:gd name="connsiteX5" fmla="*/ 0 w 5819775"/>
              <a:gd name="connsiteY5" fmla="*/ 1089593 h 6515100"/>
              <a:gd name="connsiteX6" fmla="*/ 0 w 5819775"/>
              <a:gd name="connsiteY6" fmla="*/ 1098909 h 6515100"/>
              <a:gd name="connsiteX7" fmla="*/ 0 w 5819775"/>
              <a:gd name="connsiteY7" fmla="*/ 2004651 h 6515100"/>
              <a:gd name="connsiteX8" fmla="*/ 421100 w 5819775"/>
              <a:gd name="connsiteY8" fmla="*/ 2425751 h 6515100"/>
              <a:gd name="connsiteX9" fmla="*/ 1161621 w 5819775"/>
              <a:gd name="connsiteY9" fmla="*/ 2425751 h 6515100"/>
              <a:gd name="connsiteX10" fmla="*/ 1582722 w 5819775"/>
              <a:gd name="connsiteY10" fmla="*/ 2004651 h 6515100"/>
              <a:gd name="connsiteX11" fmla="*/ 1582722 w 5819775"/>
              <a:gd name="connsiteY11" fmla="*/ 1574235 h 6515100"/>
              <a:gd name="connsiteX12" fmla="*/ 2113121 w 5819775"/>
              <a:gd name="connsiteY12" fmla="*/ 1574235 h 6515100"/>
              <a:gd name="connsiteX13" fmla="*/ 2113121 w 5819775"/>
              <a:gd name="connsiteY13" fmla="*/ 4914233 h 6515100"/>
              <a:gd name="connsiteX14" fmla="*/ 1527648 w 5819775"/>
              <a:gd name="connsiteY14" fmla="*/ 4914233 h 6515100"/>
              <a:gd name="connsiteX15" fmla="*/ 1125188 w 5819775"/>
              <a:gd name="connsiteY15" fmla="*/ 5316693 h 6515100"/>
              <a:gd name="connsiteX16" fmla="*/ 1125188 w 5819775"/>
              <a:gd name="connsiteY16" fmla="*/ 6103820 h 6515100"/>
              <a:gd name="connsiteX17" fmla="*/ 1527648 w 5819775"/>
              <a:gd name="connsiteY17" fmla="*/ 6506280 h 6515100"/>
              <a:gd name="connsiteX18" fmla="*/ 2241061 w 5819775"/>
              <a:gd name="connsiteY18" fmla="*/ 6506280 h 6515100"/>
              <a:gd name="connsiteX19" fmla="*/ 2286819 w 5819775"/>
              <a:gd name="connsiteY19" fmla="*/ 6515605 h 6515100"/>
              <a:gd name="connsiteX20" fmla="*/ 3531479 w 5819775"/>
              <a:gd name="connsiteY20" fmla="*/ 6515605 h 6515100"/>
              <a:gd name="connsiteX21" fmla="*/ 3567913 w 5819775"/>
              <a:gd name="connsiteY21" fmla="*/ 6506280 h 6515100"/>
              <a:gd name="connsiteX22" fmla="*/ 4263533 w 5819775"/>
              <a:gd name="connsiteY22" fmla="*/ 6506280 h 6515100"/>
              <a:gd name="connsiteX23" fmla="*/ 4665993 w 5819775"/>
              <a:gd name="connsiteY23" fmla="*/ 6103820 h 6515100"/>
              <a:gd name="connsiteX24" fmla="*/ 4665993 w 5819775"/>
              <a:gd name="connsiteY24" fmla="*/ 5326018 h 6515100"/>
              <a:gd name="connsiteX25" fmla="*/ 4263533 w 5819775"/>
              <a:gd name="connsiteY25" fmla="*/ 4923558 h 6515100"/>
              <a:gd name="connsiteX26" fmla="*/ 3695853 w 5819775"/>
              <a:gd name="connsiteY26" fmla="*/ 4923558 h 6515100"/>
              <a:gd name="connsiteX27" fmla="*/ 3695853 w 5819775"/>
              <a:gd name="connsiteY27" fmla="*/ 1583569 h 6515100"/>
              <a:gd name="connsiteX28" fmla="*/ 4244893 w 5819775"/>
              <a:gd name="connsiteY28" fmla="*/ 1583569 h 6515100"/>
              <a:gd name="connsiteX29" fmla="*/ 4244893 w 5819775"/>
              <a:gd name="connsiteY29" fmla="*/ 2013985 h 6515100"/>
              <a:gd name="connsiteX30" fmla="*/ 4665993 w 5819775"/>
              <a:gd name="connsiteY30" fmla="*/ 2435085 h 6515100"/>
              <a:gd name="connsiteX31" fmla="*/ 5407362 w 5819775"/>
              <a:gd name="connsiteY31" fmla="*/ 2435085 h 6515100"/>
              <a:gd name="connsiteX32" fmla="*/ 5828462 w 5819775"/>
              <a:gd name="connsiteY32" fmla="*/ 2013985 h 6515100"/>
              <a:gd name="connsiteX33" fmla="*/ 5828462 w 5819775"/>
              <a:gd name="connsiteY33" fmla="*/ 421100 h 6515100"/>
              <a:gd name="connsiteX34" fmla="*/ 5398875 w 5819775"/>
              <a:gd name="connsiteY34" fmla="*/ 0 h 6515100"/>
              <a:gd name="connsiteX35" fmla="*/ 5481066 w 5819775"/>
              <a:gd name="connsiteY35" fmla="*/ 2013137 h 6515100"/>
              <a:gd name="connsiteX36" fmla="*/ 5398885 w 5819775"/>
              <a:gd name="connsiteY36" fmla="*/ 2095319 h 6515100"/>
              <a:gd name="connsiteX37" fmla="*/ 4657516 w 5819775"/>
              <a:gd name="connsiteY37" fmla="*/ 2095319 h 6515100"/>
              <a:gd name="connsiteX38" fmla="*/ 4575334 w 5819775"/>
              <a:gd name="connsiteY38" fmla="*/ 2013137 h 6515100"/>
              <a:gd name="connsiteX39" fmla="*/ 4575334 w 5819775"/>
              <a:gd name="connsiteY39" fmla="*/ 1418349 h 6515100"/>
              <a:gd name="connsiteX40" fmla="*/ 4410961 w 5819775"/>
              <a:gd name="connsiteY40" fmla="*/ 1253976 h 6515100"/>
              <a:gd name="connsiteX41" fmla="*/ 3523012 w 5819775"/>
              <a:gd name="connsiteY41" fmla="*/ 1253976 h 6515100"/>
              <a:gd name="connsiteX42" fmla="*/ 3358639 w 5819775"/>
              <a:gd name="connsiteY42" fmla="*/ 1418349 h 6515100"/>
              <a:gd name="connsiteX43" fmla="*/ 3358639 w 5819775"/>
              <a:gd name="connsiteY43" fmla="*/ 5097247 h 6515100"/>
              <a:gd name="connsiteX44" fmla="*/ 3523012 w 5819775"/>
              <a:gd name="connsiteY44" fmla="*/ 5261620 h 6515100"/>
              <a:gd name="connsiteX45" fmla="*/ 4264381 w 5819775"/>
              <a:gd name="connsiteY45" fmla="*/ 5261620 h 6515100"/>
              <a:gd name="connsiteX46" fmla="*/ 4328770 w 5819775"/>
              <a:gd name="connsiteY46" fmla="*/ 5326009 h 6515100"/>
              <a:gd name="connsiteX47" fmla="*/ 4328770 w 5819775"/>
              <a:gd name="connsiteY47" fmla="*/ 6103811 h 6515100"/>
              <a:gd name="connsiteX48" fmla="*/ 4264381 w 5819775"/>
              <a:gd name="connsiteY48" fmla="*/ 6168200 h 6515100"/>
              <a:gd name="connsiteX49" fmla="*/ 3523012 w 5819775"/>
              <a:gd name="connsiteY49" fmla="*/ 6168200 h 6515100"/>
              <a:gd name="connsiteX50" fmla="*/ 3477263 w 5819775"/>
              <a:gd name="connsiteY50" fmla="*/ 6177515 h 6515100"/>
              <a:gd name="connsiteX51" fmla="*/ 2324091 w 5819775"/>
              <a:gd name="connsiteY51" fmla="*/ 6177515 h 6515100"/>
              <a:gd name="connsiteX52" fmla="*/ 2278342 w 5819775"/>
              <a:gd name="connsiteY52" fmla="*/ 6168200 h 6515100"/>
              <a:gd name="connsiteX53" fmla="*/ 1519180 w 5819775"/>
              <a:gd name="connsiteY53" fmla="*/ 6168200 h 6515100"/>
              <a:gd name="connsiteX54" fmla="*/ 1454791 w 5819775"/>
              <a:gd name="connsiteY54" fmla="*/ 6103811 h 6515100"/>
              <a:gd name="connsiteX55" fmla="*/ 1454791 w 5819775"/>
              <a:gd name="connsiteY55" fmla="*/ 5326009 h 6515100"/>
              <a:gd name="connsiteX56" fmla="*/ 1519180 w 5819775"/>
              <a:gd name="connsiteY56" fmla="*/ 5261620 h 6515100"/>
              <a:gd name="connsiteX57" fmla="*/ 2278342 w 5819775"/>
              <a:gd name="connsiteY57" fmla="*/ 5261620 h 6515100"/>
              <a:gd name="connsiteX58" fmla="*/ 2442715 w 5819775"/>
              <a:gd name="connsiteY58" fmla="*/ 5097247 h 6515100"/>
              <a:gd name="connsiteX59" fmla="*/ 2442715 w 5819775"/>
              <a:gd name="connsiteY59" fmla="*/ 1409881 h 6515100"/>
              <a:gd name="connsiteX60" fmla="*/ 2278342 w 5819775"/>
              <a:gd name="connsiteY60" fmla="*/ 1245508 h 6515100"/>
              <a:gd name="connsiteX61" fmla="*/ 1409024 w 5819775"/>
              <a:gd name="connsiteY61" fmla="*/ 1245508 h 6515100"/>
              <a:gd name="connsiteX62" fmla="*/ 1244651 w 5819775"/>
              <a:gd name="connsiteY62" fmla="*/ 1409881 h 6515100"/>
              <a:gd name="connsiteX63" fmla="*/ 1244651 w 5819775"/>
              <a:gd name="connsiteY63" fmla="*/ 2004670 h 6515100"/>
              <a:gd name="connsiteX64" fmla="*/ 1162469 w 5819775"/>
              <a:gd name="connsiteY64" fmla="*/ 2086861 h 6515100"/>
              <a:gd name="connsiteX65" fmla="*/ 421100 w 5819775"/>
              <a:gd name="connsiteY65" fmla="*/ 2086861 h 6515100"/>
              <a:gd name="connsiteX66" fmla="*/ 338909 w 5819775"/>
              <a:gd name="connsiteY66" fmla="*/ 2004670 h 6515100"/>
              <a:gd name="connsiteX67" fmla="*/ 338909 w 5819775"/>
              <a:gd name="connsiteY67" fmla="*/ 1089603 h 6515100"/>
              <a:gd name="connsiteX68" fmla="*/ 338909 w 5819775"/>
              <a:gd name="connsiteY68" fmla="*/ 1080287 h 6515100"/>
              <a:gd name="connsiteX69" fmla="*/ 338909 w 5819775"/>
              <a:gd name="connsiteY69" fmla="*/ 504130 h 6515100"/>
              <a:gd name="connsiteX70" fmla="*/ 338909 w 5819775"/>
              <a:gd name="connsiteY70" fmla="*/ 494814 h 6515100"/>
              <a:gd name="connsiteX71" fmla="*/ 338909 w 5819775"/>
              <a:gd name="connsiteY71" fmla="*/ 421948 h 6515100"/>
              <a:gd name="connsiteX72" fmla="*/ 421100 w 5819775"/>
              <a:gd name="connsiteY72" fmla="*/ 339766 h 6515100"/>
              <a:gd name="connsiteX73" fmla="*/ 5398885 w 5819775"/>
              <a:gd name="connsiteY73" fmla="*/ 339766 h 6515100"/>
              <a:gd name="connsiteX74" fmla="*/ 5481066 w 5819775"/>
              <a:gd name="connsiteY74" fmla="*/ 421948 h 6515100"/>
              <a:gd name="connsiteX75" fmla="*/ 5481066 w 5819775"/>
              <a:gd name="connsiteY75" fmla="*/ 2013137 h 6515100"/>
              <a:gd name="connsiteX76" fmla="*/ 5481066 w 5819775"/>
              <a:gd name="connsiteY76" fmla="*/ 2013137 h 651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819775" h="6515100">
                <a:moveTo>
                  <a:pt x="5398875" y="0"/>
                </a:moveTo>
                <a:lnTo>
                  <a:pt x="421100" y="0"/>
                </a:lnTo>
                <a:cubicBezTo>
                  <a:pt x="192338" y="0"/>
                  <a:pt x="0" y="183013"/>
                  <a:pt x="0" y="421100"/>
                </a:cubicBezTo>
                <a:lnTo>
                  <a:pt x="0" y="485489"/>
                </a:lnTo>
                <a:cubicBezTo>
                  <a:pt x="0" y="494805"/>
                  <a:pt x="0" y="494805"/>
                  <a:pt x="0" y="494805"/>
                </a:cubicBezTo>
                <a:lnTo>
                  <a:pt x="0" y="1089593"/>
                </a:lnTo>
                <a:lnTo>
                  <a:pt x="0" y="1098909"/>
                </a:lnTo>
                <a:lnTo>
                  <a:pt x="0" y="2004651"/>
                </a:lnTo>
                <a:cubicBezTo>
                  <a:pt x="0" y="2233413"/>
                  <a:pt x="183013" y="2425751"/>
                  <a:pt x="421100" y="2425751"/>
                </a:cubicBezTo>
                <a:lnTo>
                  <a:pt x="1161621" y="2425751"/>
                </a:lnTo>
                <a:cubicBezTo>
                  <a:pt x="1390383" y="2425751"/>
                  <a:pt x="1582722" y="2242738"/>
                  <a:pt x="1582722" y="2004651"/>
                </a:cubicBezTo>
                <a:lnTo>
                  <a:pt x="1582722" y="1574235"/>
                </a:lnTo>
                <a:lnTo>
                  <a:pt x="2113121" y="1574235"/>
                </a:lnTo>
                <a:lnTo>
                  <a:pt x="2113121" y="4914233"/>
                </a:lnTo>
                <a:lnTo>
                  <a:pt x="1527648" y="4914233"/>
                </a:lnTo>
                <a:cubicBezTo>
                  <a:pt x="1308202" y="4914233"/>
                  <a:pt x="1125188" y="5097247"/>
                  <a:pt x="1125188" y="5316693"/>
                </a:cubicBezTo>
                <a:lnTo>
                  <a:pt x="1125188" y="6103820"/>
                </a:lnTo>
                <a:cubicBezTo>
                  <a:pt x="1125188" y="6323267"/>
                  <a:pt x="1308202" y="6506280"/>
                  <a:pt x="1527648" y="6506280"/>
                </a:cubicBezTo>
                <a:lnTo>
                  <a:pt x="2241061" y="6506280"/>
                </a:lnTo>
                <a:cubicBezTo>
                  <a:pt x="2250377" y="6506280"/>
                  <a:pt x="2268179" y="6515605"/>
                  <a:pt x="2286819" y="6515605"/>
                </a:cubicBezTo>
                <a:lnTo>
                  <a:pt x="3531479" y="6515605"/>
                </a:lnTo>
                <a:cubicBezTo>
                  <a:pt x="3550120" y="6515605"/>
                  <a:pt x="3558588" y="6515605"/>
                  <a:pt x="3567913" y="6506280"/>
                </a:cubicBezTo>
                <a:lnTo>
                  <a:pt x="4263533" y="6506280"/>
                </a:lnTo>
                <a:cubicBezTo>
                  <a:pt x="4482980" y="6506280"/>
                  <a:pt x="4665993" y="6323267"/>
                  <a:pt x="4665993" y="6103820"/>
                </a:cubicBezTo>
                <a:lnTo>
                  <a:pt x="4665993" y="5326018"/>
                </a:lnTo>
                <a:cubicBezTo>
                  <a:pt x="4665993" y="5106572"/>
                  <a:pt x="4482980" y="4923558"/>
                  <a:pt x="4263533" y="4923558"/>
                </a:cubicBezTo>
                <a:lnTo>
                  <a:pt x="3695853" y="4923558"/>
                </a:lnTo>
                <a:lnTo>
                  <a:pt x="3695853" y="1583569"/>
                </a:lnTo>
                <a:lnTo>
                  <a:pt x="4244893" y="1583569"/>
                </a:lnTo>
                <a:lnTo>
                  <a:pt x="4244893" y="2013985"/>
                </a:lnTo>
                <a:cubicBezTo>
                  <a:pt x="4244893" y="2242747"/>
                  <a:pt x="4427906" y="2435085"/>
                  <a:pt x="4665993" y="2435085"/>
                </a:cubicBezTo>
                <a:lnTo>
                  <a:pt x="5407362" y="2435085"/>
                </a:lnTo>
                <a:cubicBezTo>
                  <a:pt x="5636124" y="2435085"/>
                  <a:pt x="5828462" y="2252072"/>
                  <a:pt x="5828462" y="2013985"/>
                </a:cubicBezTo>
                <a:lnTo>
                  <a:pt x="5828462" y="421100"/>
                </a:lnTo>
                <a:cubicBezTo>
                  <a:pt x="5819975" y="192329"/>
                  <a:pt x="5627647" y="0"/>
                  <a:pt x="5398875" y="0"/>
                </a:cubicBezTo>
                <a:close/>
                <a:moveTo>
                  <a:pt x="5481066" y="2013137"/>
                </a:moveTo>
                <a:cubicBezTo>
                  <a:pt x="5481066" y="2058886"/>
                  <a:pt x="5444633" y="2095319"/>
                  <a:pt x="5398885" y="2095319"/>
                </a:cubicBezTo>
                <a:lnTo>
                  <a:pt x="4657516" y="2095319"/>
                </a:lnTo>
                <a:cubicBezTo>
                  <a:pt x="4611767" y="2095319"/>
                  <a:pt x="4575334" y="2058886"/>
                  <a:pt x="4575334" y="2013137"/>
                </a:cubicBezTo>
                <a:lnTo>
                  <a:pt x="4575334" y="1418349"/>
                </a:lnTo>
                <a:cubicBezTo>
                  <a:pt x="4575334" y="1326842"/>
                  <a:pt x="4502468" y="1253976"/>
                  <a:pt x="4410961" y="1253976"/>
                </a:cubicBezTo>
                <a:lnTo>
                  <a:pt x="3523012" y="1253976"/>
                </a:lnTo>
                <a:cubicBezTo>
                  <a:pt x="3431505" y="1253976"/>
                  <a:pt x="3358639" y="1326842"/>
                  <a:pt x="3358639" y="1418349"/>
                </a:cubicBezTo>
                <a:lnTo>
                  <a:pt x="3358639" y="5097247"/>
                </a:lnTo>
                <a:cubicBezTo>
                  <a:pt x="3358639" y="5188753"/>
                  <a:pt x="3431505" y="5261620"/>
                  <a:pt x="3523012" y="5261620"/>
                </a:cubicBezTo>
                <a:lnTo>
                  <a:pt x="4264381" y="5261620"/>
                </a:lnTo>
                <a:cubicBezTo>
                  <a:pt x="4300814" y="5261620"/>
                  <a:pt x="4328770" y="5288728"/>
                  <a:pt x="4328770" y="5326009"/>
                </a:cubicBezTo>
                <a:lnTo>
                  <a:pt x="4328770" y="6103811"/>
                </a:lnTo>
                <a:cubicBezTo>
                  <a:pt x="4328770" y="6140244"/>
                  <a:pt x="4301662" y="6168200"/>
                  <a:pt x="4264381" y="6168200"/>
                </a:cubicBezTo>
                <a:lnTo>
                  <a:pt x="3523012" y="6168200"/>
                </a:lnTo>
                <a:cubicBezTo>
                  <a:pt x="3504372" y="6168200"/>
                  <a:pt x="3495904" y="6168200"/>
                  <a:pt x="3477263" y="6177515"/>
                </a:cubicBezTo>
                <a:lnTo>
                  <a:pt x="2324091" y="6177515"/>
                </a:lnTo>
                <a:cubicBezTo>
                  <a:pt x="2314775" y="6177515"/>
                  <a:pt x="2296973" y="6168200"/>
                  <a:pt x="2278342" y="6168200"/>
                </a:cubicBezTo>
                <a:lnTo>
                  <a:pt x="1519180" y="6168200"/>
                </a:lnTo>
                <a:cubicBezTo>
                  <a:pt x="1482747" y="6168200"/>
                  <a:pt x="1454791" y="6141092"/>
                  <a:pt x="1454791" y="6103811"/>
                </a:cubicBezTo>
                <a:lnTo>
                  <a:pt x="1454791" y="5326009"/>
                </a:lnTo>
                <a:cubicBezTo>
                  <a:pt x="1454791" y="5289576"/>
                  <a:pt x="1481909" y="5261620"/>
                  <a:pt x="1519180" y="5261620"/>
                </a:cubicBezTo>
                <a:lnTo>
                  <a:pt x="2278342" y="5261620"/>
                </a:lnTo>
                <a:cubicBezTo>
                  <a:pt x="2369849" y="5261620"/>
                  <a:pt x="2442715" y="5188753"/>
                  <a:pt x="2442715" y="5097247"/>
                </a:cubicBezTo>
                <a:lnTo>
                  <a:pt x="2442715" y="1409881"/>
                </a:lnTo>
                <a:cubicBezTo>
                  <a:pt x="2442715" y="1318374"/>
                  <a:pt x="2369849" y="1245508"/>
                  <a:pt x="2278342" y="1245508"/>
                </a:cubicBezTo>
                <a:lnTo>
                  <a:pt x="1409024" y="1245508"/>
                </a:lnTo>
                <a:cubicBezTo>
                  <a:pt x="1317517" y="1245508"/>
                  <a:pt x="1244651" y="1318374"/>
                  <a:pt x="1244651" y="1409881"/>
                </a:cubicBezTo>
                <a:lnTo>
                  <a:pt x="1244651" y="2004670"/>
                </a:lnTo>
                <a:cubicBezTo>
                  <a:pt x="1244651" y="2050418"/>
                  <a:pt x="1208218" y="2086861"/>
                  <a:pt x="1162469" y="2086861"/>
                </a:cubicBezTo>
                <a:lnTo>
                  <a:pt x="421100" y="2086861"/>
                </a:lnTo>
                <a:cubicBezTo>
                  <a:pt x="375342" y="2086861"/>
                  <a:pt x="338909" y="2050428"/>
                  <a:pt x="338909" y="2004670"/>
                </a:cubicBezTo>
                <a:lnTo>
                  <a:pt x="338909" y="1089603"/>
                </a:lnTo>
                <a:lnTo>
                  <a:pt x="338909" y="1080287"/>
                </a:lnTo>
                <a:lnTo>
                  <a:pt x="338909" y="504130"/>
                </a:lnTo>
                <a:cubicBezTo>
                  <a:pt x="338909" y="494814"/>
                  <a:pt x="338909" y="494814"/>
                  <a:pt x="338909" y="494814"/>
                </a:cubicBezTo>
                <a:lnTo>
                  <a:pt x="338909" y="421948"/>
                </a:lnTo>
                <a:cubicBezTo>
                  <a:pt x="338909" y="376199"/>
                  <a:pt x="375342" y="339766"/>
                  <a:pt x="421100" y="339766"/>
                </a:cubicBezTo>
                <a:lnTo>
                  <a:pt x="5398885" y="339766"/>
                </a:lnTo>
                <a:cubicBezTo>
                  <a:pt x="5444643" y="339766"/>
                  <a:pt x="5481066" y="376199"/>
                  <a:pt x="5481066" y="421948"/>
                </a:cubicBezTo>
                <a:lnTo>
                  <a:pt x="5481066" y="2013137"/>
                </a:lnTo>
                <a:lnTo>
                  <a:pt x="5481066" y="2013137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7" name="Forma libre 304">
            <a:extLst>
              <a:ext uri="{FF2B5EF4-FFF2-40B4-BE49-F238E27FC236}">
                <a16:creationId xmlns:a16="http://schemas.microsoft.com/office/drawing/2014/main" xmlns="" id="{D1436535-17D3-E043-91F5-DFAAE31FCEA7}"/>
              </a:ext>
            </a:extLst>
          </p:cNvPr>
          <p:cNvSpPr/>
          <p:nvPr/>
        </p:nvSpPr>
        <p:spPr>
          <a:xfrm>
            <a:off x="6519133" y="5926515"/>
            <a:ext cx="246145" cy="354647"/>
          </a:xfrm>
          <a:custGeom>
            <a:avLst/>
            <a:gdLst>
              <a:gd name="connsiteX0" fmla="*/ 4748568 w 4753840"/>
              <a:gd name="connsiteY0" fmla="*/ 1037809 h 6849340"/>
              <a:gd name="connsiteX1" fmla="*/ 4748568 w 4753840"/>
              <a:gd name="connsiteY1" fmla="*/ 1037809 h 6849340"/>
              <a:gd name="connsiteX2" fmla="*/ 4748568 w 4753840"/>
              <a:gd name="connsiteY2" fmla="*/ 415126 h 6849340"/>
              <a:gd name="connsiteX3" fmla="*/ 4333442 w 4753840"/>
              <a:gd name="connsiteY3" fmla="*/ 0 h 6849340"/>
              <a:gd name="connsiteX4" fmla="*/ 423585 w 4753840"/>
              <a:gd name="connsiteY4" fmla="*/ 0 h 6849340"/>
              <a:gd name="connsiteX5" fmla="*/ 8460 w 4753840"/>
              <a:gd name="connsiteY5" fmla="*/ 415126 h 6849340"/>
              <a:gd name="connsiteX6" fmla="*/ 8460 w 4753840"/>
              <a:gd name="connsiteY6" fmla="*/ 1004758 h 6849340"/>
              <a:gd name="connsiteX7" fmla="*/ 0 w 4753840"/>
              <a:gd name="connsiteY7" fmla="*/ 1037818 h 6849340"/>
              <a:gd name="connsiteX8" fmla="*/ 0 w 4753840"/>
              <a:gd name="connsiteY8" fmla="*/ 5628782 h 6849340"/>
              <a:gd name="connsiteX9" fmla="*/ 8460 w 4753840"/>
              <a:gd name="connsiteY9" fmla="*/ 5661842 h 6849340"/>
              <a:gd name="connsiteX10" fmla="*/ 8460 w 4753840"/>
              <a:gd name="connsiteY10" fmla="*/ 6442121 h 6849340"/>
              <a:gd name="connsiteX11" fmla="*/ 423585 w 4753840"/>
              <a:gd name="connsiteY11" fmla="*/ 6857247 h 6849340"/>
              <a:gd name="connsiteX12" fmla="*/ 4342664 w 4753840"/>
              <a:gd name="connsiteY12" fmla="*/ 6857247 h 6849340"/>
              <a:gd name="connsiteX13" fmla="*/ 4757790 w 4753840"/>
              <a:gd name="connsiteY13" fmla="*/ 6442121 h 6849340"/>
              <a:gd name="connsiteX14" fmla="*/ 4757790 w 4753840"/>
              <a:gd name="connsiteY14" fmla="*/ 5638012 h 6849340"/>
              <a:gd name="connsiteX15" fmla="*/ 4757790 w 4753840"/>
              <a:gd name="connsiteY15" fmla="*/ 5629553 h 6849340"/>
              <a:gd name="connsiteX16" fmla="*/ 4757790 w 4753840"/>
              <a:gd name="connsiteY16" fmla="*/ 1037809 h 6849340"/>
              <a:gd name="connsiteX17" fmla="*/ 4748568 w 4753840"/>
              <a:gd name="connsiteY17" fmla="*/ 1037809 h 6849340"/>
              <a:gd name="connsiteX18" fmla="*/ 315200 w 4753840"/>
              <a:gd name="connsiteY18" fmla="*/ 1187716 h 6849340"/>
              <a:gd name="connsiteX19" fmla="*/ 4441837 w 4753840"/>
              <a:gd name="connsiteY19" fmla="*/ 1187716 h 6849340"/>
              <a:gd name="connsiteX20" fmla="*/ 4441837 w 4753840"/>
              <a:gd name="connsiteY20" fmla="*/ 5471948 h 6849340"/>
              <a:gd name="connsiteX21" fmla="*/ 315200 w 4753840"/>
              <a:gd name="connsiteY21" fmla="*/ 5471948 h 6849340"/>
              <a:gd name="connsiteX22" fmla="*/ 315200 w 4753840"/>
              <a:gd name="connsiteY22" fmla="*/ 1187716 h 6849340"/>
              <a:gd name="connsiteX23" fmla="*/ 423585 w 4753840"/>
              <a:gd name="connsiteY23" fmla="*/ 307502 h 6849340"/>
              <a:gd name="connsiteX24" fmla="*/ 4342664 w 4753840"/>
              <a:gd name="connsiteY24" fmla="*/ 307502 h 6849340"/>
              <a:gd name="connsiteX25" fmla="*/ 4450288 w 4753840"/>
              <a:gd name="connsiteY25" fmla="*/ 415126 h 6849340"/>
              <a:gd name="connsiteX26" fmla="*/ 4450288 w 4753840"/>
              <a:gd name="connsiteY26" fmla="*/ 888674 h 6849340"/>
              <a:gd name="connsiteX27" fmla="*/ 315200 w 4753840"/>
              <a:gd name="connsiteY27" fmla="*/ 888674 h 6849340"/>
              <a:gd name="connsiteX28" fmla="*/ 315200 w 4753840"/>
              <a:gd name="connsiteY28" fmla="*/ 415126 h 6849340"/>
              <a:gd name="connsiteX29" fmla="*/ 423585 w 4753840"/>
              <a:gd name="connsiteY29" fmla="*/ 307502 h 6849340"/>
              <a:gd name="connsiteX30" fmla="*/ 4341894 w 4753840"/>
              <a:gd name="connsiteY30" fmla="*/ 6551270 h 6849340"/>
              <a:gd name="connsiteX31" fmla="*/ 423585 w 4753840"/>
              <a:gd name="connsiteY31" fmla="*/ 6551270 h 6849340"/>
              <a:gd name="connsiteX32" fmla="*/ 315962 w 4753840"/>
              <a:gd name="connsiteY32" fmla="*/ 6443646 h 6849340"/>
              <a:gd name="connsiteX33" fmla="*/ 315962 w 4753840"/>
              <a:gd name="connsiteY33" fmla="*/ 5779450 h 6849340"/>
              <a:gd name="connsiteX34" fmla="*/ 4442599 w 4753840"/>
              <a:gd name="connsiteY34" fmla="*/ 5779450 h 6849340"/>
              <a:gd name="connsiteX35" fmla="*/ 4442599 w 4753840"/>
              <a:gd name="connsiteY35" fmla="*/ 6443646 h 6849340"/>
              <a:gd name="connsiteX36" fmla="*/ 4341894 w 4753840"/>
              <a:gd name="connsiteY36" fmla="*/ 6551270 h 6849340"/>
              <a:gd name="connsiteX37" fmla="*/ 2532265 w 4753840"/>
              <a:gd name="connsiteY37" fmla="*/ 6169204 h 6849340"/>
              <a:gd name="connsiteX38" fmla="*/ 2357758 w 4753840"/>
              <a:gd name="connsiteY38" fmla="*/ 6343711 h 6849340"/>
              <a:gd name="connsiteX39" fmla="*/ 2183251 w 4753840"/>
              <a:gd name="connsiteY39" fmla="*/ 6169204 h 6849340"/>
              <a:gd name="connsiteX40" fmla="*/ 2357758 w 4753840"/>
              <a:gd name="connsiteY40" fmla="*/ 5994698 h 6849340"/>
              <a:gd name="connsiteX41" fmla="*/ 2532265 w 4753840"/>
              <a:gd name="connsiteY41" fmla="*/ 6169204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753840" h="6849340">
                <a:moveTo>
                  <a:pt x="4748568" y="1037809"/>
                </a:moveTo>
                <a:cubicBezTo>
                  <a:pt x="4748568" y="1030120"/>
                  <a:pt x="4748568" y="1030120"/>
                  <a:pt x="4748568" y="1037809"/>
                </a:cubicBezTo>
                <a:lnTo>
                  <a:pt x="4748568" y="415126"/>
                </a:lnTo>
                <a:cubicBezTo>
                  <a:pt x="4748568" y="190647"/>
                  <a:pt x="4565601" y="0"/>
                  <a:pt x="4333442" y="0"/>
                </a:cubicBezTo>
                <a:lnTo>
                  <a:pt x="423585" y="0"/>
                </a:lnTo>
                <a:cubicBezTo>
                  <a:pt x="199107" y="0"/>
                  <a:pt x="8460" y="182958"/>
                  <a:pt x="8460" y="415126"/>
                </a:cubicBezTo>
                <a:lnTo>
                  <a:pt x="8460" y="1004758"/>
                </a:lnTo>
                <a:cubicBezTo>
                  <a:pt x="8460" y="1013218"/>
                  <a:pt x="0" y="1029358"/>
                  <a:pt x="0" y="1037818"/>
                </a:cubicBezTo>
                <a:lnTo>
                  <a:pt x="0" y="5628782"/>
                </a:lnTo>
                <a:cubicBezTo>
                  <a:pt x="0" y="5645693"/>
                  <a:pt x="0" y="5653382"/>
                  <a:pt x="8460" y="5661842"/>
                </a:cubicBezTo>
                <a:lnTo>
                  <a:pt x="8460" y="6442121"/>
                </a:lnTo>
                <a:cubicBezTo>
                  <a:pt x="8460" y="6666600"/>
                  <a:pt x="191418" y="6857247"/>
                  <a:pt x="423585" y="6857247"/>
                </a:cubicBezTo>
                <a:lnTo>
                  <a:pt x="4342664" y="6857247"/>
                </a:lnTo>
                <a:cubicBezTo>
                  <a:pt x="4567143" y="6857247"/>
                  <a:pt x="4757790" y="6674289"/>
                  <a:pt x="4757790" y="6442121"/>
                </a:cubicBezTo>
                <a:lnTo>
                  <a:pt x="4757790" y="5638012"/>
                </a:lnTo>
                <a:lnTo>
                  <a:pt x="4757790" y="5629553"/>
                </a:lnTo>
                <a:lnTo>
                  <a:pt x="4757790" y="1037809"/>
                </a:lnTo>
                <a:lnTo>
                  <a:pt x="4748568" y="1037809"/>
                </a:lnTo>
                <a:close/>
                <a:moveTo>
                  <a:pt x="315200" y="1187716"/>
                </a:moveTo>
                <a:lnTo>
                  <a:pt x="4441837" y="1187716"/>
                </a:lnTo>
                <a:lnTo>
                  <a:pt x="4441837" y="5471948"/>
                </a:lnTo>
                <a:lnTo>
                  <a:pt x="315200" y="5471948"/>
                </a:lnTo>
                <a:lnTo>
                  <a:pt x="315200" y="1187716"/>
                </a:lnTo>
                <a:close/>
                <a:moveTo>
                  <a:pt x="423585" y="307502"/>
                </a:moveTo>
                <a:lnTo>
                  <a:pt x="4342664" y="307502"/>
                </a:lnTo>
                <a:cubicBezTo>
                  <a:pt x="4401087" y="307502"/>
                  <a:pt x="4450288" y="357473"/>
                  <a:pt x="4450288" y="415126"/>
                </a:cubicBezTo>
                <a:lnTo>
                  <a:pt x="4450288" y="888674"/>
                </a:lnTo>
                <a:lnTo>
                  <a:pt x="315200" y="888674"/>
                </a:lnTo>
                <a:lnTo>
                  <a:pt x="315200" y="415126"/>
                </a:lnTo>
                <a:cubicBezTo>
                  <a:pt x="315200" y="349013"/>
                  <a:pt x="365163" y="307502"/>
                  <a:pt x="423585" y="307502"/>
                </a:cubicBezTo>
                <a:close/>
                <a:moveTo>
                  <a:pt x="4341894" y="6551270"/>
                </a:moveTo>
                <a:lnTo>
                  <a:pt x="423585" y="6551270"/>
                </a:lnTo>
                <a:cubicBezTo>
                  <a:pt x="365163" y="6551270"/>
                  <a:pt x="315962" y="6501298"/>
                  <a:pt x="315962" y="6443646"/>
                </a:cubicBezTo>
                <a:lnTo>
                  <a:pt x="315962" y="5779450"/>
                </a:lnTo>
                <a:lnTo>
                  <a:pt x="4442599" y="5779450"/>
                </a:lnTo>
                <a:lnTo>
                  <a:pt x="4442599" y="6443646"/>
                </a:lnTo>
                <a:cubicBezTo>
                  <a:pt x="4441837" y="6501298"/>
                  <a:pt x="4400325" y="6551270"/>
                  <a:pt x="4341894" y="6551270"/>
                </a:cubicBezTo>
                <a:close/>
                <a:moveTo>
                  <a:pt x="2532265" y="6169204"/>
                </a:moveTo>
                <a:cubicBezTo>
                  <a:pt x="2532265" y="6260687"/>
                  <a:pt x="2457693" y="6343711"/>
                  <a:pt x="2357758" y="6343711"/>
                </a:cubicBezTo>
                <a:cubicBezTo>
                  <a:pt x="2266275" y="6343711"/>
                  <a:pt x="2183251" y="6269139"/>
                  <a:pt x="2183251" y="6169204"/>
                </a:cubicBezTo>
                <a:cubicBezTo>
                  <a:pt x="2183251" y="6077721"/>
                  <a:pt x="2257823" y="5994698"/>
                  <a:pt x="2357758" y="5994698"/>
                </a:cubicBezTo>
                <a:cubicBezTo>
                  <a:pt x="2457693" y="5994698"/>
                  <a:pt x="2532265" y="6077721"/>
                  <a:pt x="2532265" y="6169204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8" name="Forma libre 306">
            <a:extLst>
              <a:ext uri="{FF2B5EF4-FFF2-40B4-BE49-F238E27FC236}">
                <a16:creationId xmlns:a16="http://schemas.microsoft.com/office/drawing/2014/main" xmlns="" id="{B07FC896-4470-6D40-B131-4679D37CDDE0}"/>
              </a:ext>
            </a:extLst>
          </p:cNvPr>
          <p:cNvSpPr/>
          <p:nvPr/>
        </p:nvSpPr>
        <p:spPr>
          <a:xfrm>
            <a:off x="4277132" y="5296806"/>
            <a:ext cx="301339" cy="301831"/>
          </a:xfrm>
          <a:custGeom>
            <a:avLst/>
            <a:gdLst>
              <a:gd name="connsiteX0" fmla="*/ 2903191 w 5819790"/>
              <a:gd name="connsiteY0" fmla="*/ 0 h 5829300"/>
              <a:gd name="connsiteX1" fmla="*/ 84644 w 5819790"/>
              <a:gd name="connsiteY1" fmla="*/ 2178808 h 5829300"/>
              <a:gd name="connsiteX2" fmla="*/ 84644 w 5819790"/>
              <a:gd name="connsiteY2" fmla="*/ 2178808 h 5829300"/>
              <a:gd name="connsiteX3" fmla="*/ 84644 w 5819790"/>
              <a:gd name="connsiteY3" fmla="*/ 2194327 h 5829300"/>
              <a:gd name="connsiteX4" fmla="*/ 54318 w 5819790"/>
              <a:gd name="connsiteY4" fmla="*/ 2346678 h 5829300"/>
              <a:gd name="connsiteX5" fmla="*/ 46558 w 5819790"/>
              <a:gd name="connsiteY5" fmla="*/ 2400283 h 5829300"/>
              <a:gd name="connsiteX6" fmla="*/ 31039 w 5819790"/>
              <a:gd name="connsiteY6" fmla="*/ 2514549 h 5829300"/>
              <a:gd name="connsiteX7" fmla="*/ 23279 w 5819790"/>
              <a:gd name="connsiteY7" fmla="*/ 2575210 h 5829300"/>
              <a:gd name="connsiteX8" fmla="*/ 15519 w 5819790"/>
              <a:gd name="connsiteY8" fmla="*/ 2697235 h 5829300"/>
              <a:gd name="connsiteX9" fmla="*/ 7760 w 5819790"/>
              <a:gd name="connsiteY9" fmla="*/ 2750840 h 5829300"/>
              <a:gd name="connsiteX10" fmla="*/ 0 w 5819790"/>
              <a:gd name="connsiteY10" fmla="*/ 2918711 h 5829300"/>
              <a:gd name="connsiteX11" fmla="*/ 7760 w 5819790"/>
              <a:gd name="connsiteY11" fmla="*/ 3086581 h 5829300"/>
              <a:gd name="connsiteX12" fmla="*/ 15519 w 5819790"/>
              <a:gd name="connsiteY12" fmla="*/ 3140186 h 5829300"/>
              <a:gd name="connsiteX13" fmla="*/ 31039 w 5819790"/>
              <a:gd name="connsiteY13" fmla="*/ 3262212 h 5829300"/>
              <a:gd name="connsiteX14" fmla="*/ 38799 w 5819790"/>
              <a:gd name="connsiteY14" fmla="*/ 3315816 h 5829300"/>
              <a:gd name="connsiteX15" fmla="*/ 54318 w 5819790"/>
              <a:gd name="connsiteY15" fmla="*/ 3430082 h 5829300"/>
              <a:gd name="connsiteX16" fmla="*/ 62078 w 5819790"/>
              <a:gd name="connsiteY16" fmla="*/ 3483687 h 5829300"/>
              <a:gd name="connsiteX17" fmla="*/ 92403 w 5819790"/>
              <a:gd name="connsiteY17" fmla="*/ 3636038 h 5829300"/>
              <a:gd name="connsiteX18" fmla="*/ 92403 w 5819790"/>
              <a:gd name="connsiteY18" fmla="*/ 3651557 h 5829300"/>
              <a:gd name="connsiteX19" fmla="*/ 92403 w 5819790"/>
              <a:gd name="connsiteY19" fmla="*/ 3651557 h 5829300"/>
              <a:gd name="connsiteX20" fmla="*/ 2910960 w 5819790"/>
              <a:gd name="connsiteY20" fmla="*/ 5830365 h 5829300"/>
              <a:gd name="connsiteX21" fmla="*/ 5821208 w 5819790"/>
              <a:gd name="connsiteY21" fmla="*/ 2920118 h 5829300"/>
              <a:gd name="connsiteX22" fmla="*/ 2903191 w 5819790"/>
              <a:gd name="connsiteY22" fmla="*/ 0 h 5829300"/>
              <a:gd name="connsiteX23" fmla="*/ 2628815 w 5819790"/>
              <a:gd name="connsiteY23" fmla="*/ 3473816 h 5829300"/>
              <a:gd name="connsiteX24" fmla="*/ 335741 w 5819790"/>
              <a:gd name="connsiteY24" fmla="*/ 3473816 h 5829300"/>
              <a:gd name="connsiteX25" fmla="*/ 327981 w 5819790"/>
              <a:gd name="connsiteY25" fmla="*/ 3458297 h 5829300"/>
              <a:gd name="connsiteX26" fmla="*/ 312462 w 5819790"/>
              <a:gd name="connsiteY26" fmla="*/ 3389876 h 5829300"/>
              <a:gd name="connsiteX27" fmla="*/ 296942 w 5819790"/>
              <a:gd name="connsiteY27" fmla="*/ 3329215 h 5829300"/>
              <a:gd name="connsiteX28" fmla="*/ 289183 w 5819790"/>
              <a:gd name="connsiteY28" fmla="*/ 3245275 h 5829300"/>
              <a:gd name="connsiteX29" fmla="*/ 281423 w 5819790"/>
              <a:gd name="connsiteY29" fmla="*/ 3191670 h 5829300"/>
              <a:gd name="connsiteX30" fmla="*/ 273663 w 5819790"/>
              <a:gd name="connsiteY30" fmla="*/ 3092924 h 5829300"/>
              <a:gd name="connsiteX31" fmla="*/ 273663 w 5819790"/>
              <a:gd name="connsiteY31" fmla="*/ 3054839 h 5829300"/>
              <a:gd name="connsiteX32" fmla="*/ 273663 w 5819790"/>
              <a:gd name="connsiteY32" fmla="*/ 2917997 h 5829300"/>
              <a:gd name="connsiteX33" fmla="*/ 273663 w 5819790"/>
              <a:gd name="connsiteY33" fmla="*/ 2781156 h 5829300"/>
              <a:gd name="connsiteX34" fmla="*/ 273663 w 5819790"/>
              <a:gd name="connsiteY34" fmla="*/ 2743071 h 5829300"/>
              <a:gd name="connsiteX35" fmla="*/ 281423 w 5819790"/>
              <a:gd name="connsiteY35" fmla="*/ 2644325 h 5829300"/>
              <a:gd name="connsiteX36" fmla="*/ 289183 w 5819790"/>
              <a:gd name="connsiteY36" fmla="*/ 2590720 h 5829300"/>
              <a:gd name="connsiteX37" fmla="*/ 296942 w 5819790"/>
              <a:gd name="connsiteY37" fmla="*/ 2506780 h 5829300"/>
              <a:gd name="connsiteX38" fmla="*/ 312462 w 5819790"/>
              <a:gd name="connsiteY38" fmla="*/ 2438359 h 5829300"/>
              <a:gd name="connsiteX39" fmla="*/ 327981 w 5819790"/>
              <a:gd name="connsiteY39" fmla="*/ 2369939 h 5829300"/>
              <a:gd name="connsiteX40" fmla="*/ 335741 w 5819790"/>
              <a:gd name="connsiteY40" fmla="*/ 2354419 h 5829300"/>
              <a:gd name="connsiteX41" fmla="*/ 2628815 w 5819790"/>
              <a:gd name="connsiteY41" fmla="*/ 2354419 h 5829300"/>
              <a:gd name="connsiteX42" fmla="*/ 2765656 w 5819790"/>
              <a:gd name="connsiteY42" fmla="*/ 2217578 h 5829300"/>
              <a:gd name="connsiteX43" fmla="*/ 2765656 w 5819790"/>
              <a:gd name="connsiteY43" fmla="*/ 1684335 h 5829300"/>
              <a:gd name="connsiteX44" fmla="*/ 4022578 w 5819790"/>
              <a:gd name="connsiteY44" fmla="*/ 2903191 h 5829300"/>
              <a:gd name="connsiteX45" fmla="*/ 4038098 w 5819790"/>
              <a:gd name="connsiteY45" fmla="*/ 2918711 h 5829300"/>
              <a:gd name="connsiteX46" fmla="*/ 4022578 w 5819790"/>
              <a:gd name="connsiteY46" fmla="*/ 2934230 h 5829300"/>
              <a:gd name="connsiteX47" fmla="*/ 2773416 w 5819790"/>
              <a:gd name="connsiteY47" fmla="*/ 4143891 h 5829300"/>
              <a:gd name="connsiteX48" fmla="*/ 2773416 w 5819790"/>
              <a:gd name="connsiteY48" fmla="*/ 3610648 h 5829300"/>
              <a:gd name="connsiteX49" fmla="*/ 2628815 w 5819790"/>
              <a:gd name="connsiteY49" fmla="*/ 3473816 h 5829300"/>
              <a:gd name="connsiteX50" fmla="*/ 2903191 w 5819790"/>
              <a:gd name="connsiteY50" fmla="*/ 5546118 h 5829300"/>
              <a:gd name="connsiteX51" fmla="*/ 411921 w 5819790"/>
              <a:gd name="connsiteY51" fmla="*/ 3755952 h 5829300"/>
              <a:gd name="connsiteX52" fmla="*/ 2491270 w 5819790"/>
              <a:gd name="connsiteY52" fmla="*/ 3755952 h 5829300"/>
              <a:gd name="connsiteX53" fmla="*/ 2491270 w 5819790"/>
              <a:gd name="connsiteY53" fmla="*/ 4357607 h 5829300"/>
              <a:gd name="connsiteX54" fmla="*/ 2491270 w 5819790"/>
              <a:gd name="connsiteY54" fmla="*/ 4373126 h 5829300"/>
              <a:gd name="connsiteX55" fmla="*/ 2666197 w 5819790"/>
              <a:gd name="connsiteY55" fmla="*/ 4555812 h 5829300"/>
              <a:gd name="connsiteX56" fmla="*/ 2826307 w 5819790"/>
              <a:gd name="connsiteY56" fmla="*/ 4479632 h 5829300"/>
              <a:gd name="connsiteX57" fmla="*/ 4220775 w 5819790"/>
              <a:gd name="connsiteY57" fmla="*/ 3131010 h 5829300"/>
              <a:gd name="connsiteX58" fmla="*/ 4319521 w 5819790"/>
              <a:gd name="connsiteY58" fmla="*/ 2917997 h 5829300"/>
              <a:gd name="connsiteX59" fmla="*/ 4220775 w 5819790"/>
              <a:gd name="connsiteY59" fmla="*/ 2697226 h 5829300"/>
              <a:gd name="connsiteX60" fmla="*/ 2819261 w 5819790"/>
              <a:gd name="connsiteY60" fmla="*/ 1340863 h 5829300"/>
              <a:gd name="connsiteX61" fmla="*/ 2659150 w 5819790"/>
              <a:gd name="connsiteY61" fmla="*/ 1264682 h 5829300"/>
              <a:gd name="connsiteX62" fmla="*/ 2484223 w 5819790"/>
              <a:gd name="connsiteY62" fmla="*/ 1432553 h 5829300"/>
              <a:gd name="connsiteX63" fmla="*/ 2484223 w 5819790"/>
              <a:gd name="connsiteY63" fmla="*/ 1455128 h 5829300"/>
              <a:gd name="connsiteX64" fmla="*/ 2484223 w 5819790"/>
              <a:gd name="connsiteY64" fmla="*/ 2080062 h 5829300"/>
              <a:gd name="connsiteX65" fmla="*/ 411921 w 5819790"/>
              <a:gd name="connsiteY65" fmla="*/ 2080062 h 5829300"/>
              <a:gd name="connsiteX66" fmla="*/ 2903191 w 5819790"/>
              <a:gd name="connsiteY66" fmla="*/ 282136 h 5829300"/>
              <a:gd name="connsiteX67" fmla="*/ 5531302 w 5819790"/>
              <a:gd name="connsiteY67" fmla="*/ 2910247 h 5829300"/>
              <a:gd name="connsiteX68" fmla="*/ 2903191 w 5819790"/>
              <a:gd name="connsiteY68" fmla="*/ 5546118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819790" h="5829300">
                <a:moveTo>
                  <a:pt x="2903191" y="0"/>
                </a:moveTo>
                <a:cubicBezTo>
                  <a:pt x="1554578" y="0"/>
                  <a:pt x="411921" y="921885"/>
                  <a:pt x="84644" y="2178808"/>
                </a:cubicBezTo>
                <a:lnTo>
                  <a:pt x="84644" y="2178808"/>
                </a:lnTo>
                <a:cubicBezTo>
                  <a:pt x="84644" y="2186568"/>
                  <a:pt x="84644" y="2186568"/>
                  <a:pt x="84644" y="2194327"/>
                </a:cubicBezTo>
                <a:cubicBezTo>
                  <a:pt x="69124" y="2240173"/>
                  <a:pt x="62068" y="2293074"/>
                  <a:pt x="54318" y="2346678"/>
                </a:cubicBezTo>
                <a:cubicBezTo>
                  <a:pt x="54318" y="2362198"/>
                  <a:pt x="46558" y="2384764"/>
                  <a:pt x="46558" y="2400283"/>
                </a:cubicBezTo>
                <a:cubicBezTo>
                  <a:pt x="38799" y="2438369"/>
                  <a:pt x="31039" y="2476464"/>
                  <a:pt x="31039" y="2514549"/>
                </a:cubicBezTo>
                <a:cubicBezTo>
                  <a:pt x="31039" y="2537124"/>
                  <a:pt x="23279" y="2552634"/>
                  <a:pt x="23279" y="2575210"/>
                </a:cubicBezTo>
                <a:cubicBezTo>
                  <a:pt x="15519" y="2613295"/>
                  <a:pt x="15519" y="2651390"/>
                  <a:pt x="15519" y="2697235"/>
                </a:cubicBezTo>
                <a:cubicBezTo>
                  <a:pt x="15519" y="2712755"/>
                  <a:pt x="15519" y="2727561"/>
                  <a:pt x="7760" y="2750840"/>
                </a:cubicBezTo>
                <a:cubicBezTo>
                  <a:pt x="7760" y="2804445"/>
                  <a:pt x="0" y="2865106"/>
                  <a:pt x="0" y="2918711"/>
                </a:cubicBezTo>
                <a:cubicBezTo>
                  <a:pt x="0" y="2979372"/>
                  <a:pt x="0" y="3032976"/>
                  <a:pt x="7760" y="3086581"/>
                </a:cubicBezTo>
                <a:cubicBezTo>
                  <a:pt x="7760" y="3102101"/>
                  <a:pt x="7760" y="3116907"/>
                  <a:pt x="15519" y="3140186"/>
                </a:cubicBezTo>
                <a:cubicBezTo>
                  <a:pt x="15519" y="3178271"/>
                  <a:pt x="23279" y="3224126"/>
                  <a:pt x="31039" y="3262212"/>
                </a:cubicBezTo>
                <a:cubicBezTo>
                  <a:pt x="31039" y="3284787"/>
                  <a:pt x="38799" y="3300297"/>
                  <a:pt x="38799" y="3315816"/>
                </a:cubicBezTo>
                <a:cubicBezTo>
                  <a:pt x="46558" y="3353902"/>
                  <a:pt x="54318" y="3391996"/>
                  <a:pt x="54318" y="3430082"/>
                </a:cubicBezTo>
                <a:cubicBezTo>
                  <a:pt x="54318" y="3445602"/>
                  <a:pt x="62078" y="3468167"/>
                  <a:pt x="62078" y="3483687"/>
                </a:cubicBezTo>
                <a:cubicBezTo>
                  <a:pt x="69837" y="3537292"/>
                  <a:pt x="84653" y="3582433"/>
                  <a:pt x="92403" y="3636038"/>
                </a:cubicBezTo>
                <a:cubicBezTo>
                  <a:pt x="92403" y="3643798"/>
                  <a:pt x="92403" y="3643798"/>
                  <a:pt x="92403" y="3651557"/>
                </a:cubicBezTo>
                <a:lnTo>
                  <a:pt x="92403" y="3651557"/>
                </a:lnTo>
                <a:cubicBezTo>
                  <a:pt x="419681" y="4900720"/>
                  <a:pt x="1555282" y="5830365"/>
                  <a:pt x="2910960" y="5830365"/>
                </a:cubicBezTo>
                <a:cubicBezTo>
                  <a:pt x="4518440" y="5830365"/>
                  <a:pt x="5821208" y="4527597"/>
                  <a:pt x="5821208" y="2920118"/>
                </a:cubicBezTo>
                <a:cubicBezTo>
                  <a:pt x="5821208" y="1312639"/>
                  <a:pt x="4510671" y="0"/>
                  <a:pt x="2903191" y="0"/>
                </a:cubicBezTo>
                <a:close/>
                <a:moveTo>
                  <a:pt x="2628815" y="3473816"/>
                </a:moveTo>
                <a:lnTo>
                  <a:pt x="335741" y="3473816"/>
                </a:lnTo>
                <a:cubicBezTo>
                  <a:pt x="335741" y="3466056"/>
                  <a:pt x="335741" y="3466056"/>
                  <a:pt x="327981" y="3458297"/>
                </a:cubicBezTo>
                <a:cubicBezTo>
                  <a:pt x="320222" y="3435721"/>
                  <a:pt x="320222" y="3412451"/>
                  <a:pt x="312462" y="3389876"/>
                </a:cubicBezTo>
                <a:cubicBezTo>
                  <a:pt x="304702" y="3367301"/>
                  <a:pt x="304702" y="3344031"/>
                  <a:pt x="296942" y="3329215"/>
                </a:cubicBezTo>
                <a:cubicBezTo>
                  <a:pt x="289183" y="3298889"/>
                  <a:pt x="289183" y="3275610"/>
                  <a:pt x="289183" y="3245275"/>
                </a:cubicBezTo>
                <a:cubicBezTo>
                  <a:pt x="289183" y="3229756"/>
                  <a:pt x="281423" y="3214950"/>
                  <a:pt x="281423" y="3191670"/>
                </a:cubicBezTo>
                <a:cubicBezTo>
                  <a:pt x="281423" y="3161344"/>
                  <a:pt x="273663" y="3123250"/>
                  <a:pt x="273663" y="3092924"/>
                </a:cubicBezTo>
                <a:cubicBezTo>
                  <a:pt x="273663" y="3077404"/>
                  <a:pt x="273663" y="3070348"/>
                  <a:pt x="273663" y="3054839"/>
                </a:cubicBezTo>
                <a:cubicBezTo>
                  <a:pt x="273663" y="3008993"/>
                  <a:pt x="273663" y="2963148"/>
                  <a:pt x="273663" y="2917997"/>
                </a:cubicBezTo>
                <a:cubicBezTo>
                  <a:pt x="273663" y="2872856"/>
                  <a:pt x="273663" y="2826307"/>
                  <a:pt x="273663" y="2781156"/>
                </a:cubicBezTo>
                <a:cubicBezTo>
                  <a:pt x="273663" y="2765637"/>
                  <a:pt x="273663" y="2758581"/>
                  <a:pt x="273663" y="2743071"/>
                </a:cubicBezTo>
                <a:cubicBezTo>
                  <a:pt x="273663" y="2712745"/>
                  <a:pt x="281423" y="2674650"/>
                  <a:pt x="281423" y="2644325"/>
                </a:cubicBezTo>
                <a:cubicBezTo>
                  <a:pt x="281423" y="2628805"/>
                  <a:pt x="289183" y="2606239"/>
                  <a:pt x="289183" y="2590720"/>
                </a:cubicBezTo>
                <a:cubicBezTo>
                  <a:pt x="289183" y="2560394"/>
                  <a:pt x="296942" y="2537115"/>
                  <a:pt x="296942" y="2506780"/>
                </a:cubicBezTo>
                <a:cubicBezTo>
                  <a:pt x="296942" y="2484204"/>
                  <a:pt x="304702" y="2460935"/>
                  <a:pt x="312462" y="2438359"/>
                </a:cubicBezTo>
                <a:cubicBezTo>
                  <a:pt x="320222" y="2415784"/>
                  <a:pt x="320222" y="2392514"/>
                  <a:pt x="327981" y="2369939"/>
                </a:cubicBezTo>
                <a:cubicBezTo>
                  <a:pt x="327981" y="2362179"/>
                  <a:pt x="327981" y="2362179"/>
                  <a:pt x="335741" y="2354419"/>
                </a:cubicBezTo>
                <a:lnTo>
                  <a:pt x="2628815" y="2354419"/>
                </a:lnTo>
                <a:cubicBezTo>
                  <a:pt x="2704995" y="2354419"/>
                  <a:pt x="2765656" y="2293758"/>
                  <a:pt x="2765656" y="2217578"/>
                </a:cubicBezTo>
                <a:lnTo>
                  <a:pt x="2765656" y="1684335"/>
                </a:lnTo>
                <a:lnTo>
                  <a:pt x="4022578" y="2903191"/>
                </a:lnTo>
                <a:cubicBezTo>
                  <a:pt x="4030338" y="2910951"/>
                  <a:pt x="4030338" y="2918711"/>
                  <a:pt x="4038098" y="2918711"/>
                </a:cubicBezTo>
                <a:cubicBezTo>
                  <a:pt x="4038098" y="2918711"/>
                  <a:pt x="4038098" y="2926470"/>
                  <a:pt x="4022578" y="2934230"/>
                </a:cubicBezTo>
                <a:lnTo>
                  <a:pt x="2773416" y="4143891"/>
                </a:lnTo>
                <a:lnTo>
                  <a:pt x="2773416" y="3610648"/>
                </a:lnTo>
                <a:cubicBezTo>
                  <a:pt x="2773416" y="3534477"/>
                  <a:pt x="2704995" y="3473816"/>
                  <a:pt x="2628815" y="3473816"/>
                </a:cubicBezTo>
                <a:close/>
                <a:moveTo>
                  <a:pt x="2903191" y="5546118"/>
                </a:moveTo>
                <a:cubicBezTo>
                  <a:pt x="1745015" y="5546118"/>
                  <a:pt x="762469" y="4792103"/>
                  <a:pt x="411921" y="3755952"/>
                </a:cubicBezTo>
                <a:lnTo>
                  <a:pt x="2491270" y="3755952"/>
                </a:lnTo>
                <a:lnTo>
                  <a:pt x="2491270" y="4357607"/>
                </a:lnTo>
                <a:cubicBezTo>
                  <a:pt x="2491270" y="4365366"/>
                  <a:pt x="2491270" y="4365366"/>
                  <a:pt x="2491270" y="4373126"/>
                </a:cubicBezTo>
                <a:cubicBezTo>
                  <a:pt x="2506789" y="4509967"/>
                  <a:pt x="2597776" y="4555812"/>
                  <a:pt x="2666197" y="4555812"/>
                </a:cubicBezTo>
                <a:cubicBezTo>
                  <a:pt x="2750137" y="4555812"/>
                  <a:pt x="2803038" y="4502207"/>
                  <a:pt x="2826307" y="4479632"/>
                </a:cubicBezTo>
                <a:lnTo>
                  <a:pt x="4220775" y="3131010"/>
                </a:lnTo>
                <a:cubicBezTo>
                  <a:pt x="4304715" y="3054829"/>
                  <a:pt x="4319521" y="2970899"/>
                  <a:pt x="4319521" y="2917997"/>
                </a:cubicBezTo>
                <a:cubicBezTo>
                  <a:pt x="4319521" y="2803732"/>
                  <a:pt x="4251100" y="2727552"/>
                  <a:pt x="4220775" y="2697226"/>
                </a:cubicBezTo>
                <a:lnTo>
                  <a:pt x="2819261" y="1340863"/>
                </a:lnTo>
                <a:cubicBezTo>
                  <a:pt x="2796685" y="1325343"/>
                  <a:pt x="2743080" y="1264682"/>
                  <a:pt x="2659150" y="1264682"/>
                </a:cubicBezTo>
                <a:cubicBezTo>
                  <a:pt x="2590729" y="1264682"/>
                  <a:pt x="2506799" y="1310528"/>
                  <a:pt x="2484223" y="1432553"/>
                </a:cubicBezTo>
                <a:cubicBezTo>
                  <a:pt x="2484223" y="1440313"/>
                  <a:pt x="2484223" y="1448072"/>
                  <a:pt x="2484223" y="1455128"/>
                </a:cubicBezTo>
                <a:lnTo>
                  <a:pt x="2484223" y="2080062"/>
                </a:lnTo>
                <a:lnTo>
                  <a:pt x="411921" y="2080062"/>
                </a:lnTo>
                <a:cubicBezTo>
                  <a:pt x="762478" y="1036151"/>
                  <a:pt x="1745024" y="282136"/>
                  <a:pt x="2903191" y="282136"/>
                </a:cubicBezTo>
                <a:cubicBezTo>
                  <a:pt x="4350560" y="282136"/>
                  <a:pt x="5531302" y="1462879"/>
                  <a:pt x="5531302" y="2910247"/>
                </a:cubicBezTo>
                <a:cubicBezTo>
                  <a:pt x="5531302" y="4357616"/>
                  <a:pt x="4350560" y="5546118"/>
                  <a:pt x="2903191" y="5546118"/>
                </a:cubicBez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9" name="Forma libre 308">
            <a:extLst>
              <a:ext uri="{FF2B5EF4-FFF2-40B4-BE49-F238E27FC236}">
                <a16:creationId xmlns:a16="http://schemas.microsoft.com/office/drawing/2014/main" xmlns="" id="{D303CE12-56A1-B441-A70C-C106AE2A8E3E}"/>
              </a:ext>
            </a:extLst>
          </p:cNvPr>
          <p:cNvSpPr/>
          <p:nvPr/>
        </p:nvSpPr>
        <p:spPr>
          <a:xfrm>
            <a:off x="8775988" y="1415734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02 h 5829300"/>
              <a:gd name="connsiteX2" fmla="*/ 2915002 w 5829300"/>
              <a:gd name="connsiteY2" fmla="*/ 5830005 h 5829300"/>
              <a:gd name="connsiteX3" fmla="*/ 5830005 w 5829300"/>
              <a:gd name="connsiteY3" fmla="*/ 2915002 h 5829300"/>
              <a:gd name="connsiteX4" fmla="*/ 2915002 w 5829300"/>
              <a:gd name="connsiteY4" fmla="*/ 0 h 5829300"/>
              <a:gd name="connsiteX5" fmla="*/ 2915002 w 5829300"/>
              <a:gd name="connsiteY5" fmla="*/ 5547408 h 5829300"/>
              <a:gd name="connsiteX6" fmla="*/ 282597 w 5829300"/>
              <a:gd name="connsiteY6" fmla="*/ 2915002 h 5829300"/>
              <a:gd name="connsiteX7" fmla="*/ 2915002 w 5829300"/>
              <a:gd name="connsiteY7" fmla="*/ 282597 h 5829300"/>
              <a:gd name="connsiteX8" fmla="*/ 5547408 w 5829300"/>
              <a:gd name="connsiteY8" fmla="*/ 2915002 h 5829300"/>
              <a:gd name="connsiteX9" fmla="*/ 2915002 w 5829300"/>
              <a:gd name="connsiteY9" fmla="*/ 5547408 h 5829300"/>
              <a:gd name="connsiteX10" fmla="*/ 4051754 w 5829300"/>
              <a:gd name="connsiteY10" fmla="*/ 3006852 h 5829300"/>
              <a:gd name="connsiteX11" fmla="*/ 4051754 w 5829300"/>
              <a:gd name="connsiteY11" fmla="*/ 3205382 h 5829300"/>
              <a:gd name="connsiteX12" fmla="*/ 3013910 w 5829300"/>
              <a:gd name="connsiteY12" fmla="*/ 4250293 h 5829300"/>
              <a:gd name="connsiteX13" fmla="*/ 2991298 w 5829300"/>
              <a:gd name="connsiteY13" fmla="*/ 4265838 h 5829300"/>
              <a:gd name="connsiteX14" fmla="*/ 2983525 w 5829300"/>
              <a:gd name="connsiteY14" fmla="*/ 4273611 h 5829300"/>
              <a:gd name="connsiteX15" fmla="*/ 2967981 w 5829300"/>
              <a:gd name="connsiteY15" fmla="*/ 4281383 h 5829300"/>
              <a:gd name="connsiteX16" fmla="*/ 2952436 w 5829300"/>
              <a:gd name="connsiteY16" fmla="*/ 4289155 h 5829300"/>
              <a:gd name="connsiteX17" fmla="*/ 2936891 w 5829300"/>
              <a:gd name="connsiteY17" fmla="*/ 4289155 h 5829300"/>
              <a:gd name="connsiteX18" fmla="*/ 2906516 w 5829300"/>
              <a:gd name="connsiteY18" fmla="*/ 4289155 h 5829300"/>
              <a:gd name="connsiteX19" fmla="*/ 2876141 w 5829300"/>
              <a:gd name="connsiteY19" fmla="*/ 4289155 h 5829300"/>
              <a:gd name="connsiteX20" fmla="*/ 2860596 w 5829300"/>
              <a:gd name="connsiteY20" fmla="*/ 4289155 h 5829300"/>
              <a:gd name="connsiteX21" fmla="*/ 2845051 w 5829300"/>
              <a:gd name="connsiteY21" fmla="*/ 4281383 h 5829300"/>
              <a:gd name="connsiteX22" fmla="*/ 2829506 w 5829300"/>
              <a:gd name="connsiteY22" fmla="*/ 4273611 h 5829300"/>
              <a:gd name="connsiteX23" fmla="*/ 2821734 w 5829300"/>
              <a:gd name="connsiteY23" fmla="*/ 4265838 h 5829300"/>
              <a:gd name="connsiteX24" fmla="*/ 2799121 w 5829300"/>
              <a:gd name="connsiteY24" fmla="*/ 4250293 h 5829300"/>
              <a:gd name="connsiteX25" fmla="*/ 1770478 w 5829300"/>
              <a:gd name="connsiteY25" fmla="*/ 3197600 h 5829300"/>
              <a:gd name="connsiteX26" fmla="*/ 1770478 w 5829300"/>
              <a:gd name="connsiteY26" fmla="*/ 2999070 h 5829300"/>
              <a:gd name="connsiteX27" fmla="*/ 1969008 w 5829300"/>
              <a:gd name="connsiteY27" fmla="*/ 2999070 h 5829300"/>
              <a:gd name="connsiteX28" fmla="*/ 2777947 w 5829300"/>
              <a:gd name="connsiteY28" fmla="*/ 3808009 h 5829300"/>
              <a:gd name="connsiteX29" fmla="*/ 2777947 w 5829300"/>
              <a:gd name="connsiteY29" fmla="*/ 1571958 h 5829300"/>
              <a:gd name="connsiteX30" fmla="*/ 2915012 w 5829300"/>
              <a:gd name="connsiteY30" fmla="*/ 1434894 h 5829300"/>
              <a:gd name="connsiteX31" fmla="*/ 3052077 w 5829300"/>
              <a:gd name="connsiteY31" fmla="*/ 1571958 h 5829300"/>
              <a:gd name="connsiteX32" fmla="*/ 3052077 w 5829300"/>
              <a:gd name="connsiteY32" fmla="*/ 3807314 h 5829300"/>
              <a:gd name="connsiteX33" fmla="*/ 3846176 w 5829300"/>
              <a:gd name="connsiteY33" fmla="*/ 3013920 h 5829300"/>
              <a:gd name="connsiteX34" fmla="*/ 4051754 w 5829300"/>
              <a:gd name="connsiteY34" fmla="*/ 300685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896"/>
                  <a:pt x="0" y="2915002"/>
                </a:cubicBezTo>
                <a:cubicBezTo>
                  <a:pt x="0" y="4525109"/>
                  <a:pt x="1304896" y="5830005"/>
                  <a:pt x="2915002" y="5830005"/>
                </a:cubicBezTo>
                <a:cubicBezTo>
                  <a:pt x="4525109" y="5830005"/>
                  <a:pt x="5830005" y="4525109"/>
                  <a:pt x="5830005" y="2915002"/>
                </a:cubicBezTo>
                <a:cubicBezTo>
                  <a:pt x="5830005" y="1304896"/>
                  <a:pt x="4525109" y="0"/>
                  <a:pt x="2915002" y="0"/>
                </a:cubicBezTo>
                <a:close/>
                <a:moveTo>
                  <a:pt x="2915002" y="5547408"/>
                </a:moveTo>
                <a:cubicBezTo>
                  <a:pt x="1465269" y="5547408"/>
                  <a:pt x="282597" y="4364736"/>
                  <a:pt x="282597" y="2915002"/>
                </a:cubicBezTo>
                <a:cubicBezTo>
                  <a:pt x="282597" y="1465269"/>
                  <a:pt x="1465269" y="282597"/>
                  <a:pt x="2915002" y="282597"/>
                </a:cubicBezTo>
                <a:cubicBezTo>
                  <a:pt x="4364736" y="282597"/>
                  <a:pt x="5547408" y="1465269"/>
                  <a:pt x="5547408" y="2915002"/>
                </a:cubicBezTo>
                <a:cubicBezTo>
                  <a:pt x="5547408" y="4364736"/>
                  <a:pt x="4364736" y="5547408"/>
                  <a:pt x="2915002" y="5547408"/>
                </a:cubicBezTo>
                <a:close/>
                <a:moveTo>
                  <a:pt x="4051754" y="3006852"/>
                </a:moveTo>
                <a:cubicBezTo>
                  <a:pt x="4105447" y="3060544"/>
                  <a:pt x="4105447" y="3151680"/>
                  <a:pt x="4051754" y="3205382"/>
                </a:cubicBezTo>
                <a:lnTo>
                  <a:pt x="3013910" y="4250293"/>
                </a:lnTo>
                <a:cubicBezTo>
                  <a:pt x="3006138" y="4258066"/>
                  <a:pt x="2998365" y="4265838"/>
                  <a:pt x="2991298" y="4265838"/>
                </a:cubicBezTo>
                <a:lnTo>
                  <a:pt x="2983525" y="4273611"/>
                </a:lnTo>
                <a:cubicBezTo>
                  <a:pt x="2975753" y="4273611"/>
                  <a:pt x="2975753" y="4281383"/>
                  <a:pt x="2967981" y="4281383"/>
                </a:cubicBezTo>
                <a:cubicBezTo>
                  <a:pt x="2960208" y="4281383"/>
                  <a:pt x="2960208" y="4281383"/>
                  <a:pt x="2952436" y="4289155"/>
                </a:cubicBezTo>
                <a:cubicBezTo>
                  <a:pt x="2944663" y="4289155"/>
                  <a:pt x="2944663" y="4289155"/>
                  <a:pt x="2936891" y="4289155"/>
                </a:cubicBezTo>
                <a:cubicBezTo>
                  <a:pt x="2929119" y="4289155"/>
                  <a:pt x="2921346" y="4289155"/>
                  <a:pt x="2906516" y="4289155"/>
                </a:cubicBezTo>
                <a:cubicBezTo>
                  <a:pt x="2898743" y="4289155"/>
                  <a:pt x="2890971" y="4289155"/>
                  <a:pt x="2876141" y="4289155"/>
                </a:cubicBezTo>
                <a:cubicBezTo>
                  <a:pt x="2868368" y="4289155"/>
                  <a:pt x="2868368" y="4289155"/>
                  <a:pt x="2860596" y="4289155"/>
                </a:cubicBezTo>
                <a:cubicBezTo>
                  <a:pt x="2852823" y="4289155"/>
                  <a:pt x="2852823" y="4289155"/>
                  <a:pt x="2845051" y="4281383"/>
                </a:cubicBezTo>
                <a:cubicBezTo>
                  <a:pt x="2837279" y="4281383"/>
                  <a:pt x="2837279" y="4273611"/>
                  <a:pt x="2829506" y="4273611"/>
                </a:cubicBezTo>
                <a:cubicBezTo>
                  <a:pt x="2829506" y="4273611"/>
                  <a:pt x="2821734" y="4273611"/>
                  <a:pt x="2821734" y="4265838"/>
                </a:cubicBezTo>
                <a:cubicBezTo>
                  <a:pt x="2813961" y="4258066"/>
                  <a:pt x="2806189" y="4258066"/>
                  <a:pt x="2799121" y="4250293"/>
                </a:cubicBezTo>
                <a:lnTo>
                  <a:pt x="1770478" y="3197600"/>
                </a:lnTo>
                <a:cubicBezTo>
                  <a:pt x="1716786" y="3143907"/>
                  <a:pt x="1716786" y="3052772"/>
                  <a:pt x="1770478" y="2999070"/>
                </a:cubicBezTo>
                <a:cubicBezTo>
                  <a:pt x="1824171" y="2945368"/>
                  <a:pt x="1915306" y="2945378"/>
                  <a:pt x="1969008" y="2999070"/>
                </a:cubicBezTo>
                <a:lnTo>
                  <a:pt x="2777947" y="3808009"/>
                </a:lnTo>
                <a:lnTo>
                  <a:pt x="2777947" y="1571958"/>
                </a:lnTo>
                <a:cubicBezTo>
                  <a:pt x="2777947" y="1495654"/>
                  <a:pt x="2838707" y="1434894"/>
                  <a:pt x="2915012" y="1434894"/>
                </a:cubicBezTo>
                <a:cubicBezTo>
                  <a:pt x="2991317" y="1434894"/>
                  <a:pt x="3052077" y="1495654"/>
                  <a:pt x="3052077" y="1571958"/>
                </a:cubicBezTo>
                <a:lnTo>
                  <a:pt x="3052077" y="3807314"/>
                </a:lnTo>
                <a:lnTo>
                  <a:pt x="3846176" y="3013920"/>
                </a:lnTo>
                <a:cubicBezTo>
                  <a:pt x="3906926" y="2953150"/>
                  <a:pt x="3998767" y="2953150"/>
                  <a:pt x="4051754" y="300685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0" name="Forma libre 310">
            <a:extLst>
              <a:ext uri="{FF2B5EF4-FFF2-40B4-BE49-F238E27FC236}">
                <a16:creationId xmlns:a16="http://schemas.microsoft.com/office/drawing/2014/main" xmlns="" id="{4F2E8143-F190-8A40-AAE1-168BFA7C5E6F}"/>
              </a:ext>
            </a:extLst>
          </p:cNvPr>
          <p:cNvSpPr/>
          <p:nvPr/>
        </p:nvSpPr>
        <p:spPr>
          <a:xfrm>
            <a:off x="2068138" y="1408345"/>
            <a:ext cx="301831" cy="301338"/>
          </a:xfrm>
          <a:custGeom>
            <a:avLst/>
            <a:gdLst>
              <a:gd name="connsiteX0" fmla="*/ 2915002 w 5829300"/>
              <a:gd name="connsiteY0" fmla="*/ 0 h 5819775"/>
              <a:gd name="connsiteX1" fmla="*/ 0 w 5829300"/>
              <a:gd name="connsiteY1" fmla="*/ 2915003 h 5819775"/>
              <a:gd name="connsiteX2" fmla="*/ 2915002 w 5829300"/>
              <a:gd name="connsiteY2" fmla="*/ 5829300 h 5819775"/>
              <a:gd name="connsiteX3" fmla="*/ 5830005 w 5829300"/>
              <a:gd name="connsiteY3" fmla="*/ 2914298 h 5819775"/>
              <a:gd name="connsiteX4" fmla="*/ 2915002 w 5829300"/>
              <a:gd name="connsiteY4" fmla="*/ 0 h 5819775"/>
              <a:gd name="connsiteX5" fmla="*/ 2915002 w 5829300"/>
              <a:gd name="connsiteY5" fmla="*/ 5555180 h 5819775"/>
              <a:gd name="connsiteX6" fmla="*/ 282597 w 5829300"/>
              <a:gd name="connsiteY6" fmla="*/ 2922775 h 5819775"/>
              <a:gd name="connsiteX7" fmla="*/ 2915002 w 5829300"/>
              <a:gd name="connsiteY7" fmla="*/ 290370 h 5819775"/>
              <a:gd name="connsiteX8" fmla="*/ 5547408 w 5829300"/>
              <a:gd name="connsiteY8" fmla="*/ 2922775 h 5819775"/>
              <a:gd name="connsiteX9" fmla="*/ 2915002 w 5829300"/>
              <a:gd name="connsiteY9" fmla="*/ 5555180 h 5819775"/>
              <a:gd name="connsiteX10" fmla="*/ 2449421 w 5829300"/>
              <a:gd name="connsiteY10" fmla="*/ 1808636 h 5819775"/>
              <a:gd name="connsiteX11" fmla="*/ 1991611 w 5829300"/>
              <a:gd name="connsiteY11" fmla="*/ 1808636 h 5819775"/>
              <a:gd name="connsiteX12" fmla="*/ 1732331 w 5829300"/>
              <a:gd name="connsiteY12" fmla="*/ 2067916 h 5819775"/>
              <a:gd name="connsiteX13" fmla="*/ 1732331 w 5829300"/>
              <a:gd name="connsiteY13" fmla="*/ 3776929 h 5819775"/>
              <a:gd name="connsiteX14" fmla="*/ 1991611 w 5829300"/>
              <a:gd name="connsiteY14" fmla="*/ 4036209 h 5819775"/>
              <a:gd name="connsiteX15" fmla="*/ 2449421 w 5829300"/>
              <a:gd name="connsiteY15" fmla="*/ 4036209 h 5819775"/>
              <a:gd name="connsiteX16" fmla="*/ 2708700 w 5829300"/>
              <a:gd name="connsiteY16" fmla="*/ 3776929 h 5819775"/>
              <a:gd name="connsiteX17" fmla="*/ 2708700 w 5829300"/>
              <a:gd name="connsiteY17" fmla="*/ 2067916 h 5819775"/>
              <a:gd name="connsiteX18" fmla="*/ 2449421 w 5829300"/>
              <a:gd name="connsiteY18" fmla="*/ 1808636 h 5819775"/>
              <a:gd name="connsiteX19" fmla="*/ 2426113 w 5829300"/>
              <a:gd name="connsiteY19" fmla="*/ 3746554 h 5819775"/>
              <a:gd name="connsiteX20" fmla="*/ 2021996 w 5829300"/>
              <a:gd name="connsiteY20" fmla="*/ 3746554 h 5819775"/>
              <a:gd name="connsiteX21" fmla="*/ 2021996 w 5829300"/>
              <a:gd name="connsiteY21" fmla="*/ 2090528 h 5819775"/>
              <a:gd name="connsiteX22" fmla="*/ 2426113 w 5829300"/>
              <a:gd name="connsiteY22" fmla="*/ 2090528 h 5819775"/>
              <a:gd name="connsiteX23" fmla="*/ 2426113 w 5829300"/>
              <a:gd name="connsiteY23" fmla="*/ 3746554 h 5819775"/>
              <a:gd name="connsiteX24" fmla="*/ 3830622 w 5829300"/>
              <a:gd name="connsiteY24" fmla="*/ 1808636 h 5819775"/>
              <a:gd name="connsiteX25" fmla="*/ 3372812 w 5829300"/>
              <a:gd name="connsiteY25" fmla="*/ 1808636 h 5819775"/>
              <a:gd name="connsiteX26" fmla="*/ 3113532 w 5829300"/>
              <a:gd name="connsiteY26" fmla="*/ 2067916 h 5819775"/>
              <a:gd name="connsiteX27" fmla="*/ 3113532 w 5829300"/>
              <a:gd name="connsiteY27" fmla="*/ 3776929 h 5819775"/>
              <a:gd name="connsiteX28" fmla="*/ 3372812 w 5829300"/>
              <a:gd name="connsiteY28" fmla="*/ 4036209 h 5819775"/>
              <a:gd name="connsiteX29" fmla="*/ 3830622 w 5829300"/>
              <a:gd name="connsiteY29" fmla="*/ 4036209 h 5819775"/>
              <a:gd name="connsiteX30" fmla="*/ 4089902 w 5829300"/>
              <a:gd name="connsiteY30" fmla="*/ 3776929 h 5819775"/>
              <a:gd name="connsiteX31" fmla="*/ 4089902 w 5829300"/>
              <a:gd name="connsiteY31" fmla="*/ 2067916 h 5819775"/>
              <a:gd name="connsiteX32" fmla="*/ 3830622 w 5829300"/>
              <a:gd name="connsiteY32" fmla="*/ 1808636 h 5819775"/>
              <a:gd name="connsiteX33" fmla="*/ 3807305 w 5829300"/>
              <a:gd name="connsiteY33" fmla="*/ 3746554 h 5819775"/>
              <a:gd name="connsiteX34" fmla="*/ 3403187 w 5829300"/>
              <a:gd name="connsiteY34" fmla="*/ 3746554 h 5819775"/>
              <a:gd name="connsiteX35" fmla="*/ 3403187 w 5829300"/>
              <a:gd name="connsiteY35" fmla="*/ 2090528 h 5819775"/>
              <a:gd name="connsiteX36" fmla="*/ 3807305 w 5829300"/>
              <a:gd name="connsiteY36" fmla="*/ 2090528 h 5819775"/>
              <a:gd name="connsiteX37" fmla="*/ 3807305 w 5829300"/>
              <a:gd name="connsiteY37" fmla="*/ 3746554 h 581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829300" h="5819775">
                <a:moveTo>
                  <a:pt x="2915002" y="0"/>
                </a:moveTo>
                <a:cubicBezTo>
                  <a:pt x="1304896" y="0"/>
                  <a:pt x="0" y="1304896"/>
                  <a:pt x="0" y="2915003"/>
                </a:cubicBezTo>
                <a:cubicBezTo>
                  <a:pt x="0" y="4525109"/>
                  <a:pt x="1304896" y="5829300"/>
                  <a:pt x="2915002" y="5829300"/>
                </a:cubicBezTo>
                <a:cubicBezTo>
                  <a:pt x="4525109" y="5829300"/>
                  <a:pt x="5830005" y="4524404"/>
                  <a:pt x="5830005" y="2914298"/>
                </a:cubicBezTo>
                <a:cubicBezTo>
                  <a:pt x="5830005" y="1304192"/>
                  <a:pt x="4524404" y="0"/>
                  <a:pt x="2915002" y="0"/>
                </a:cubicBezTo>
                <a:close/>
                <a:moveTo>
                  <a:pt x="2915002" y="5555180"/>
                </a:moveTo>
                <a:cubicBezTo>
                  <a:pt x="1465269" y="5555180"/>
                  <a:pt x="282597" y="4372509"/>
                  <a:pt x="282597" y="2922775"/>
                </a:cubicBezTo>
                <a:cubicBezTo>
                  <a:pt x="282597" y="1473041"/>
                  <a:pt x="1465269" y="290370"/>
                  <a:pt x="2915002" y="290370"/>
                </a:cubicBezTo>
                <a:cubicBezTo>
                  <a:pt x="4364736" y="290370"/>
                  <a:pt x="5547408" y="1473041"/>
                  <a:pt x="5547408" y="2922775"/>
                </a:cubicBezTo>
                <a:cubicBezTo>
                  <a:pt x="5547408" y="4372509"/>
                  <a:pt x="4364736" y="5555180"/>
                  <a:pt x="2915002" y="5555180"/>
                </a:cubicBezTo>
                <a:close/>
                <a:moveTo>
                  <a:pt x="2449421" y="1808636"/>
                </a:moveTo>
                <a:lnTo>
                  <a:pt x="1991611" y="1808636"/>
                </a:lnTo>
                <a:cubicBezTo>
                  <a:pt x="1846783" y="1808636"/>
                  <a:pt x="1732331" y="1923088"/>
                  <a:pt x="1732331" y="2067916"/>
                </a:cubicBezTo>
                <a:lnTo>
                  <a:pt x="1732331" y="3776929"/>
                </a:lnTo>
                <a:cubicBezTo>
                  <a:pt x="1732331" y="3921757"/>
                  <a:pt x="1846783" y="4036209"/>
                  <a:pt x="1991611" y="4036209"/>
                </a:cubicBezTo>
                <a:lnTo>
                  <a:pt x="2449421" y="4036209"/>
                </a:lnTo>
                <a:cubicBezTo>
                  <a:pt x="2594248" y="4036209"/>
                  <a:pt x="2708700" y="3921757"/>
                  <a:pt x="2708700" y="3776929"/>
                </a:cubicBezTo>
                <a:lnTo>
                  <a:pt x="2708700" y="2067916"/>
                </a:lnTo>
                <a:cubicBezTo>
                  <a:pt x="2708710" y="1923088"/>
                  <a:pt x="2594258" y="1808636"/>
                  <a:pt x="2449421" y="1808636"/>
                </a:cubicBezTo>
                <a:close/>
                <a:moveTo>
                  <a:pt x="2426113" y="3746554"/>
                </a:moveTo>
                <a:lnTo>
                  <a:pt x="2021996" y="3746554"/>
                </a:lnTo>
                <a:lnTo>
                  <a:pt x="2021996" y="2090528"/>
                </a:lnTo>
                <a:lnTo>
                  <a:pt x="2426113" y="2090528"/>
                </a:lnTo>
                <a:lnTo>
                  <a:pt x="2426113" y="3746554"/>
                </a:lnTo>
                <a:close/>
                <a:moveTo>
                  <a:pt x="3830622" y="1808636"/>
                </a:moveTo>
                <a:lnTo>
                  <a:pt x="3372812" y="1808636"/>
                </a:lnTo>
                <a:cubicBezTo>
                  <a:pt x="3227984" y="1808636"/>
                  <a:pt x="3113532" y="1923088"/>
                  <a:pt x="3113532" y="2067916"/>
                </a:cubicBezTo>
                <a:lnTo>
                  <a:pt x="3113532" y="3776929"/>
                </a:lnTo>
                <a:cubicBezTo>
                  <a:pt x="3113532" y="3921757"/>
                  <a:pt x="3227984" y="4036209"/>
                  <a:pt x="3372812" y="4036209"/>
                </a:cubicBezTo>
                <a:lnTo>
                  <a:pt x="3830622" y="4036209"/>
                </a:lnTo>
                <a:cubicBezTo>
                  <a:pt x="3975449" y="4036209"/>
                  <a:pt x="4089902" y="3921757"/>
                  <a:pt x="4089902" y="3776929"/>
                </a:cubicBezTo>
                <a:lnTo>
                  <a:pt x="4089902" y="2067916"/>
                </a:lnTo>
                <a:cubicBezTo>
                  <a:pt x="4089911" y="1923088"/>
                  <a:pt x="3975459" y="1808636"/>
                  <a:pt x="3830622" y="1808636"/>
                </a:cubicBezTo>
                <a:close/>
                <a:moveTo>
                  <a:pt x="3807305" y="3746554"/>
                </a:moveTo>
                <a:lnTo>
                  <a:pt x="3403187" y="3746554"/>
                </a:lnTo>
                <a:lnTo>
                  <a:pt x="3403187" y="2090528"/>
                </a:lnTo>
                <a:lnTo>
                  <a:pt x="3807305" y="2090528"/>
                </a:lnTo>
                <a:lnTo>
                  <a:pt x="3807305" y="3746554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1" name="Forma libre 312">
            <a:extLst>
              <a:ext uri="{FF2B5EF4-FFF2-40B4-BE49-F238E27FC236}">
                <a16:creationId xmlns:a16="http://schemas.microsoft.com/office/drawing/2014/main" xmlns="" id="{021F0E8C-9346-1849-A656-29418C69F98C}"/>
              </a:ext>
            </a:extLst>
          </p:cNvPr>
          <p:cNvSpPr/>
          <p:nvPr/>
        </p:nvSpPr>
        <p:spPr>
          <a:xfrm>
            <a:off x="1241107" y="1442587"/>
            <a:ext cx="301831" cy="301338"/>
          </a:xfrm>
          <a:custGeom>
            <a:avLst/>
            <a:gdLst>
              <a:gd name="connsiteX0" fmla="*/ 2915002 w 5829300"/>
              <a:gd name="connsiteY0" fmla="*/ 0 h 5819775"/>
              <a:gd name="connsiteX1" fmla="*/ 0 w 5829300"/>
              <a:gd name="connsiteY1" fmla="*/ 2915003 h 5819775"/>
              <a:gd name="connsiteX2" fmla="*/ 2915002 w 5829300"/>
              <a:gd name="connsiteY2" fmla="*/ 5829300 h 5819775"/>
              <a:gd name="connsiteX3" fmla="*/ 5830005 w 5829300"/>
              <a:gd name="connsiteY3" fmla="*/ 2914298 h 5819775"/>
              <a:gd name="connsiteX4" fmla="*/ 2915002 w 5829300"/>
              <a:gd name="connsiteY4" fmla="*/ 0 h 5819775"/>
              <a:gd name="connsiteX5" fmla="*/ 2915002 w 5829300"/>
              <a:gd name="connsiteY5" fmla="*/ 5547408 h 5819775"/>
              <a:gd name="connsiteX6" fmla="*/ 282597 w 5829300"/>
              <a:gd name="connsiteY6" fmla="*/ 2915003 h 5819775"/>
              <a:gd name="connsiteX7" fmla="*/ 2915002 w 5829300"/>
              <a:gd name="connsiteY7" fmla="*/ 282597 h 5819775"/>
              <a:gd name="connsiteX8" fmla="*/ 5547408 w 5829300"/>
              <a:gd name="connsiteY8" fmla="*/ 2915003 h 5819775"/>
              <a:gd name="connsiteX9" fmla="*/ 2915002 w 5829300"/>
              <a:gd name="connsiteY9" fmla="*/ 5547408 h 5819775"/>
              <a:gd name="connsiteX10" fmla="*/ 4051754 w 5829300"/>
              <a:gd name="connsiteY10" fmla="*/ 2716482 h 5819775"/>
              <a:gd name="connsiteX11" fmla="*/ 4036209 w 5829300"/>
              <a:gd name="connsiteY11" fmla="*/ 2708710 h 5819775"/>
              <a:gd name="connsiteX12" fmla="*/ 2418331 w 5829300"/>
              <a:gd name="connsiteY12" fmla="*/ 1777546 h 5819775"/>
              <a:gd name="connsiteX13" fmla="*/ 2265731 w 5829300"/>
              <a:gd name="connsiteY13" fmla="*/ 1731626 h 5819775"/>
              <a:gd name="connsiteX14" fmla="*/ 2044599 w 5829300"/>
              <a:gd name="connsiteY14" fmla="*/ 1998678 h 5819775"/>
              <a:gd name="connsiteX15" fmla="*/ 2044599 w 5829300"/>
              <a:gd name="connsiteY15" fmla="*/ 3829917 h 5819775"/>
              <a:gd name="connsiteX16" fmla="*/ 2273503 w 5829300"/>
              <a:gd name="connsiteY16" fmla="*/ 4096969 h 5819775"/>
              <a:gd name="connsiteX17" fmla="*/ 2433876 w 5829300"/>
              <a:gd name="connsiteY17" fmla="*/ 4051049 h 5819775"/>
              <a:gd name="connsiteX18" fmla="*/ 3982517 w 5829300"/>
              <a:gd name="connsiteY18" fmla="*/ 3158042 h 5819775"/>
              <a:gd name="connsiteX19" fmla="*/ 4157729 w 5829300"/>
              <a:gd name="connsiteY19" fmla="*/ 2921365 h 5819775"/>
              <a:gd name="connsiteX20" fmla="*/ 4051754 w 5829300"/>
              <a:gd name="connsiteY20" fmla="*/ 2716482 h 5819775"/>
              <a:gd name="connsiteX21" fmla="*/ 2327196 w 5829300"/>
              <a:gd name="connsiteY21" fmla="*/ 3792474 h 5819775"/>
              <a:gd name="connsiteX22" fmla="*/ 2327196 w 5829300"/>
              <a:gd name="connsiteY22" fmla="*/ 2052371 h 5819775"/>
              <a:gd name="connsiteX23" fmla="*/ 3830622 w 5829300"/>
              <a:gd name="connsiteY23" fmla="*/ 2922070 h 5819775"/>
              <a:gd name="connsiteX24" fmla="*/ 2327196 w 5829300"/>
              <a:gd name="connsiteY24" fmla="*/ 3792474 h 581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829300" h="5819775">
                <a:moveTo>
                  <a:pt x="2915002" y="0"/>
                </a:moveTo>
                <a:cubicBezTo>
                  <a:pt x="1304896" y="0"/>
                  <a:pt x="0" y="1304896"/>
                  <a:pt x="0" y="2915003"/>
                </a:cubicBezTo>
                <a:cubicBezTo>
                  <a:pt x="0" y="4525109"/>
                  <a:pt x="1304896" y="5829300"/>
                  <a:pt x="2915002" y="5829300"/>
                </a:cubicBezTo>
                <a:cubicBezTo>
                  <a:pt x="4525109" y="5829300"/>
                  <a:pt x="5830005" y="4524404"/>
                  <a:pt x="5830005" y="2914298"/>
                </a:cubicBezTo>
                <a:cubicBezTo>
                  <a:pt x="5830005" y="1304192"/>
                  <a:pt x="4525109" y="0"/>
                  <a:pt x="2915002" y="0"/>
                </a:cubicBezTo>
                <a:close/>
                <a:moveTo>
                  <a:pt x="2915002" y="5547408"/>
                </a:moveTo>
                <a:cubicBezTo>
                  <a:pt x="1465269" y="5547408"/>
                  <a:pt x="282597" y="4364736"/>
                  <a:pt x="282597" y="2915003"/>
                </a:cubicBezTo>
                <a:cubicBezTo>
                  <a:pt x="282597" y="1465269"/>
                  <a:pt x="1465269" y="282597"/>
                  <a:pt x="2915002" y="282597"/>
                </a:cubicBezTo>
                <a:cubicBezTo>
                  <a:pt x="4364736" y="282597"/>
                  <a:pt x="5547408" y="1465269"/>
                  <a:pt x="5547408" y="2915003"/>
                </a:cubicBezTo>
                <a:cubicBezTo>
                  <a:pt x="5547408" y="4364736"/>
                  <a:pt x="4372509" y="5547408"/>
                  <a:pt x="2915002" y="5547408"/>
                </a:cubicBezTo>
                <a:close/>
                <a:moveTo>
                  <a:pt x="4051754" y="2716482"/>
                </a:moveTo>
                <a:cubicBezTo>
                  <a:pt x="4043982" y="2716482"/>
                  <a:pt x="4043982" y="2708710"/>
                  <a:pt x="4036209" y="2708710"/>
                </a:cubicBezTo>
                <a:lnTo>
                  <a:pt x="2418331" y="1777546"/>
                </a:lnTo>
                <a:cubicBezTo>
                  <a:pt x="2364638" y="1747171"/>
                  <a:pt x="2319423" y="1731626"/>
                  <a:pt x="2265731" y="1731626"/>
                </a:cubicBezTo>
                <a:cubicBezTo>
                  <a:pt x="2159051" y="1731626"/>
                  <a:pt x="2044599" y="1815703"/>
                  <a:pt x="2044599" y="1998678"/>
                </a:cubicBezTo>
                <a:lnTo>
                  <a:pt x="2044599" y="3829917"/>
                </a:lnTo>
                <a:cubicBezTo>
                  <a:pt x="2052371" y="4012902"/>
                  <a:pt x="2159051" y="4096969"/>
                  <a:pt x="2273503" y="4096969"/>
                </a:cubicBezTo>
                <a:cubicBezTo>
                  <a:pt x="2327196" y="4096969"/>
                  <a:pt x="2380183" y="4081424"/>
                  <a:pt x="2433876" y="4051049"/>
                </a:cubicBezTo>
                <a:lnTo>
                  <a:pt x="3982517" y="3158042"/>
                </a:lnTo>
                <a:cubicBezTo>
                  <a:pt x="4096969" y="3097282"/>
                  <a:pt x="4150662" y="3013215"/>
                  <a:pt x="4157729" y="2921365"/>
                </a:cubicBezTo>
                <a:cubicBezTo>
                  <a:pt x="4166207" y="2884627"/>
                  <a:pt x="4151376" y="2792778"/>
                  <a:pt x="4051754" y="2716482"/>
                </a:cubicBezTo>
                <a:close/>
                <a:moveTo>
                  <a:pt x="2327196" y="3792474"/>
                </a:moveTo>
                <a:lnTo>
                  <a:pt x="2327196" y="2052371"/>
                </a:lnTo>
                <a:lnTo>
                  <a:pt x="3830622" y="2922070"/>
                </a:lnTo>
                <a:lnTo>
                  <a:pt x="2327196" y="3792474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2" name="Forma libre 314">
            <a:extLst>
              <a:ext uri="{FF2B5EF4-FFF2-40B4-BE49-F238E27FC236}">
                <a16:creationId xmlns:a16="http://schemas.microsoft.com/office/drawing/2014/main" xmlns="" id="{7C690D53-49DB-E745-942E-D8C426739B0F}"/>
              </a:ext>
            </a:extLst>
          </p:cNvPr>
          <p:cNvSpPr/>
          <p:nvPr/>
        </p:nvSpPr>
        <p:spPr>
          <a:xfrm>
            <a:off x="5762251" y="1416473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02 h 5829300"/>
              <a:gd name="connsiteX2" fmla="*/ 2915002 w 5829300"/>
              <a:gd name="connsiteY2" fmla="*/ 5830005 h 5829300"/>
              <a:gd name="connsiteX3" fmla="*/ 5830005 w 5829300"/>
              <a:gd name="connsiteY3" fmla="*/ 2915002 h 5829300"/>
              <a:gd name="connsiteX4" fmla="*/ 2915002 w 5829300"/>
              <a:gd name="connsiteY4" fmla="*/ 0 h 5829300"/>
              <a:gd name="connsiteX5" fmla="*/ 2915002 w 5829300"/>
              <a:gd name="connsiteY5" fmla="*/ 5547408 h 5829300"/>
              <a:gd name="connsiteX6" fmla="*/ 282597 w 5829300"/>
              <a:gd name="connsiteY6" fmla="*/ 2915002 h 5829300"/>
              <a:gd name="connsiteX7" fmla="*/ 2915002 w 5829300"/>
              <a:gd name="connsiteY7" fmla="*/ 282597 h 5829300"/>
              <a:gd name="connsiteX8" fmla="*/ 5547408 w 5829300"/>
              <a:gd name="connsiteY8" fmla="*/ 2915002 h 5829300"/>
              <a:gd name="connsiteX9" fmla="*/ 2915002 w 5829300"/>
              <a:gd name="connsiteY9" fmla="*/ 5547408 h 5829300"/>
              <a:gd name="connsiteX10" fmla="*/ 4196591 w 5829300"/>
              <a:gd name="connsiteY10" fmla="*/ 2953150 h 5829300"/>
              <a:gd name="connsiteX11" fmla="*/ 4059526 w 5829300"/>
              <a:gd name="connsiteY11" fmla="*/ 3090215 h 5829300"/>
              <a:gd name="connsiteX12" fmla="*/ 3052067 w 5829300"/>
              <a:gd name="connsiteY12" fmla="*/ 3090215 h 5829300"/>
              <a:gd name="connsiteX13" fmla="*/ 3052067 w 5829300"/>
              <a:gd name="connsiteY13" fmla="*/ 4089911 h 5829300"/>
              <a:gd name="connsiteX14" fmla="*/ 2915002 w 5829300"/>
              <a:gd name="connsiteY14" fmla="*/ 4226976 h 5829300"/>
              <a:gd name="connsiteX15" fmla="*/ 2777938 w 5829300"/>
              <a:gd name="connsiteY15" fmla="*/ 4089911 h 5829300"/>
              <a:gd name="connsiteX16" fmla="*/ 2777938 w 5829300"/>
              <a:gd name="connsiteY16" fmla="*/ 3090215 h 5829300"/>
              <a:gd name="connsiteX17" fmla="*/ 1770478 w 5829300"/>
              <a:gd name="connsiteY17" fmla="*/ 3090215 h 5829300"/>
              <a:gd name="connsiteX18" fmla="*/ 1633414 w 5829300"/>
              <a:gd name="connsiteY18" fmla="*/ 2953150 h 5829300"/>
              <a:gd name="connsiteX19" fmla="*/ 1770478 w 5829300"/>
              <a:gd name="connsiteY19" fmla="*/ 2816086 h 5829300"/>
              <a:gd name="connsiteX20" fmla="*/ 2770175 w 5829300"/>
              <a:gd name="connsiteY20" fmla="*/ 2816086 h 5829300"/>
              <a:gd name="connsiteX21" fmla="*/ 2770175 w 5829300"/>
              <a:gd name="connsiteY21" fmla="*/ 1808626 h 5829300"/>
              <a:gd name="connsiteX22" fmla="*/ 2907240 w 5829300"/>
              <a:gd name="connsiteY22" fmla="*/ 1671561 h 5829300"/>
              <a:gd name="connsiteX23" fmla="*/ 3044304 w 5829300"/>
              <a:gd name="connsiteY23" fmla="*/ 1808626 h 5829300"/>
              <a:gd name="connsiteX24" fmla="*/ 3044304 w 5829300"/>
              <a:gd name="connsiteY24" fmla="*/ 2808323 h 5829300"/>
              <a:gd name="connsiteX25" fmla="*/ 4044001 w 5829300"/>
              <a:gd name="connsiteY25" fmla="*/ 2808323 h 5829300"/>
              <a:gd name="connsiteX26" fmla="*/ 4196591 w 5829300"/>
              <a:gd name="connsiteY26" fmla="*/ 2953150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896"/>
                  <a:pt x="0" y="2915002"/>
                </a:cubicBezTo>
                <a:cubicBezTo>
                  <a:pt x="0" y="4525109"/>
                  <a:pt x="1304896" y="5830005"/>
                  <a:pt x="2915002" y="5830005"/>
                </a:cubicBezTo>
                <a:cubicBezTo>
                  <a:pt x="4525109" y="5830005"/>
                  <a:pt x="5830005" y="4525109"/>
                  <a:pt x="5830005" y="2915002"/>
                </a:cubicBezTo>
                <a:cubicBezTo>
                  <a:pt x="5830005" y="1304896"/>
                  <a:pt x="4525109" y="0"/>
                  <a:pt x="2915002" y="0"/>
                </a:cubicBezTo>
                <a:close/>
                <a:moveTo>
                  <a:pt x="2915002" y="5547408"/>
                </a:moveTo>
                <a:cubicBezTo>
                  <a:pt x="1457497" y="5547408"/>
                  <a:pt x="282597" y="4364736"/>
                  <a:pt x="282597" y="2915002"/>
                </a:cubicBezTo>
                <a:cubicBezTo>
                  <a:pt x="282597" y="1465269"/>
                  <a:pt x="1465269" y="282597"/>
                  <a:pt x="2915002" y="282597"/>
                </a:cubicBezTo>
                <a:cubicBezTo>
                  <a:pt x="4364736" y="282597"/>
                  <a:pt x="5547408" y="1465269"/>
                  <a:pt x="5547408" y="2915002"/>
                </a:cubicBezTo>
                <a:cubicBezTo>
                  <a:pt x="5547408" y="4364736"/>
                  <a:pt x="4364736" y="5547408"/>
                  <a:pt x="2915002" y="5547408"/>
                </a:cubicBezTo>
                <a:close/>
                <a:moveTo>
                  <a:pt x="4196591" y="2953150"/>
                </a:moveTo>
                <a:cubicBezTo>
                  <a:pt x="4196591" y="3029455"/>
                  <a:pt x="4135831" y="3090215"/>
                  <a:pt x="4059526" y="3090215"/>
                </a:cubicBezTo>
                <a:lnTo>
                  <a:pt x="3052067" y="3090215"/>
                </a:lnTo>
                <a:lnTo>
                  <a:pt x="3052067" y="4089911"/>
                </a:lnTo>
                <a:cubicBezTo>
                  <a:pt x="3052067" y="4166216"/>
                  <a:pt x="2991307" y="4226976"/>
                  <a:pt x="2915002" y="4226976"/>
                </a:cubicBezTo>
                <a:cubicBezTo>
                  <a:pt x="2838698" y="4226976"/>
                  <a:pt x="2777938" y="4166216"/>
                  <a:pt x="2777938" y="4089911"/>
                </a:cubicBezTo>
                <a:lnTo>
                  <a:pt x="2777938" y="3090215"/>
                </a:lnTo>
                <a:lnTo>
                  <a:pt x="1770478" y="3090215"/>
                </a:lnTo>
                <a:cubicBezTo>
                  <a:pt x="1694174" y="3090215"/>
                  <a:pt x="1633414" y="3029455"/>
                  <a:pt x="1633414" y="2953150"/>
                </a:cubicBezTo>
                <a:cubicBezTo>
                  <a:pt x="1633414" y="2876845"/>
                  <a:pt x="1694174" y="2816086"/>
                  <a:pt x="1770478" y="2816086"/>
                </a:cubicBezTo>
                <a:lnTo>
                  <a:pt x="2770175" y="2816086"/>
                </a:lnTo>
                <a:lnTo>
                  <a:pt x="2770175" y="1808626"/>
                </a:lnTo>
                <a:cubicBezTo>
                  <a:pt x="2770175" y="1732321"/>
                  <a:pt x="2830935" y="1671561"/>
                  <a:pt x="2907240" y="1671561"/>
                </a:cubicBezTo>
                <a:cubicBezTo>
                  <a:pt x="2983544" y="1671561"/>
                  <a:pt x="3044304" y="1732321"/>
                  <a:pt x="3044304" y="1808626"/>
                </a:cubicBezTo>
                <a:lnTo>
                  <a:pt x="3044304" y="2808323"/>
                </a:lnTo>
                <a:lnTo>
                  <a:pt x="4044001" y="2808323"/>
                </a:lnTo>
                <a:cubicBezTo>
                  <a:pt x="4135831" y="2808323"/>
                  <a:pt x="4196591" y="2876855"/>
                  <a:pt x="4196591" y="295315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3" name="Forma libre 316">
            <a:extLst>
              <a:ext uri="{FF2B5EF4-FFF2-40B4-BE49-F238E27FC236}">
                <a16:creationId xmlns:a16="http://schemas.microsoft.com/office/drawing/2014/main" xmlns="" id="{AE028597-0E58-704A-ADEE-2F3AA2353731}"/>
              </a:ext>
            </a:extLst>
          </p:cNvPr>
          <p:cNvSpPr/>
          <p:nvPr/>
        </p:nvSpPr>
        <p:spPr>
          <a:xfrm>
            <a:off x="6487380" y="5305298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02 h 5829300"/>
              <a:gd name="connsiteX2" fmla="*/ 2915002 w 5829300"/>
              <a:gd name="connsiteY2" fmla="*/ 5830005 h 5829300"/>
              <a:gd name="connsiteX3" fmla="*/ 5830005 w 5829300"/>
              <a:gd name="connsiteY3" fmla="*/ 2915002 h 5829300"/>
              <a:gd name="connsiteX4" fmla="*/ 2915002 w 5829300"/>
              <a:gd name="connsiteY4" fmla="*/ 0 h 5829300"/>
              <a:gd name="connsiteX5" fmla="*/ 2915002 w 5829300"/>
              <a:gd name="connsiteY5" fmla="*/ 5555180 h 5829300"/>
              <a:gd name="connsiteX6" fmla="*/ 282597 w 5829300"/>
              <a:gd name="connsiteY6" fmla="*/ 2922775 h 5829300"/>
              <a:gd name="connsiteX7" fmla="*/ 2915002 w 5829300"/>
              <a:gd name="connsiteY7" fmla="*/ 290370 h 5829300"/>
              <a:gd name="connsiteX8" fmla="*/ 5547408 w 5829300"/>
              <a:gd name="connsiteY8" fmla="*/ 2922775 h 5829300"/>
              <a:gd name="connsiteX9" fmla="*/ 2915002 w 5829300"/>
              <a:gd name="connsiteY9" fmla="*/ 5555180 h 5829300"/>
              <a:gd name="connsiteX10" fmla="*/ 4097674 w 5829300"/>
              <a:gd name="connsiteY10" fmla="*/ 2991307 h 5829300"/>
              <a:gd name="connsiteX11" fmla="*/ 2915002 w 5829300"/>
              <a:gd name="connsiteY11" fmla="*/ 4173979 h 5829300"/>
              <a:gd name="connsiteX12" fmla="*/ 1732331 w 5829300"/>
              <a:gd name="connsiteY12" fmla="*/ 2991307 h 5829300"/>
              <a:gd name="connsiteX13" fmla="*/ 2197913 w 5829300"/>
              <a:gd name="connsiteY13" fmla="*/ 2053076 h 5829300"/>
              <a:gd name="connsiteX14" fmla="*/ 2396443 w 5829300"/>
              <a:gd name="connsiteY14" fmla="*/ 2083451 h 5829300"/>
              <a:gd name="connsiteX15" fmla="*/ 2366067 w 5829300"/>
              <a:gd name="connsiteY15" fmla="*/ 2281981 h 5829300"/>
              <a:gd name="connsiteX16" fmla="*/ 2007165 w 5829300"/>
              <a:gd name="connsiteY16" fmla="*/ 2999070 h 5829300"/>
              <a:gd name="connsiteX17" fmla="*/ 2907240 w 5829300"/>
              <a:gd name="connsiteY17" fmla="*/ 3899145 h 5829300"/>
              <a:gd name="connsiteX18" fmla="*/ 3807314 w 5829300"/>
              <a:gd name="connsiteY18" fmla="*/ 2999070 h 5829300"/>
              <a:gd name="connsiteX19" fmla="*/ 3448412 w 5829300"/>
              <a:gd name="connsiteY19" fmla="*/ 2281981 h 5829300"/>
              <a:gd name="connsiteX20" fmla="*/ 3418037 w 5829300"/>
              <a:gd name="connsiteY20" fmla="*/ 2083451 h 5829300"/>
              <a:gd name="connsiteX21" fmla="*/ 3616566 w 5829300"/>
              <a:gd name="connsiteY21" fmla="*/ 2053076 h 5829300"/>
              <a:gd name="connsiteX22" fmla="*/ 4097674 w 5829300"/>
              <a:gd name="connsiteY22" fmla="*/ 2991307 h 5829300"/>
              <a:gd name="connsiteX23" fmla="*/ 2770175 w 5829300"/>
              <a:gd name="connsiteY23" fmla="*/ 2991307 h 5829300"/>
              <a:gd name="connsiteX24" fmla="*/ 2770175 w 5829300"/>
              <a:gd name="connsiteY24" fmla="*/ 1694174 h 5829300"/>
              <a:gd name="connsiteX25" fmla="*/ 2907240 w 5829300"/>
              <a:gd name="connsiteY25" fmla="*/ 1557109 h 5829300"/>
              <a:gd name="connsiteX26" fmla="*/ 3044304 w 5829300"/>
              <a:gd name="connsiteY26" fmla="*/ 1694174 h 5829300"/>
              <a:gd name="connsiteX27" fmla="*/ 3044304 w 5829300"/>
              <a:gd name="connsiteY27" fmla="*/ 2991298 h 5829300"/>
              <a:gd name="connsiteX28" fmla="*/ 2907240 w 5829300"/>
              <a:gd name="connsiteY28" fmla="*/ 3128363 h 5829300"/>
              <a:gd name="connsiteX29" fmla="*/ 2770175 w 5829300"/>
              <a:gd name="connsiteY29" fmla="*/ 2991307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896"/>
                  <a:pt x="0" y="2915002"/>
                </a:cubicBezTo>
                <a:cubicBezTo>
                  <a:pt x="0" y="4525109"/>
                  <a:pt x="1304896" y="5830005"/>
                  <a:pt x="2915002" y="5830005"/>
                </a:cubicBezTo>
                <a:cubicBezTo>
                  <a:pt x="4525109" y="5830005"/>
                  <a:pt x="5830005" y="4525109"/>
                  <a:pt x="5830005" y="2915002"/>
                </a:cubicBezTo>
                <a:cubicBezTo>
                  <a:pt x="5830005" y="1304896"/>
                  <a:pt x="4525109" y="0"/>
                  <a:pt x="2915002" y="0"/>
                </a:cubicBezTo>
                <a:close/>
                <a:moveTo>
                  <a:pt x="2915002" y="5555180"/>
                </a:moveTo>
                <a:cubicBezTo>
                  <a:pt x="1465269" y="5555180"/>
                  <a:pt x="282597" y="4372509"/>
                  <a:pt x="282597" y="2922775"/>
                </a:cubicBezTo>
                <a:cubicBezTo>
                  <a:pt x="282597" y="1473041"/>
                  <a:pt x="1465269" y="290370"/>
                  <a:pt x="2915002" y="290370"/>
                </a:cubicBezTo>
                <a:cubicBezTo>
                  <a:pt x="4364736" y="290370"/>
                  <a:pt x="5547408" y="1473041"/>
                  <a:pt x="5547408" y="2922775"/>
                </a:cubicBezTo>
                <a:cubicBezTo>
                  <a:pt x="5547408" y="4372509"/>
                  <a:pt x="4364736" y="5555180"/>
                  <a:pt x="2915002" y="5555180"/>
                </a:cubicBezTo>
                <a:close/>
                <a:moveTo>
                  <a:pt x="4097674" y="2991307"/>
                </a:moveTo>
                <a:cubicBezTo>
                  <a:pt x="4097674" y="3639874"/>
                  <a:pt x="3571332" y="4173979"/>
                  <a:pt x="2915002" y="4173979"/>
                </a:cubicBezTo>
                <a:cubicBezTo>
                  <a:pt x="2258673" y="4173979"/>
                  <a:pt x="1732331" y="3647637"/>
                  <a:pt x="1732331" y="2991307"/>
                </a:cubicBezTo>
                <a:cubicBezTo>
                  <a:pt x="1732331" y="2617575"/>
                  <a:pt x="1900476" y="2274218"/>
                  <a:pt x="2197913" y="2053076"/>
                </a:cubicBezTo>
                <a:cubicBezTo>
                  <a:pt x="2258673" y="2007156"/>
                  <a:pt x="2350513" y="2014928"/>
                  <a:pt x="2396443" y="2083451"/>
                </a:cubicBezTo>
                <a:cubicBezTo>
                  <a:pt x="2442362" y="2144211"/>
                  <a:pt x="2434590" y="2236051"/>
                  <a:pt x="2366067" y="2281981"/>
                </a:cubicBezTo>
                <a:cubicBezTo>
                  <a:pt x="2137162" y="2450125"/>
                  <a:pt x="2007165" y="2717178"/>
                  <a:pt x="2007165" y="2999070"/>
                </a:cubicBezTo>
                <a:cubicBezTo>
                  <a:pt x="2007165" y="3495027"/>
                  <a:pt x="2411282" y="3899145"/>
                  <a:pt x="2907240" y="3899145"/>
                </a:cubicBezTo>
                <a:cubicBezTo>
                  <a:pt x="3403197" y="3899145"/>
                  <a:pt x="3807314" y="3495027"/>
                  <a:pt x="3807314" y="2999070"/>
                </a:cubicBezTo>
                <a:cubicBezTo>
                  <a:pt x="3807314" y="2716473"/>
                  <a:pt x="3677317" y="2457183"/>
                  <a:pt x="3448412" y="2281981"/>
                </a:cubicBezTo>
                <a:cubicBezTo>
                  <a:pt x="3387652" y="2236061"/>
                  <a:pt x="3372107" y="2144916"/>
                  <a:pt x="3418037" y="2083451"/>
                </a:cubicBezTo>
                <a:cubicBezTo>
                  <a:pt x="3463957" y="2022691"/>
                  <a:pt x="3555102" y="2007146"/>
                  <a:pt x="3616566" y="2053076"/>
                </a:cubicBezTo>
                <a:cubicBezTo>
                  <a:pt x="3921757" y="2274208"/>
                  <a:pt x="4097674" y="2617565"/>
                  <a:pt x="4097674" y="2991307"/>
                </a:cubicBezTo>
                <a:close/>
                <a:moveTo>
                  <a:pt x="2770175" y="2991307"/>
                </a:moveTo>
                <a:lnTo>
                  <a:pt x="2770175" y="1694174"/>
                </a:lnTo>
                <a:cubicBezTo>
                  <a:pt x="2770175" y="1617869"/>
                  <a:pt x="2830935" y="1557109"/>
                  <a:pt x="2907240" y="1557109"/>
                </a:cubicBezTo>
                <a:cubicBezTo>
                  <a:pt x="2983544" y="1557109"/>
                  <a:pt x="3044304" y="1617869"/>
                  <a:pt x="3044304" y="1694174"/>
                </a:cubicBezTo>
                <a:lnTo>
                  <a:pt x="3044304" y="2991298"/>
                </a:lnTo>
                <a:cubicBezTo>
                  <a:pt x="3044304" y="3067603"/>
                  <a:pt x="2983544" y="3128363"/>
                  <a:pt x="2907240" y="3128363"/>
                </a:cubicBezTo>
                <a:cubicBezTo>
                  <a:pt x="2838698" y="3136135"/>
                  <a:pt x="2770175" y="3067603"/>
                  <a:pt x="2770175" y="299130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4" name="Forma libre 318">
            <a:extLst>
              <a:ext uri="{FF2B5EF4-FFF2-40B4-BE49-F238E27FC236}">
                <a16:creationId xmlns:a16="http://schemas.microsoft.com/office/drawing/2014/main" xmlns="" id="{41B60D2C-712D-754C-AE4E-7F243BEC72F7}"/>
              </a:ext>
            </a:extLst>
          </p:cNvPr>
          <p:cNvSpPr/>
          <p:nvPr/>
        </p:nvSpPr>
        <p:spPr>
          <a:xfrm>
            <a:off x="6448858" y="3990075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02 h 5829300"/>
              <a:gd name="connsiteX2" fmla="*/ 2915002 w 5829300"/>
              <a:gd name="connsiteY2" fmla="*/ 5830005 h 5829300"/>
              <a:gd name="connsiteX3" fmla="*/ 5830005 w 5829300"/>
              <a:gd name="connsiteY3" fmla="*/ 2915002 h 5829300"/>
              <a:gd name="connsiteX4" fmla="*/ 2915002 w 5829300"/>
              <a:gd name="connsiteY4" fmla="*/ 0 h 5829300"/>
              <a:gd name="connsiteX5" fmla="*/ 2915002 w 5829300"/>
              <a:gd name="connsiteY5" fmla="*/ 5547408 h 5829300"/>
              <a:gd name="connsiteX6" fmla="*/ 282597 w 5829300"/>
              <a:gd name="connsiteY6" fmla="*/ 2915002 h 5829300"/>
              <a:gd name="connsiteX7" fmla="*/ 2915002 w 5829300"/>
              <a:gd name="connsiteY7" fmla="*/ 282597 h 5829300"/>
              <a:gd name="connsiteX8" fmla="*/ 5547408 w 5829300"/>
              <a:gd name="connsiteY8" fmla="*/ 2915002 h 5829300"/>
              <a:gd name="connsiteX9" fmla="*/ 2915002 w 5829300"/>
              <a:gd name="connsiteY9" fmla="*/ 5547408 h 5829300"/>
              <a:gd name="connsiteX10" fmla="*/ 3037227 w 5829300"/>
              <a:gd name="connsiteY10" fmla="*/ 4326579 h 5829300"/>
              <a:gd name="connsiteX11" fmla="*/ 2884627 w 5829300"/>
              <a:gd name="connsiteY11" fmla="*/ 4479179 h 5829300"/>
              <a:gd name="connsiteX12" fmla="*/ 2732027 w 5829300"/>
              <a:gd name="connsiteY12" fmla="*/ 4326579 h 5829300"/>
              <a:gd name="connsiteX13" fmla="*/ 2884627 w 5829300"/>
              <a:gd name="connsiteY13" fmla="*/ 4173979 h 5829300"/>
              <a:gd name="connsiteX14" fmla="*/ 3037227 w 5829300"/>
              <a:gd name="connsiteY14" fmla="*/ 4326579 h 5829300"/>
              <a:gd name="connsiteX15" fmla="*/ 3670249 w 5829300"/>
              <a:gd name="connsiteY15" fmla="*/ 2250901 h 5829300"/>
              <a:gd name="connsiteX16" fmla="*/ 3235052 w 5829300"/>
              <a:gd name="connsiteY16" fmla="*/ 2929843 h 5829300"/>
              <a:gd name="connsiteX17" fmla="*/ 3036523 w 5829300"/>
              <a:gd name="connsiteY17" fmla="*/ 3204667 h 5829300"/>
              <a:gd name="connsiteX18" fmla="*/ 3036523 w 5829300"/>
              <a:gd name="connsiteY18" fmla="*/ 3220212 h 5829300"/>
              <a:gd name="connsiteX19" fmla="*/ 3036523 w 5829300"/>
              <a:gd name="connsiteY19" fmla="*/ 3571342 h 5829300"/>
              <a:gd name="connsiteX20" fmla="*/ 2899458 w 5829300"/>
              <a:gd name="connsiteY20" fmla="*/ 3708407 h 5829300"/>
              <a:gd name="connsiteX21" fmla="*/ 2754630 w 5829300"/>
              <a:gd name="connsiteY21" fmla="*/ 3571342 h 5829300"/>
              <a:gd name="connsiteX22" fmla="*/ 2754630 w 5829300"/>
              <a:gd name="connsiteY22" fmla="*/ 3227984 h 5829300"/>
              <a:gd name="connsiteX23" fmla="*/ 3082442 w 5829300"/>
              <a:gd name="connsiteY23" fmla="*/ 2701642 h 5829300"/>
              <a:gd name="connsiteX24" fmla="*/ 3379880 w 5829300"/>
              <a:gd name="connsiteY24" fmla="*/ 2259378 h 5829300"/>
              <a:gd name="connsiteX25" fmla="*/ 2906525 w 5829300"/>
              <a:gd name="connsiteY25" fmla="*/ 1786023 h 5829300"/>
              <a:gd name="connsiteX26" fmla="*/ 2433171 w 5829300"/>
              <a:gd name="connsiteY26" fmla="*/ 2259378 h 5829300"/>
              <a:gd name="connsiteX27" fmla="*/ 2296106 w 5829300"/>
              <a:gd name="connsiteY27" fmla="*/ 2396443 h 5829300"/>
              <a:gd name="connsiteX28" fmla="*/ 2159041 w 5829300"/>
              <a:gd name="connsiteY28" fmla="*/ 2259378 h 5829300"/>
              <a:gd name="connsiteX29" fmla="*/ 2914288 w 5829300"/>
              <a:gd name="connsiteY29" fmla="*/ 1504131 h 5829300"/>
              <a:gd name="connsiteX30" fmla="*/ 3670249 w 5829300"/>
              <a:gd name="connsiteY30" fmla="*/ 2250901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896"/>
                  <a:pt x="0" y="2915002"/>
                </a:cubicBezTo>
                <a:cubicBezTo>
                  <a:pt x="0" y="4525109"/>
                  <a:pt x="1304896" y="5830005"/>
                  <a:pt x="2915002" y="5830005"/>
                </a:cubicBezTo>
                <a:cubicBezTo>
                  <a:pt x="4525109" y="5830005"/>
                  <a:pt x="5830005" y="4525109"/>
                  <a:pt x="5830005" y="2915002"/>
                </a:cubicBezTo>
                <a:cubicBezTo>
                  <a:pt x="5830005" y="1304896"/>
                  <a:pt x="4517336" y="0"/>
                  <a:pt x="2915002" y="0"/>
                </a:cubicBezTo>
                <a:close/>
                <a:moveTo>
                  <a:pt x="2915002" y="5547408"/>
                </a:moveTo>
                <a:cubicBezTo>
                  <a:pt x="1465269" y="5547408"/>
                  <a:pt x="282597" y="4364736"/>
                  <a:pt x="282597" y="2915002"/>
                </a:cubicBezTo>
                <a:cubicBezTo>
                  <a:pt x="282597" y="1465269"/>
                  <a:pt x="1457506" y="282597"/>
                  <a:pt x="2915002" y="282597"/>
                </a:cubicBezTo>
                <a:cubicBezTo>
                  <a:pt x="4372499" y="282597"/>
                  <a:pt x="5547408" y="1465269"/>
                  <a:pt x="5547408" y="2915002"/>
                </a:cubicBezTo>
                <a:cubicBezTo>
                  <a:pt x="5547408" y="4364736"/>
                  <a:pt x="4364736" y="5547408"/>
                  <a:pt x="2915002" y="5547408"/>
                </a:cubicBezTo>
                <a:close/>
                <a:moveTo>
                  <a:pt x="3037227" y="4326579"/>
                </a:moveTo>
                <a:cubicBezTo>
                  <a:pt x="3037227" y="4410656"/>
                  <a:pt x="2968695" y="4479179"/>
                  <a:pt x="2884627" y="4479179"/>
                </a:cubicBezTo>
                <a:cubicBezTo>
                  <a:pt x="2800550" y="4479179"/>
                  <a:pt x="2732027" y="4410647"/>
                  <a:pt x="2732027" y="4326579"/>
                </a:cubicBezTo>
                <a:cubicBezTo>
                  <a:pt x="2732027" y="4242502"/>
                  <a:pt x="2800560" y="4173979"/>
                  <a:pt x="2884627" y="4173979"/>
                </a:cubicBezTo>
                <a:cubicBezTo>
                  <a:pt x="2967990" y="4173979"/>
                  <a:pt x="3037227" y="4242511"/>
                  <a:pt x="3037227" y="4326579"/>
                </a:cubicBezTo>
                <a:close/>
                <a:moveTo>
                  <a:pt x="3670249" y="2250901"/>
                </a:moveTo>
                <a:cubicBezTo>
                  <a:pt x="3670249" y="2517953"/>
                  <a:pt x="3517649" y="2762402"/>
                  <a:pt x="3235052" y="2929843"/>
                </a:cubicBezTo>
                <a:cubicBezTo>
                  <a:pt x="3028760" y="3052067"/>
                  <a:pt x="3036523" y="3196895"/>
                  <a:pt x="3036523" y="3204667"/>
                </a:cubicBezTo>
                <a:cubicBezTo>
                  <a:pt x="3036523" y="3204667"/>
                  <a:pt x="3036523" y="3212440"/>
                  <a:pt x="3036523" y="3220212"/>
                </a:cubicBezTo>
                <a:lnTo>
                  <a:pt x="3036523" y="3571342"/>
                </a:lnTo>
                <a:cubicBezTo>
                  <a:pt x="3036523" y="3647646"/>
                  <a:pt x="2975762" y="3708407"/>
                  <a:pt x="2899458" y="3708407"/>
                </a:cubicBezTo>
                <a:cubicBezTo>
                  <a:pt x="2823153" y="3708407"/>
                  <a:pt x="2754630" y="3647646"/>
                  <a:pt x="2754630" y="3571342"/>
                </a:cubicBezTo>
                <a:lnTo>
                  <a:pt x="2754630" y="3227984"/>
                </a:lnTo>
                <a:cubicBezTo>
                  <a:pt x="2746858" y="3105760"/>
                  <a:pt x="2808323" y="2869083"/>
                  <a:pt x="3082442" y="2701642"/>
                </a:cubicBezTo>
                <a:cubicBezTo>
                  <a:pt x="3219507" y="2617565"/>
                  <a:pt x="3379880" y="2472738"/>
                  <a:pt x="3379880" y="2259378"/>
                </a:cubicBezTo>
                <a:cubicBezTo>
                  <a:pt x="3379880" y="2000098"/>
                  <a:pt x="3166520" y="1786023"/>
                  <a:pt x="2906525" y="1786023"/>
                </a:cubicBezTo>
                <a:cubicBezTo>
                  <a:pt x="2646531" y="1786023"/>
                  <a:pt x="2433171" y="1999383"/>
                  <a:pt x="2433171" y="2259378"/>
                </a:cubicBezTo>
                <a:cubicBezTo>
                  <a:pt x="2433171" y="2335683"/>
                  <a:pt x="2372411" y="2396443"/>
                  <a:pt x="2296106" y="2396443"/>
                </a:cubicBezTo>
                <a:cubicBezTo>
                  <a:pt x="2219801" y="2396443"/>
                  <a:pt x="2159041" y="2335683"/>
                  <a:pt x="2159041" y="2259378"/>
                </a:cubicBezTo>
                <a:cubicBezTo>
                  <a:pt x="2159041" y="1839716"/>
                  <a:pt x="2494626" y="1504131"/>
                  <a:pt x="2914288" y="1504131"/>
                </a:cubicBezTo>
                <a:cubicBezTo>
                  <a:pt x="3333950" y="1504131"/>
                  <a:pt x="3670249" y="1831238"/>
                  <a:pt x="3670249" y="225090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5" name="Forma libre 320">
            <a:extLst>
              <a:ext uri="{FF2B5EF4-FFF2-40B4-BE49-F238E27FC236}">
                <a16:creationId xmlns:a16="http://schemas.microsoft.com/office/drawing/2014/main" xmlns="" id="{C530E319-53AA-1B40-B9A8-29F3F57DCDC3}"/>
              </a:ext>
            </a:extLst>
          </p:cNvPr>
          <p:cNvSpPr/>
          <p:nvPr/>
        </p:nvSpPr>
        <p:spPr>
          <a:xfrm>
            <a:off x="8036384" y="4654963"/>
            <a:ext cx="238523" cy="354647"/>
          </a:xfrm>
          <a:custGeom>
            <a:avLst/>
            <a:gdLst>
              <a:gd name="connsiteX0" fmla="*/ 4218883 w 4606636"/>
              <a:gd name="connsiteY0" fmla="*/ 2340838 h 6849340"/>
              <a:gd name="connsiteX1" fmla="*/ 3869869 w 4606636"/>
              <a:gd name="connsiteY1" fmla="*/ 2340838 h 6849340"/>
              <a:gd name="connsiteX2" fmla="*/ 3769934 w 4606636"/>
              <a:gd name="connsiteY2" fmla="*/ 2349298 h 6849340"/>
              <a:gd name="connsiteX3" fmla="*/ 3769934 w 4606636"/>
              <a:gd name="connsiteY3" fmla="*/ 2224763 h 6849340"/>
              <a:gd name="connsiteX4" fmla="*/ 3354809 w 4606636"/>
              <a:gd name="connsiteY4" fmla="*/ 1809637 h 6849340"/>
              <a:gd name="connsiteX5" fmla="*/ 3005796 w 4606636"/>
              <a:gd name="connsiteY5" fmla="*/ 1809637 h 6849340"/>
              <a:gd name="connsiteX6" fmla="*/ 2748266 w 4606636"/>
              <a:gd name="connsiteY6" fmla="*/ 1901121 h 6849340"/>
              <a:gd name="connsiteX7" fmla="*/ 2490736 w 4606636"/>
              <a:gd name="connsiteY7" fmla="*/ 1809637 h 6849340"/>
              <a:gd name="connsiteX8" fmla="*/ 2141722 w 4606636"/>
              <a:gd name="connsiteY8" fmla="*/ 1809637 h 6849340"/>
              <a:gd name="connsiteX9" fmla="*/ 2034098 w 4606636"/>
              <a:gd name="connsiteY9" fmla="*/ 1826549 h 6849340"/>
              <a:gd name="connsiteX10" fmla="*/ 2034098 w 4606636"/>
              <a:gd name="connsiteY10" fmla="*/ 415126 h 6849340"/>
              <a:gd name="connsiteX11" fmla="*/ 1618982 w 4606636"/>
              <a:gd name="connsiteY11" fmla="*/ 0 h 6849340"/>
              <a:gd name="connsiteX12" fmla="*/ 1269968 w 4606636"/>
              <a:gd name="connsiteY12" fmla="*/ 0 h 6849340"/>
              <a:gd name="connsiteX13" fmla="*/ 854843 w 4606636"/>
              <a:gd name="connsiteY13" fmla="*/ 415126 h 6849340"/>
              <a:gd name="connsiteX14" fmla="*/ 854843 w 4606636"/>
              <a:gd name="connsiteY14" fmla="*/ 1045499 h 6849340"/>
              <a:gd name="connsiteX15" fmla="*/ 854843 w 4606636"/>
              <a:gd name="connsiteY15" fmla="*/ 1087010 h 6849340"/>
              <a:gd name="connsiteX16" fmla="*/ 854843 w 4606636"/>
              <a:gd name="connsiteY16" fmla="*/ 2283186 h 6849340"/>
              <a:gd name="connsiteX17" fmla="*/ 747219 w 4606636"/>
              <a:gd name="connsiteY17" fmla="*/ 2191703 h 6849340"/>
              <a:gd name="connsiteX18" fmla="*/ 730308 w 4606636"/>
              <a:gd name="connsiteY18" fmla="*/ 2174791 h 6849340"/>
              <a:gd name="connsiteX19" fmla="*/ 705707 w 4606636"/>
              <a:gd name="connsiteY19" fmla="*/ 2157880 h 6849340"/>
              <a:gd name="connsiteX20" fmla="*/ 672655 w 4606636"/>
              <a:gd name="connsiteY20" fmla="*/ 2140969 h 6849340"/>
              <a:gd name="connsiteX21" fmla="*/ 672655 w 4606636"/>
              <a:gd name="connsiteY21" fmla="*/ 2140969 h 6849340"/>
              <a:gd name="connsiteX22" fmla="*/ 672655 w 4606636"/>
              <a:gd name="connsiteY22" fmla="*/ 2140969 h 6849340"/>
              <a:gd name="connsiteX23" fmla="*/ 207567 w 4606636"/>
              <a:gd name="connsiteY23" fmla="*/ 2007974 h 6849340"/>
              <a:gd name="connsiteX24" fmla="*/ 132995 w 4606636"/>
              <a:gd name="connsiteY24" fmla="*/ 2007974 h 6849340"/>
              <a:gd name="connsiteX25" fmla="*/ 0 w 4606636"/>
              <a:gd name="connsiteY25" fmla="*/ 2157110 h 6849340"/>
              <a:gd name="connsiteX26" fmla="*/ 0 w 4606636"/>
              <a:gd name="connsiteY26" fmla="*/ 4506399 h 6849340"/>
              <a:gd name="connsiteX27" fmla="*/ 0 w 4606636"/>
              <a:gd name="connsiteY27" fmla="*/ 4531000 h 6849340"/>
              <a:gd name="connsiteX28" fmla="*/ 0 w 4606636"/>
              <a:gd name="connsiteY28" fmla="*/ 4555600 h 6849340"/>
              <a:gd name="connsiteX29" fmla="*/ 2300097 w 4606636"/>
              <a:gd name="connsiteY29" fmla="*/ 6855697 h 6849340"/>
              <a:gd name="connsiteX30" fmla="*/ 4600194 w 4606636"/>
              <a:gd name="connsiteY30" fmla="*/ 4697055 h 6849340"/>
              <a:gd name="connsiteX31" fmla="*/ 4608654 w 4606636"/>
              <a:gd name="connsiteY31" fmla="*/ 4655543 h 6849340"/>
              <a:gd name="connsiteX32" fmla="*/ 4608654 w 4606636"/>
              <a:gd name="connsiteY32" fmla="*/ 3428619 h 6849340"/>
              <a:gd name="connsiteX33" fmla="*/ 4608654 w 4606636"/>
              <a:gd name="connsiteY33" fmla="*/ 3387107 h 6849340"/>
              <a:gd name="connsiteX34" fmla="*/ 4608654 w 4606636"/>
              <a:gd name="connsiteY34" fmla="*/ 2755964 h 6849340"/>
              <a:gd name="connsiteX35" fmla="*/ 4218883 w 4606636"/>
              <a:gd name="connsiteY35" fmla="*/ 2340838 h 6849340"/>
              <a:gd name="connsiteX36" fmla="*/ 4327277 w 4606636"/>
              <a:gd name="connsiteY36" fmla="*/ 3404019 h 6849340"/>
              <a:gd name="connsiteX37" fmla="*/ 4327277 w 4606636"/>
              <a:gd name="connsiteY37" fmla="*/ 3420930 h 6849340"/>
              <a:gd name="connsiteX38" fmla="*/ 4327277 w 4606636"/>
              <a:gd name="connsiteY38" fmla="*/ 4633246 h 6849340"/>
              <a:gd name="connsiteX39" fmla="*/ 4327277 w 4606636"/>
              <a:gd name="connsiteY39" fmla="*/ 4657846 h 6849340"/>
              <a:gd name="connsiteX40" fmla="*/ 2334681 w 4606636"/>
              <a:gd name="connsiteY40" fmla="*/ 6550507 h 6849340"/>
              <a:gd name="connsiteX41" fmla="*/ 342086 w 4606636"/>
              <a:gd name="connsiteY41" fmla="*/ 4557912 h 6849340"/>
              <a:gd name="connsiteX42" fmla="*/ 342086 w 4606636"/>
              <a:gd name="connsiteY42" fmla="*/ 4533311 h 6849340"/>
              <a:gd name="connsiteX43" fmla="*/ 342086 w 4606636"/>
              <a:gd name="connsiteY43" fmla="*/ 4516400 h 6849340"/>
              <a:gd name="connsiteX44" fmla="*/ 342086 w 4606636"/>
              <a:gd name="connsiteY44" fmla="*/ 2324698 h 6849340"/>
              <a:gd name="connsiteX45" fmla="*/ 541193 w 4606636"/>
              <a:gd name="connsiteY45" fmla="*/ 2399270 h 6849340"/>
              <a:gd name="connsiteX46" fmla="*/ 549653 w 4606636"/>
              <a:gd name="connsiteY46" fmla="*/ 2407730 h 6849340"/>
              <a:gd name="connsiteX47" fmla="*/ 549653 w 4606636"/>
              <a:gd name="connsiteY47" fmla="*/ 2407730 h 6849340"/>
              <a:gd name="connsiteX48" fmla="*/ 599625 w 4606636"/>
              <a:gd name="connsiteY48" fmla="*/ 2440790 h 6849340"/>
              <a:gd name="connsiteX49" fmla="*/ 881755 w 4606636"/>
              <a:gd name="connsiteY49" fmla="*/ 2847456 h 6849340"/>
              <a:gd name="connsiteX50" fmla="*/ 881755 w 4606636"/>
              <a:gd name="connsiteY50" fmla="*/ 2855915 h 6849340"/>
              <a:gd name="connsiteX51" fmla="*/ 881755 w 4606636"/>
              <a:gd name="connsiteY51" fmla="*/ 4009809 h 6849340"/>
              <a:gd name="connsiteX52" fmla="*/ 1030891 w 4606636"/>
              <a:gd name="connsiteY52" fmla="*/ 4158944 h 6849340"/>
              <a:gd name="connsiteX53" fmla="*/ 1180026 w 4606636"/>
              <a:gd name="connsiteY53" fmla="*/ 4009809 h 6849340"/>
              <a:gd name="connsiteX54" fmla="*/ 1180026 w 4606636"/>
              <a:gd name="connsiteY54" fmla="*/ 2864358 h 6849340"/>
              <a:gd name="connsiteX55" fmla="*/ 1180026 w 4606636"/>
              <a:gd name="connsiteY55" fmla="*/ 2831306 h 6849340"/>
              <a:gd name="connsiteX56" fmla="*/ 1180026 w 4606636"/>
              <a:gd name="connsiteY56" fmla="*/ 1079321 h 6849340"/>
              <a:gd name="connsiteX57" fmla="*/ 1180026 w 4606636"/>
              <a:gd name="connsiteY57" fmla="*/ 1062410 h 6849340"/>
              <a:gd name="connsiteX58" fmla="*/ 1180026 w 4606636"/>
              <a:gd name="connsiteY58" fmla="*/ 1053950 h 6849340"/>
              <a:gd name="connsiteX59" fmla="*/ 1180026 w 4606636"/>
              <a:gd name="connsiteY59" fmla="*/ 422815 h 6849340"/>
              <a:gd name="connsiteX60" fmla="*/ 1287650 w 4606636"/>
              <a:gd name="connsiteY60" fmla="*/ 315191 h 6849340"/>
              <a:gd name="connsiteX61" fmla="*/ 1636664 w 4606636"/>
              <a:gd name="connsiteY61" fmla="*/ 315191 h 6849340"/>
              <a:gd name="connsiteX62" fmla="*/ 1744287 w 4606636"/>
              <a:gd name="connsiteY62" fmla="*/ 422815 h 6849340"/>
              <a:gd name="connsiteX63" fmla="*/ 1744287 w 4606636"/>
              <a:gd name="connsiteY63" fmla="*/ 2141731 h 6849340"/>
              <a:gd name="connsiteX64" fmla="*/ 1744287 w 4606636"/>
              <a:gd name="connsiteY64" fmla="*/ 2241666 h 6849340"/>
              <a:gd name="connsiteX65" fmla="*/ 1744287 w 4606636"/>
              <a:gd name="connsiteY65" fmla="*/ 3470131 h 6849340"/>
              <a:gd name="connsiteX66" fmla="*/ 1893423 w 4606636"/>
              <a:gd name="connsiteY66" fmla="*/ 3619266 h 6849340"/>
              <a:gd name="connsiteX67" fmla="*/ 2042558 w 4606636"/>
              <a:gd name="connsiteY67" fmla="*/ 3470131 h 6849340"/>
              <a:gd name="connsiteX68" fmla="*/ 2042558 w 4606636"/>
              <a:gd name="connsiteY68" fmla="*/ 2233214 h 6849340"/>
              <a:gd name="connsiteX69" fmla="*/ 2150182 w 4606636"/>
              <a:gd name="connsiteY69" fmla="*/ 2125591 h 6849340"/>
              <a:gd name="connsiteX70" fmla="*/ 2499195 w 4606636"/>
              <a:gd name="connsiteY70" fmla="*/ 2125591 h 6849340"/>
              <a:gd name="connsiteX71" fmla="*/ 2599130 w 4606636"/>
              <a:gd name="connsiteY71" fmla="*/ 2217074 h 6849340"/>
              <a:gd name="connsiteX72" fmla="*/ 2599130 w 4606636"/>
              <a:gd name="connsiteY72" fmla="*/ 3462442 h 6849340"/>
              <a:gd name="connsiteX73" fmla="*/ 2748266 w 4606636"/>
              <a:gd name="connsiteY73" fmla="*/ 3611577 h 6849340"/>
              <a:gd name="connsiteX74" fmla="*/ 2897401 w 4606636"/>
              <a:gd name="connsiteY74" fmla="*/ 3462442 h 6849340"/>
              <a:gd name="connsiteX75" fmla="*/ 2897401 w 4606636"/>
              <a:gd name="connsiteY75" fmla="*/ 2257815 h 6849340"/>
              <a:gd name="connsiteX76" fmla="*/ 2897401 w 4606636"/>
              <a:gd name="connsiteY76" fmla="*/ 2224754 h 6849340"/>
              <a:gd name="connsiteX77" fmla="*/ 3005025 w 4606636"/>
              <a:gd name="connsiteY77" fmla="*/ 2117131 h 6849340"/>
              <a:gd name="connsiteX78" fmla="*/ 3354038 w 4606636"/>
              <a:gd name="connsiteY78" fmla="*/ 2117131 h 6849340"/>
              <a:gd name="connsiteX79" fmla="*/ 3453973 w 4606636"/>
              <a:gd name="connsiteY79" fmla="*/ 2200154 h 6849340"/>
              <a:gd name="connsiteX80" fmla="*/ 3453973 w 4606636"/>
              <a:gd name="connsiteY80" fmla="*/ 2217065 h 6849340"/>
              <a:gd name="connsiteX81" fmla="*/ 3453973 w 4606636"/>
              <a:gd name="connsiteY81" fmla="*/ 3636177 h 6849340"/>
              <a:gd name="connsiteX82" fmla="*/ 3603108 w 4606636"/>
              <a:gd name="connsiteY82" fmla="*/ 3785313 h 6849340"/>
              <a:gd name="connsiteX83" fmla="*/ 3752244 w 4606636"/>
              <a:gd name="connsiteY83" fmla="*/ 3636177 h 6849340"/>
              <a:gd name="connsiteX84" fmla="*/ 3752244 w 4606636"/>
              <a:gd name="connsiteY84" fmla="*/ 2739814 h 6849340"/>
              <a:gd name="connsiteX85" fmla="*/ 3752244 w 4606636"/>
              <a:gd name="connsiteY85" fmla="*/ 2731355 h 6849340"/>
              <a:gd name="connsiteX86" fmla="*/ 3852179 w 4606636"/>
              <a:gd name="connsiteY86" fmla="*/ 2648331 h 6849340"/>
              <a:gd name="connsiteX87" fmla="*/ 4201192 w 4606636"/>
              <a:gd name="connsiteY87" fmla="*/ 2648331 h 6849340"/>
              <a:gd name="connsiteX88" fmla="*/ 4308816 w 4606636"/>
              <a:gd name="connsiteY88" fmla="*/ 2755955 h 6849340"/>
              <a:gd name="connsiteX89" fmla="*/ 4308816 w 4606636"/>
              <a:gd name="connsiteY89" fmla="*/ 3387099 h 6849340"/>
              <a:gd name="connsiteX90" fmla="*/ 4457951 w 4606636"/>
              <a:gd name="connsiteY90" fmla="*/ 3404010 h 6849340"/>
              <a:gd name="connsiteX91" fmla="*/ 4327277 w 4606636"/>
              <a:gd name="connsiteY91" fmla="*/ 3404010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4606636" h="6849340">
                <a:moveTo>
                  <a:pt x="4218883" y="2340838"/>
                </a:moveTo>
                <a:lnTo>
                  <a:pt x="3869869" y="2340838"/>
                </a:lnTo>
                <a:cubicBezTo>
                  <a:pt x="3836809" y="2340838"/>
                  <a:pt x="3803757" y="2349298"/>
                  <a:pt x="3769934" y="2349298"/>
                </a:cubicBezTo>
                <a:lnTo>
                  <a:pt x="3769934" y="2224763"/>
                </a:lnTo>
                <a:cubicBezTo>
                  <a:pt x="3769934" y="2000285"/>
                  <a:pt x="3586968" y="1809637"/>
                  <a:pt x="3354809" y="1809637"/>
                </a:cubicBezTo>
                <a:lnTo>
                  <a:pt x="3005796" y="1809637"/>
                </a:lnTo>
                <a:cubicBezTo>
                  <a:pt x="2905861" y="1809637"/>
                  <a:pt x="2815148" y="1842698"/>
                  <a:pt x="2748266" y="1901121"/>
                </a:cubicBezTo>
                <a:cubicBezTo>
                  <a:pt x="2673694" y="1842698"/>
                  <a:pt x="2590670" y="1809637"/>
                  <a:pt x="2490736" y="1809637"/>
                </a:cubicBezTo>
                <a:lnTo>
                  <a:pt x="2141722" y="1809637"/>
                </a:lnTo>
                <a:cubicBezTo>
                  <a:pt x="2108662" y="1809637"/>
                  <a:pt x="2067150" y="1818097"/>
                  <a:pt x="2034098" y="1826549"/>
                </a:cubicBezTo>
                <a:lnTo>
                  <a:pt x="2034098" y="415126"/>
                </a:lnTo>
                <a:cubicBezTo>
                  <a:pt x="2034107" y="190647"/>
                  <a:pt x="1851140" y="0"/>
                  <a:pt x="1618982" y="0"/>
                </a:cubicBezTo>
                <a:lnTo>
                  <a:pt x="1269968" y="0"/>
                </a:lnTo>
                <a:cubicBezTo>
                  <a:pt x="1045490" y="0"/>
                  <a:pt x="854843" y="182958"/>
                  <a:pt x="854843" y="415126"/>
                </a:cubicBezTo>
                <a:lnTo>
                  <a:pt x="854843" y="1045499"/>
                </a:lnTo>
                <a:cubicBezTo>
                  <a:pt x="854843" y="1062410"/>
                  <a:pt x="854843" y="1070099"/>
                  <a:pt x="854843" y="1087010"/>
                </a:cubicBezTo>
                <a:lnTo>
                  <a:pt x="854843" y="2283186"/>
                </a:lnTo>
                <a:cubicBezTo>
                  <a:pt x="813331" y="2250125"/>
                  <a:pt x="780271" y="2217074"/>
                  <a:pt x="747219" y="2191703"/>
                </a:cubicBezTo>
                <a:lnTo>
                  <a:pt x="730308" y="2174791"/>
                </a:lnTo>
                <a:cubicBezTo>
                  <a:pt x="721848" y="2166331"/>
                  <a:pt x="713396" y="2157880"/>
                  <a:pt x="705707" y="2157880"/>
                </a:cubicBezTo>
                <a:cubicBezTo>
                  <a:pt x="688796" y="2149420"/>
                  <a:pt x="681107" y="2140969"/>
                  <a:pt x="672655" y="2140969"/>
                </a:cubicBezTo>
                <a:lnTo>
                  <a:pt x="672655" y="2140969"/>
                </a:lnTo>
                <a:lnTo>
                  <a:pt x="672655" y="2140969"/>
                </a:lnTo>
                <a:cubicBezTo>
                  <a:pt x="489698" y="2024885"/>
                  <a:pt x="299042" y="2007974"/>
                  <a:pt x="207567" y="2007974"/>
                </a:cubicBezTo>
                <a:cubicBezTo>
                  <a:pt x="166055" y="2007974"/>
                  <a:pt x="132995" y="2007974"/>
                  <a:pt x="132995" y="2007974"/>
                </a:cubicBezTo>
                <a:cubicBezTo>
                  <a:pt x="58423" y="2016434"/>
                  <a:pt x="0" y="2082546"/>
                  <a:pt x="0" y="2157110"/>
                </a:cubicBezTo>
                <a:lnTo>
                  <a:pt x="0" y="4506399"/>
                </a:lnTo>
                <a:cubicBezTo>
                  <a:pt x="0" y="4514859"/>
                  <a:pt x="0" y="4523310"/>
                  <a:pt x="0" y="4531000"/>
                </a:cubicBezTo>
                <a:lnTo>
                  <a:pt x="0" y="4555600"/>
                </a:lnTo>
                <a:cubicBezTo>
                  <a:pt x="0" y="5825568"/>
                  <a:pt x="1029349" y="6855697"/>
                  <a:pt x="2300097" y="6855697"/>
                </a:cubicBezTo>
                <a:cubicBezTo>
                  <a:pt x="3520873" y="6855697"/>
                  <a:pt x="4524851" y="5909371"/>
                  <a:pt x="4600194" y="4697055"/>
                </a:cubicBezTo>
                <a:cubicBezTo>
                  <a:pt x="4600194" y="4688595"/>
                  <a:pt x="4608654" y="4672454"/>
                  <a:pt x="4608654" y="4655543"/>
                </a:cubicBezTo>
                <a:lnTo>
                  <a:pt x="4608654" y="3428619"/>
                </a:lnTo>
                <a:cubicBezTo>
                  <a:pt x="4608654" y="3411708"/>
                  <a:pt x="4608654" y="3404019"/>
                  <a:pt x="4608654" y="3387107"/>
                </a:cubicBezTo>
                <a:lnTo>
                  <a:pt x="4608654" y="2755964"/>
                </a:lnTo>
                <a:cubicBezTo>
                  <a:pt x="4634008" y="2532256"/>
                  <a:pt x="4451812" y="2340838"/>
                  <a:pt x="4218883" y="2340838"/>
                </a:cubicBezTo>
                <a:close/>
                <a:moveTo>
                  <a:pt x="4327277" y="3404019"/>
                </a:moveTo>
                <a:cubicBezTo>
                  <a:pt x="4327277" y="3412479"/>
                  <a:pt x="4327277" y="3412479"/>
                  <a:pt x="4327277" y="3420930"/>
                </a:cubicBezTo>
                <a:lnTo>
                  <a:pt x="4327277" y="4633246"/>
                </a:lnTo>
                <a:cubicBezTo>
                  <a:pt x="4327277" y="4641706"/>
                  <a:pt x="4327277" y="4650157"/>
                  <a:pt x="4327277" y="4657846"/>
                </a:cubicBezTo>
                <a:cubicBezTo>
                  <a:pt x="4277305" y="5720256"/>
                  <a:pt x="3397091" y="6550507"/>
                  <a:pt x="2334681" y="6550507"/>
                </a:cubicBezTo>
                <a:cubicBezTo>
                  <a:pt x="1230760" y="6550507"/>
                  <a:pt x="342086" y="5654144"/>
                  <a:pt x="342086" y="4557912"/>
                </a:cubicBezTo>
                <a:lnTo>
                  <a:pt x="342086" y="4533311"/>
                </a:lnTo>
                <a:lnTo>
                  <a:pt x="342086" y="4516400"/>
                </a:lnTo>
                <a:lnTo>
                  <a:pt x="342086" y="2324698"/>
                </a:lnTo>
                <a:cubicBezTo>
                  <a:pt x="400509" y="2333158"/>
                  <a:pt x="475081" y="2357758"/>
                  <a:pt x="541193" y="2399270"/>
                </a:cubicBezTo>
                <a:cubicBezTo>
                  <a:pt x="541193" y="2399270"/>
                  <a:pt x="549653" y="2399270"/>
                  <a:pt x="549653" y="2407730"/>
                </a:cubicBezTo>
                <a:lnTo>
                  <a:pt x="549653" y="2407730"/>
                </a:lnTo>
                <a:lnTo>
                  <a:pt x="599625" y="2440790"/>
                </a:lnTo>
                <a:cubicBezTo>
                  <a:pt x="691108" y="2506902"/>
                  <a:pt x="840244" y="2648349"/>
                  <a:pt x="881755" y="2847456"/>
                </a:cubicBezTo>
                <a:cubicBezTo>
                  <a:pt x="881755" y="2847456"/>
                  <a:pt x="881755" y="2847456"/>
                  <a:pt x="881755" y="2855915"/>
                </a:cubicBezTo>
                <a:lnTo>
                  <a:pt x="881755" y="4009809"/>
                </a:lnTo>
                <a:cubicBezTo>
                  <a:pt x="881755" y="4092832"/>
                  <a:pt x="947867" y="4158944"/>
                  <a:pt x="1030891" y="4158944"/>
                </a:cubicBezTo>
                <a:cubicBezTo>
                  <a:pt x="1113914" y="4158944"/>
                  <a:pt x="1180026" y="4092832"/>
                  <a:pt x="1180026" y="4009809"/>
                </a:cubicBezTo>
                <a:lnTo>
                  <a:pt x="1180026" y="2864358"/>
                </a:lnTo>
                <a:cubicBezTo>
                  <a:pt x="1180026" y="2855898"/>
                  <a:pt x="1180026" y="2847447"/>
                  <a:pt x="1180026" y="2831306"/>
                </a:cubicBezTo>
                <a:lnTo>
                  <a:pt x="1180026" y="1079321"/>
                </a:lnTo>
                <a:cubicBezTo>
                  <a:pt x="1180026" y="1070861"/>
                  <a:pt x="1180026" y="1070861"/>
                  <a:pt x="1180026" y="1062410"/>
                </a:cubicBezTo>
                <a:lnTo>
                  <a:pt x="1180026" y="1053950"/>
                </a:lnTo>
                <a:lnTo>
                  <a:pt x="1180026" y="422815"/>
                </a:lnTo>
                <a:cubicBezTo>
                  <a:pt x="1180026" y="364392"/>
                  <a:pt x="1229998" y="315191"/>
                  <a:pt x="1287650" y="315191"/>
                </a:cubicBezTo>
                <a:lnTo>
                  <a:pt x="1636664" y="315191"/>
                </a:lnTo>
                <a:cubicBezTo>
                  <a:pt x="1695086" y="315191"/>
                  <a:pt x="1744287" y="365163"/>
                  <a:pt x="1744287" y="422815"/>
                </a:cubicBezTo>
                <a:lnTo>
                  <a:pt x="1744287" y="2141731"/>
                </a:lnTo>
                <a:lnTo>
                  <a:pt x="1744287" y="2241666"/>
                </a:lnTo>
                <a:lnTo>
                  <a:pt x="1744287" y="3470131"/>
                </a:lnTo>
                <a:cubicBezTo>
                  <a:pt x="1744287" y="3553154"/>
                  <a:pt x="1810399" y="3619266"/>
                  <a:pt x="1893423" y="3619266"/>
                </a:cubicBezTo>
                <a:cubicBezTo>
                  <a:pt x="1976446" y="3619266"/>
                  <a:pt x="2042558" y="3553154"/>
                  <a:pt x="2042558" y="3470131"/>
                </a:cubicBezTo>
                <a:lnTo>
                  <a:pt x="2042558" y="2233214"/>
                </a:lnTo>
                <a:cubicBezTo>
                  <a:pt x="2042558" y="2174791"/>
                  <a:pt x="2092530" y="2125591"/>
                  <a:pt x="2150182" y="2125591"/>
                </a:cubicBezTo>
                <a:lnTo>
                  <a:pt x="2499195" y="2125591"/>
                </a:lnTo>
                <a:cubicBezTo>
                  <a:pt x="2549167" y="2125591"/>
                  <a:pt x="2590679" y="2167102"/>
                  <a:pt x="2599130" y="2217074"/>
                </a:cubicBezTo>
                <a:lnTo>
                  <a:pt x="2599130" y="3462442"/>
                </a:lnTo>
                <a:cubicBezTo>
                  <a:pt x="2599130" y="3545465"/>
                  <a:pt x="2665242" y="3611577"/>
                  <a:pt x="2748266" y="3611577"/>
                </a:cubicBezTo>
                <a:cubicBezTo>
                  <a:pt x="2831289" y="3611577"/>
                  <a:pt x="2897401" y="3545465"/>
                  <a:pt x="2897401" y="3462442"/>
                </a:cubicBezTo>
                <a:lnTo>
                  <a:pt x="2897401" y="2257815"/>
                </a:lnTo>
                <a:cubicBezTo>
                  <a:pt x="2897401" y="2249355"/>
                  <a:pt x="2897401" y="2240904"/>
                  <a:pt x="2897401" y="2224754"/>
                </a:cubicBezTo>
                <a:cubicBezTo>
                  <a:pt x="2897401" y="2166331"/>
                  <a:pt x="2947373" y="2117131"/>
                  <a:pt x="3005025" y="2117131"/>
                </a:cubicBezTo>
                <a:lnTo>
                  <a:pt x="3354038" y="2117131"/>
                </a:lnTo>
                <a:cubicBezTo>
                  <a:pt x="3404010" y="2117131"/>
                  <a:pt x="3445522" y="2150182"/>
                  <a:pt x="3453973" y="2200154"/>
                </a:cubicBezTo>
                <a:cubicBezTo>
                  <a:pt x="3453973" y="2208614"/>
                  <a:pt x="3453973" y="2217065"/>
                  <a:pt x="3453973" y="2217065"/>
                </a:cubicBezTo>
                <a:lnTo>
                  <a:pt x="3453973" y="3636177"/>
                </a:lnTo>
                <a:cubicBezTo>
                  <a:pt x="3453973" y="3719201"/>
                  <a:pt x="3520085" y="3785313"/>
                  <a:pt x="3603108" y="3785313"/>
                </a:cubicBezTo>
                <a:cubicBezTo>
                  <a:pt x="3686132" y="3785313"/>
                  <a:pt x="3752244" y="3719201"/>
                  <a:pt x="3752244" y="3636177"/>
                </a:cubicBezTo>
                <a:lnTo>
                  <a:pt x="3752244" y="2739814"/>
                </a:lnTo>
                <a:lnTo>
                  <a:pt x="3752244" y="2731355"/>
                </a:lnTo>
                <a:cubicBezTo>
                  <a:pt x="3760704" y="2681383"/>
                  <a:pt x="3802216" y="2648331"/>
                  <a:pt x="3852179" y="2648331"/>
                </a:cubicBezTo>
                <a:lnTo>
                  <a:pt x="4201192" y="2648331"/>
                </a:lnTo>
                <a:cubicBezTo>
                  <a:pt x="4259615" y="2648331"/>
                  <a:pt x="4308816" y="2698303"/>
                  <a:pt x="4308816" y="2755955"/>
                </a:cubicBezTo>
                <a:lnTo>
                  <a:pt x="4308816" y="3387099"/>
                </a:lnTo>
                <a:lnTo>
                  <a:pt x="4457951" y="3404010"/>
                </a:lnTo>
                <a:lnTo>
                  <a:pt x="4327277" y="3404010"/>
                </a:ln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6" name="Forma libre 322">
            <a:extLst>
              <a:ext uri="{FF2B5EF4-FFF2-40B4-BE49-F238E27FC236}">
                <a16:creationId xmlns:a16="http://schemas.microsoft.com/office/drawing/2014/main" xmlns="" id="{BE2A4317-DC3D-B048-A880-799F46505C68}"/>
              </a:ext>
            </a:extLst>
          </p:cNvPr>
          <p:cNvSpPr/>
          <p:nvPr/>
        </p:nvSpPr>
        <p:spPr>
          <a:xfrm>
            <a:off x="4276895" y="4725413"/>
            <a:ext cx="301831" cy="211578"/>
          </a:xfrm>
          <a:custGeom>
            <a:avLst/>
            <a:gdLst>
              <a:gd name="connsiteX0" fmla="*/ 5830005 w 5829300"/>
              <a:gd name="connsiteY0" fmla="*/ 390287 h 4086225"/>
              <a:gd name="connsiteX1" fmla="*/ 5830005 w 5829300"/>
              <a:gd name="connsiteY1" fmla="*/ 367617 h 4086225"/>
              <a:gd name="connsiteX2" fmla="*/ 5723049 w 5829300"/>
              <a:gd name="connsiteY2" fmla="*/ 115462 h 4086225"/>
              <a:gd name="connsiteX3" fmla="*/ 5715257 w 5829300"/>
              <a:gd name="connsiteY3" fmla="*/ 107671 h 4086225"/>
              <a:gd name="connsiteX4" fmla="*/ 5707466 w 5829300"/>
              <a:gd name="connsiteY4" fmla="*/ 99879 h 4086225"/>
              <a:gd name="connsiteX5" fmla="*/ 5661431 w 5829300"/>
              <a:gd name="connsiteY5" fmla="*/ 61627 h 4086225"/>
              <a:gd name="connsiteX6" fmla="*/ 5645849 w 5829300"/>
              <a:gd name="connsiteY6" fmla="*/ 53835 h 4086225"/>
              <a:gd name="connsiteX7" fmla="*/ 5592014 w 5829300"/>
              <a:gd name="connsiteY7" fmla="*/ 31166 h 4086225"/>
              <a:gd name="connsiteX8" fmla="*/ 5576431 w 5829300"/>
              <a:gd name="connsiteY8" fmla="*/ 23374 h 4086225"/>
              <a:gd name="connsiteX9" fmla="*/ 5507727 w 5829300"/>
              <a:gd name="connsiteY9" fmla="*/ 7791 h 4086225"/>
              <a:gd name="connsiteX10" fmla="*/ 5492144 w 5829300"/>
              <a:gd name="connsiteY10" fmla="*/ 7791 h 4086225"/>
              <a:gd name="connsiteX11" fmla="*/ 5407857 w 5829300"/>
              <a:gd name="connsiteY11" fmla="*/ 0 h 4086225"/>
              <a:gd name="connsiteX12" fmla="*/ 413642 w 5829300"/>
              <a:gd name="connsiteY12" fmla="*/ 0 h 4086225"/>
              <a:gd name="connsiteX13" fmla="*/ 321564 w 5829300"/>
              <a:gd name="connsiteY13" fmla="*/ 7791 h 4086225"/>
              <a:gd name="connsiteX14" fmla="*/ 298895 w 5829300"/>
              <a:gd name="connsiteY14" fmla="*/ 15583 h 4086225"/>
              <a:gd name="connsiteX15" fmla="*/ 237982 w 5829300"/>
              <a:gd name="connsiteY15" fmla="*/ 31166 h 4086225"/>
              <a:gd name="connsiteX16" fmla="*/ 222399 w 5829300"/>
              <a:gd name="connsiteY16" fmla="*/ 38957 h 4086225"/>
              <a:gd name="connsiteX17" fmla="*/ 168564 w 5829300"/>
              <a:gd name="connsiteY17" fmla="*/ 61627 h 4086225"/>
              <a:gd name="connsiteX18" fmla="*/ 160772 w 5829300"/>
              <a:gd name="connsiteY18" fmla="*/ 69418 h 4086225"/>
              <a:gd name="connsiteX19" fmla="*/ 114729 w 5829300"/>
              <a:gd name="connsiteY19" fmla="*/ 99879 h 4086225"/>
              <a:gd name="connsiteX20" fmla="*/ 92059 w 5829300"/>
              <a:gd name="connsiteY20" fmla="*/ 122549 h 4086225"/>
              <a:gd name="connsiteX21" fmla="*/ 0 w 5829300"/>
              <a:gd name="connsiteY21" fmla="*/ 329375 h 4086225"/>
              <a:gd name="connsiteX22" fmla="*/ 0 w 5829300"/>
              <a:gd name="connsiteY22" fmla="*/ 344957 h 4086225"/>
              <a:gd name="connsiteX23" fmla="*/ 0 w 5829300"/>
              <a:gd name="connsiteY23" fmla="*/ 3749040 h 4086225"/>
              <a:gd name="connsiteX24" fmla="*/ 0 w 5829300"/>
              <a:gd name="connsiteY24" fmla="*/ 3764623 h 4086225"/>
              <a:gd name="connsiteX25" fmla="*/ 145199 w 5829300"/>
              <a:gd name="connsiteY25" fmla="*/ 4016778 h 4086225"/>
              <a:gd name="connsiteX26" fmla="*/ 397354 w 5829300"/>
              <a:gd name="connsiteY26" fmla="*/ 4093274 h 4086225"/>
              <a:gd name="connsiteX27" fmla="*/ 5423440 w 5829300"/>
              <a:gd name="connsiteY27" fmla="*/ 4093274 h 4086225"/>
              <a:gd name="connsiteX28" fmla="*/ 5431232 w 5829300"/>
              <a:gd name="connsiteY28" fmla="*/ 4093274 h 4086225"/>
              <a:gd name="connsiteX29" fmla="*/ 5431232 w 5829300"/>
              <a:gd name="connsiteY29" fmla="*/ 4093274 h 4086225"/>
              <a:gd name="connsiteX30" fmla="*/ 5507727 w 5829300"/>
              <a:gd name="connsiteY30" fmla="*/ 4085482 h 4086225"/>
              <a:gd name="connsiteX31" fmla="*/ 5523310 w 5829300"/>
              <a:gd name="connsiteY31" fmla="*/ 4085482 h 4086225"/>
              <a:gd name="connsiteX32" fmla="*/ 5584222 w 5829300"/>
              <a:gd name="connsiteY32" fmla="*/ 4069900 h 4086225"/>
              <a:gd name="connsiteX33" fmla="*/ 5592014 w 5829300"/>
              <a:gd name="connsiteY33" fmla="*/ 4069900 h 4086225"/>
              <a:gd name="connsiteX34" fmla="*/ 5829291 w 5829300"/>
              <a:gd name="connsiteY34" fmla="*/ 3725666 h 4086225"/>
              <a:gd name="connsiteX35" fmla="*/ 5829291 w 5829300"/>
              <a:gd name="connsiteY35" fmla="*/ 3702996 h 4086225"/>
              <a:gd name="connsiteX36" fmla="*/ 5829291 w 5829300"/>
              <a:gd name="connsiteY36" fmla="*/ 3695205 h 4086225"/>
              <a:gd name="connsiteX37" fmla="*/ 5829291 w 5829300"/>
              <a:gd name="connsiteY37" fmla="*/ 3687413 h 4086225"/>
              <a:gd name="connsiteX38" fmla="*/ 5829291 w 5829300"/>
              <a:gd name="connsiteY38" fmla="*/ 412956 h 4086225"/>
              <a:gd name="connsiteX39" fmla="*/ 5829291 w 5829300"/>
              <a:gd name="connsiteY39" fmla="*/ 397373 h 4086225"/>
              <a:gd name="connsiteX40" fmla="*/ 5830005 w 5829300"/>
              <a:gd name="connsiteY40" fmla="*/ 390287 h 4086225"/>
              <a:gd name="connsiteX41" fmla="*/ 5340573 w 5829300"/>
              <a:gd name="connsiteY41" fmla="*/ 283340 h 4086225"/>
              <a:gd name="connsiteX42" fmla="*/ 2930938 w 5829300"/>
              <a:gd name="connsiteY42" fmla="*/ 2631348 h 4086225"/>
              <a:gd name="connsiteX43" fmla="*/ 2379879 w 5829300"/>
              <a:gd name="connsiteY43" fmla="*/ 2095871 h 4086225"/>
              <a:gd name="connsiteX44" fmla="*/ 2379879 w 5829300"/>
              <a:gd name="connsiteY44" fmla="*/ 2095871 h 4086225"/>
              <a:gd name="connsiteX45" fmla="*/ 490147 w 5829300"/>
              <a:gd name="connsiteY45" fmla="*/ 282626 h 4086225"/>
              <a:gd name="connsiteX46" fmla="*/ 5340573 w 5829300"/>
              <a:gd name="connsiteY46" fmla="*/ 282626 h 4086225"/>
              <a:gd name="connsiteX47" fmla="*/ 5340573 w 5829300"/>
              <a:gd name="connsiteY47" fmla="*/ 283340 h 4086225"/>
              <a:gd name="connsiteX48" fmla="*/ 284026 w 5829300"/>
              <a:gd name="connsiteY48" fmla="*/ 3656962 h 4086225"/>
              <a:gd name="connsiteX49" fmla="*/ 284026 w 5829300"/>
              <a:gd name="connsiteY49" fmla="*/ 474583 h 4086225"/>
              <a:gd name="connsiteX50" fmla="*/ 2066106 w 5829300"/>
              <a:gd name="connsiteY50" fmla="*/ 2187959 h 4086225"/>
              <a:gd name="connsiteX51" fmla="*/ 284026 w 5829300"/>
              <a:gd name="connsiteY51" fmla="*/ 3656962 h 4086225"/>
              <a:gd name="connsiteX52" fmla="*/ 2854442 w 5829300"/>
              <a:gd name="connsiteY52" fmla="*/ 3817039 h 4086225"/>
              <a:gd name="connsiteX53" fmla="*/ 536181 w 5829300"/>
              <a:gd name="connsiteY53" fmla="*/ 3817039 h 4086225"/>
              <a:gd name="connsiteX54" fmla="*/ 2272932 w 5829300"/>
              <a:gd name="connsiteY54" fmla="*/ 2394071 h 4086225"/>
              <a:gd name="connsiteX55" fmla="*/ 2831068 w 5829300"/>
              <a:gd name="connsiteY55" fmla="*/ 2937339 h 4086225"/>
              <a:gd name="connsiteX56" fmla="*/ 2899772 w 5829300"/>
              <a:gd name="connsiteY56" fmla="*/ 2975591 h 4086225"/>
              <a:gd name="connsiteX57" fmla="*/ 2907564 w 5829300"/>
              <a:gd name="connsiteY57" fmla="*/ 2975591 h 4086225"/>
              <a:gd name="connsiteX58" fmla="*/ 2923146 w 5829300"/>
              <a:gd name="connsiteY58" fmla="*/ 2975591 h 4086225"/>
              <a:gd name="connsiteX59" fmla="*/ 2923146 w 5829300"/>
              <a:gd name="connsiteY59" fmla="*/ 2975591 h 4086225"/>
              <a:gd name="connsiteX60" fmla="*/ 2938729 w 5829300"/>
              <a:gd name="connsiteY60" fmla="*/ 2975591 h 4086225"/>
              <a:gd name="connsiteX61" fmla="*/ 2946521 w 5829300"/>
              <a:gd name="connsiteY61" fmla="*/ 2975591 h 4086225"/>
              <a:gd name="connsiteX62" fmla="*/ 3015225 w 5829300"/>
              <a:gd name="connsiteY62" fmla="*/ 2937339 h 4086225"/>
              <a:gd name="connsiteX63" fmla="*/ 3542910 w 5829300"/>
              <a:gd name="connsiteY63" fmla="*/ 2424532 h 4086225"/>
              <a:gd name="connsiteX64" fmla="*/ 5286737 w 5829300"/>
              <a:gd name="connsiteY64" fmla="*/ 3817049 h 4086225"/>
              <a:gd name="connsiteX65" fmla="*/ 2854442 w 5829300"/>
              <a:gd name="connsiteY65" fmla="*/ 3817049 h 4086225"/>
              <a:gd name="connsiteX66" fmla="*/ 5546684 w 5829300"/>
              <a:gd name="connsiteY66" fmla="*/ 3664048 h 4086225"/>
              <a:gd name="connsiteX67" fmla="*/ 3756822 w 5829300"/>
              <a:gd name="connsiteY67" fmla="*/ 2218411 h 4086225"/>
              <a:gd name="connsiteX68" fmla="*/ 5546684 w 5829300"/>
              <a:gd name="connsiteY68" fmla="*/ 474574 h 4086225"/>
              <a:gd name="connsiteX69" fmla="*/ 5546684 w 5829300"/>
              <a:gd name="connsiteY69" fmla="*/ 3664048 h 408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5829300" h="4086225">
                <a:moveTo>
                  <a:pt x="5830005" y="390287"/>
                </a:moveTo>
                <a:lnTo>
                  <a:pt x="5830005" y="367617"/>
                </a:lnTo>
                <a:cubicBezTo>
                  <a:pt x="5830005" y="283331"/>
                  <a:pt x="5791753" y="184166"/>
                  <a:pt x="5723049" y="115462"/>
                </a:cubicBezTo>
                <a:lnTo>
                  <a:pt x="5715257" y="107671"/>
                </a:lnTo>
                <a:cubicBezTo>
                  <a:pt x="5715257" y="107671"/>
                  <a:pt x="5707466" y="107671"/>
                  <a:pt x="5707466" y="99879"/>
                </a:cubicBezTo>
                <a:cubicBezTo>
                  <a:pt x="5691883" y="84296"/>
                  <a:pt x="5677005" y="77210"/>
                  <a:pt x="5661431" y="61627"/>
                </a:cubicBezTo>
                <a:cubicBezTo>
                  <a:pt x="5653640" y="61627"/>
                  <a:pt x="5653640" y="53835"/>
                  <a:pt x="5645849" y="53835"/>
                </a:cubicBezTo>
                <a:cubicBezTo>
                  <a:pt x="5630266" y="46044"/>
                  <a:pt x="5607596" y="38252"/>
                  <a:pt x="5592014" y="31166"/>
                </a:cubicBezTo>
                <a:cubicBezTo>
                  <a:pt x="5584222" y="31166"/>
                  <a:pt x="5584222" y="23374"/>
                  <a:pt x="5576431" y="23374"/>
                </a:cubicBezTo>
                <a:cubicBezTo>
                  <a:pt x="5553761" y="15583"/>
                  <a:pt x="5530396" y="7791"/>
                  <a:pt x="5507727" y="7791"/>
                </a:cubicBezTo>
                <a:cubicBezTo>
                  <a:pt x="5499935" y="7791"/>
                  <a:pt x="5499935" y="7791"/>
                  <a:pt x="5492144" y="7791"/>
                </a:cubicBezTo>
                <a:cubicBezTo>
                  <a:pt x="5469475" y="7791"/>
                  <a:pt x="5438318" y="0"/>
                  <a:pt x="5407857" y="0"/>
                </a:cubicBezTo>
                <a:lnTo>
                  <a:pt x="413642" y="0"/>
                </a:lnTo>
                <a:cubicBezTo>
                  <a:pt x="383181" y="0"/>
                  <a:pt x="352730" y="0"/>
                  <a:pt x="321564" y="7791"/>
                </a:cubicBezTo>
                <a:cubicBezTo>
                  <a:pt x="313773" y="7791"/>
                  <a:pt x="305981" y="7791"/>
                  <a:pt x="298895" y="15583"/>
                </a:cubicBezTo>
                <a:cubicBezTo>
                  <a:pt x="276225" y="23374"/>
                  <a:pt x="252851" y="23374"/>
                  <a:pt x="237982" y="31166"/>
                </a:cubicBezTo>
                <a:cubicBezTo>
                  <a:pt x="230191" y="31166"/>
                  <a:pt x="230191" y="38957"/>
                  <a:pt x="222399" y="38957"/>
                </a:cubicBezTo>
                <a:cubicBezTo>
                  <a:pt x="206816" y="46749"/>
                  <a:pt x="184147" y="54540"/>
                  <a:pt x="168564" y="61627"/>
                </a:cubicBezTo>
                <a:lnTo>
                  <a:pt x="160772" y="69418"/>
                </a:lnTo>
                <a:cubicBezTo>
                  <a:pt x="145190" y="77210"/>
                  <a:pt x="130312" y="92088"/>
                  <a:pt x="114729" y="99879"/>
                </a:cubicBezTo>
                <a:cubicBezTo>
                  <a:pt x="106937" y="107671"/>
                  <a:pt x="99146" y="115462"/>
                  <a:pt x="92059" y="122549"/>
                </a:cubicBezTo>
                <a:cubicBezTo>
                  <a:pt x="38252" y="183471"/>
                  <a:pt x="7791" y="252879"/>
                  <a:pt x="0" y="329375"/>
                </a:cubicBezTo>
                <a:cubicBezTo>
                  <a:pt x="0" y="337166"/>
                  <a:pt x="0" y="337166"/>
                  <a:pt x="0" y="344957"/>
                </a:cubicBezTo>
                <a:lnTo>
                  <a:pt x="0" y="3749040"/>
                </a:lnTo>
                <a:cubicBezTo>
                  <a:pt x="0" y="3756832"/>
                  <a:pt x="0" y="3756832"/>
                  <a:pt x="0" y="3764623"/>
                </a:cubicBezTo>
                <a:cubicBezTo>
                  <a:pt x="15583" y="3871579"/>
                  <a:pt x="68704" y="3963657"/>
                  <a:pt x="145199" y="4016778"/>
                </a:cubicBezTo>
                <a:cubicBezTo>
                  <a:pt x="213903" y="4062813"/>
                  <a:pt x="298190" y="4093274"/>
                  <a:pt x="397354" y="4093274"/>
                </a:cubicBezTo>
                <a:lnTo>
                  <a:pt x="5423440" y="4093274"/>
                </a:lnTo>
                <a:cubicBezTo>
                  <a:pt x="5423440" y="4093274"/>
                  <a:pt x="5423440" y="4093274"/>
                  <a:pt x="5431232" y="4093274"/>
                </a:cubicBezTo>
                <a:lnTo>
                  <a:pt x="5431232" y="4093274"/>
                </a:lnTo>
                <a:cubicBezTo>
                  <a:pt x="5453901" y="4093274"/>
                  <a:pt x="5485057" y="4093274"/>
                  <a:pt x="5507727" y="4085482"/>
                </a:cubicBezTo>
                <a:cubicBezTo>
                  <a:pt x="5515518" y="4085482"/>
                  <a:pt x="5515518" y="4085482"/>
                  <a:pt x="5523310" y="4085482"/>
                </a:cubicBezTo>
                <a:cubicBezTo>
                  <a:pt x="5545979" y="4077691"/>
                  <a:pt x="5569353" y="4077691"/>
                  <a:pt x="5584222" y="4069900"/>
                </a:cubicBezTo>
                <a:lnTo>
                  <a:pt x="5592014" y="4069900"/>
                </a:lnTo>
                <a:cubicBezTo>
                  <a:pt x="5760587" y="4008987"/>
                  <a:pt x="5829291" y="3863073"/>
                  <a:pt x="5829291" y="3725666"/>
                </a:cubicBezTo>
                <a:lnTo>
                  <a:pt x="5829291" y="3702996"/>
                </a:lnTo>
                <a:lnTo>
                  <a:pt x="5829291" y="3695205"/>
                </a:lnTo>
                <a:lnTo>
                  <a:pt x="5829291" y="3687413"/>
                </a:lnTo>
                <a:lnTo>
                  <a:pt x="5829291" y="412956"/>
                </a:lnTo>
                <a:cubicBezTo>
                  <a:pt x="5829291" y="405165"/>
                  <a:pt x="5829291" y="405165"/>
                  <a:pt x="5829291" y="397373"/>
                </a:cubicBezTo>
                <a:cubicBezTo>
                  <a:pt x="5830005" y="398078"/>
                  <a:pt x="5830005" y="398078"/>
                  <a:pt x="5830005" y="390287"/>
                </a:cubicBezTo>
                <a:close/>
                <a:moveTo>
                  <a:pt x="5340573" y="283340"/>
                </a:moveTo>
                <a:lnTo>
                  <a:pt x="2930938" y="2631348"/>
                </a:lnTo>
                <a:lnTo>
                  <a:pt x="2379879" y="2095871"/>
                </a:lnTo>
                <a:lnTo>
                  <a:pt x="2379879" y="2095871"/>
                </a:lnTo>
                <a:lnTo>
                  <a:pt x="490147" y="282626"/>
                </a:lnTo>
                <a:lnTo>
                  <a:pt x="5340573" y="282626"/>
                </a:lnTo>
                <a:lnTo>
                  <a:pt x="5340573" y="283340"/>
                </a:lnTo>
                <a:close/>
                <a:moveTo>
                  <a:pt x="284026" y="3656962"/>
                </a:moveTo>
                <a:lnTo>
                  <a:pt x="284026" y="474583"/>
                </a:lnTo>
                <a:lnTo>
                  <a:pt x="2066106" y="2187959"/>
                </a:lnTo>
                <a:lnTo>
                  <a:pt x="284026" y="3656962"/>
                </a:lnTo>
                <a:close/>
                <a:moveTo>
                  <a:pt x="2854442" y="3817039"/>
                </a:moveTo>
                <a:lnTo>
                  <a:pt x="536181" y="3817039"/>
                </a:lnTo>
                <a:lnTo>
                  <a:pt x="2272932" y="2394071"/>
                </a:lnTo>
                <a:lnTo>
                  <a:pt x="2831068" y="2937339"/>
                </a:lnTo>
                <a:cubicBezTo>
                  <a:pt x="2853738" y="2960008"/>
                  <a:pt x="2877112" y="2967800"/>
                  <a:pt x="2899772" y="2975591"/>
                </a:cubicBezTo>
                <a:lnTo>
                  <a:pt x="2907564" y="2975591"/>
                </a:lnTo>
                <a:cubicBezTo>
                  <a:pt x="2915355" y="2975591"/>
                  <a:pt x="2915355" y="2975591"/>
                  <a:pt x="2923146" y="2975591"/>
                </a:cubicBezTo>
                <a:lnTo>
                  <a:pt x="2923146" y="2975591"/>
                </a:lnTo>
                <a:cubicBezTo>
                  <a:pt x="2930938" y="2975591"/>
                  <a:pt x="2938729" y="2975591"/>
                  <a:pt x="2938729" y="2975591"/>
                </a:cubicBezTo>
                <a:lnTo>
                  <a:pt x="2946521" y="2975591"/>
                </a:lnTo>
                <a:cubicBezTo>
                  <a:pt x="2969190" y="2967800"/>
                  <a:pt x="3000347" y="2960008"/>
                  <a:pt x="3015225" y="2937339"/>
                </a:cubicBezTo>
                <a:lnTo>
                  <a:pt x="3542910" y="2424532"/>
                </a:lnTo>
                <a:lnTo>
                  <a:pt x="5286737" y="3817049"/>
                </a:lnTo>
                <a:lnTo>
                  <a:pt x="2854442" y="3817049"/>
                </a:lnTo>
                <a:close/>
                <a:moveTo>
                  <a:pt x="5546684" y="3664048"/>
                </a:moveTo>
                <a:lnTo>
                  <a:pt x="3756822" y="2218411"/>
                </a:lnTo>
                <a:lnTo>
                  <a:pt x="5546684" y="474574"/>
                </a:lnTo>
                <a:lnTo>
                  <a:pt x="5546684" y="3664048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7" name="Forma libre 324">
            <a:extLst>
              <a:ext uri="{FF2B5EF4-FFF2-40B4-BE49-F238E27FC236}">
                <a16:creationId xmlns:a16="http://schemas.microsoft.com/office/drawing/2014/main" xmlns="" id="{A6414288-010A-0948-A5E9-E46FC2DD936F}"/>
              </a:ext>
            </a:extLst>
          </p:cNvPr>
          <p:cNvSpPr/>
          <p:nvPr/>
        </p:nvSpPr>
        <p:spPr>
          <a:xfrm>
            <a:off x="5027204" y="4706999"/>
            <a:ext cx="301831" cy="227360"/>
          </a:xfrm>
          <a:custGeom>
            <a:avLst/>
            <a:gdLst>
              <a:gd name="connsiteX0" fmla="*/ 5829300 w 5829300"/>
              <a:gd name="connsiteY0" fmla="*/ 2487054 h 4391025"/>
              <a:gd name="connsiteX1" fmla="*/ 5398046 w 5829300"/>
              <a:gd name="connsiteY1" fmla="*/ 1868786 h 4391025"/>
              <a:gd name="connsiteX2" fmla="*/ 5398046 w 5829300"/>
              <a:gd name="connsiteY2" fmla="*/ 992295 h 4391025"/>
              <a:gd name="connsiteX3" fmla="*/ 5117859 w 5829300"/>
              <a:gd name="connsiteY3" fmla="*/ 712108 h 4391025"/>
              <a:gd name="connsiteX4" fmla="*/ 4751156 w 5829300"/>
              <a:gd name="connsiteY4" fmla="*/ 712108 h 4391025"/>
              <a:gd name="connsiteX5" fmla="*/ 4751156 w 5829300"/>
              <a:gd name="connsiteY5" fmla="*/ 302143 h 4391025"/>
              <a:gd name="connsiteX6" fmla="*/ 4442356 w 5829300"/>
              <a:gd name="connsiteY6" fmla="*/ 0 h 4391025"/>
              <a:gd name="connsiteX7" fmla="*/ 481841 w 5829300"/>
              <a:gd name="connsiteY7" fmla="*/ 0 h 4391025"/>
              <a:gd name="connsiteX8" fmla="*/ 7325 w 5829300"/>
              <a:gd name="connsiteY8" fmla="*/ 395316 h 4391025"/>
              <a:gd name="connsiteX9" fmla="*/ 7325 w 5829300"/>
              <a:gd name="connsiteY9" fmla="*/ 395316 h 4391025"/>
              <a:gd name="connsiteX10" fmla="*/ 0 w 5829300"/>
              <a:gd name="connsiteY10" fmla="*/ 488490 h 4391025"/>
              <a:gd name="connsiteX11" fmla="*/ 7325 w 5829300"/>
              <a:gd name="connsiteY11" fmla="*/ 560365 h 4391025"/>
              <a:gd name="connsiteX12" fmla="*/ 7325 w 5829300"/>
              <a:gd name="connsiteY12" fmla="*/ 797290 h 4391025"/>
              <a:gd name="connsiteX13" fmla="*/ 0 w 5829300"/>
              <a:gd name="connsiteY13" fmla="*/ 840553 h 4391025"/>
              <a:gd name="connsiteX14" fmla="*/ 0 w 5829300"/>
              <a:gd name="connsiteY14" fmla="*/ 3902612 h 4391025"/>
              <a:gd name="connsiteX15" fmla="*/ 488490 w 5829300"/>
              <a:gd name="connsiteY15" fmla="*/ 4391102 h 4391025"/>
              <a:gd name="connsiteX16" fmla="*/ 5124507 w 5829300"/>
              <a:gd name="connsiteY16" fmla="*/ 4391102 h 4391025"/>
              <a:gd name="connsiteX17" fmla="*/ 5404695 w 5829300"/>
              <a:gd name="connsiteY17" fmla="*/ 4110914 h 4391025"/>
              <a:gd name="connsiteX18" fmla="*/ 5404695 w 5829300"/>
              <a:gd name="connsiteY18" fmla="*/ 3105322 h 4391025"/>
              <a:gd name="connsiteX19" fmla="*/ 5829300 w 5829300"/>
              <a:gd name="connsiteY19" fmla="*/ 2487054 h 4391025"/>
              <a:gd name="connsiteX20" fmla="*/ 481841 w 5829300"/>
              <a:gd name="connsiteY20" fmla="*/ 266205 h 4391025"/>
              <a:gd name="connsiteX21" fmla="*/ 4442356 w 5829300"/>
              <a:gd name="connsiteY21" fmla="*/ 266205 h 4391025"/>
              <a:gd name="connsiteX22" fmla="*/ 4485618 w 5829300"/>
              <a:gd name="connsiteY22" fmla="*/ 302143 h 4391025"/>
              <a:gd name="connsiteX23" fmla="*/ 4485618 w 5829300"/>
              <a:gd name="connsiteY23" fmla="*/ 712108 h 4391025"/>
              <a:gd name="connsiteX24" fmla="*/ 4075662 w 5829300"/>
              <a:gd name="connsiteY24" fmla="*/ 712108 h 4391025"/>
              <a:gd name="connsiteX25" fmla="*/ 3752221 w 5829300"/>
              <a:gd name="connsiteY25" fmla="*/ 712108 h 4391025"/>
              <a:gd name="connsiteX26" fmla="*/ 481841 w 5829300"/>
              <a:gd name="connsiteY26" fmla="*/ 712108 h 4391025"/>
              <a:gd name="connsiteX27" fmla="*/ 438579 w 5829300"/>
              <a:gd name="connsiteY27" fmla="*/ 704783 h 4391025"/>
              <a:gd name="connsiteX28" fmla="*/ 423939 w 5829300"/>
              <a:gd name="connsiteY28" fmla="*/ 697459 h 4391025"/>
              <a:gd name="connsiteX29" fmla="*/ 402641 w 5829300"/>
              <a:gd name="connsiteY29" fmla="*/ 690134 h 4391025"/>
              <a:gd name="connsiteX30" fmla="*/ 388001 w 5829300"/>
              <a:gd name="connsiteY30" fmla="*/ 682809 h 4391025"/>
              <a:gd name="connsiteX31" fmla="*/ 366703 w 5829300"/>
              <a:gd name="connsiteY31" fmla="*/ 675484 h 4391025"/>
              <a:gd name="connsiteX32" fmla="*/ 352063 w 5829300"/>
              <a:gd name="connsiteY32" fmla="*/ 660845 h 4391025"/>
              <a:gd name="connsiteX33" fmla="*/ 337423 w 5829300"/>
              <a:gd name="connsiteY33" fmla="*/ 646205 h 4391025"/>
              <a:gd name="connsiteX34" fmla="*/ 322783 w 5829300"/>
              <a:gd name="connsiteY34" fmla="*/ 631565 h 4391025"/>
              <a:gd name="connsiteX35" fmla="*/ 315458 w 5829300"/>
              <a:gd name="connsiteY35" fmla="*/ 616925 h 4391025"/>
              <a:gd name="connsiteX36" fmla="*/ 300819 w 5829300"/>
              <a:gd name="connsiteY36" fmla="*/ 595627 h 4391025"/>
              <a:gd name="connsiteX37" fmla="*/ 293494 w 5829300"/>
              <a:gd name="connsiteY37" fmla="*/ 588302 h 4391025"/>
              <a:gd name="connsiteX38" fmla="*/ 278854 w 5829300"/>
              <a:gd name="connsiteY38" fmla="*/ 559689 h 4391025"/>
              <a:gd name="connsiteX39" fmla="*/ 278854 w 5829300"/>
              <a:gd name="connsiteY39" fmla="*/ 559689 h 4391025"/>
              <a:gd name="connsiteX40" fmla="*/ 271529 w 5829300"/>
              <a:gd name="connsiteY40" fmla="*/ 523751 h 4391025"/>
              <a:gd name="connsiteX41" fmla="*/ 271529 w 5829300"/>
              <a:gd name="connsiteY41" fmla="*/ 523751 h 4391025"/>
              <a:gd name="connsiteX42" fmla="*/ 264204 w 5829300"/>
              <a:gd name="connsiteY42" fmla="*/ 487813 h 4391025"/>
              <a:gd name="connsiteX43" fmla="*/ 271529 w 5829300"/>
              <a:gd name="connsiteY43" fmla="*/ 451875 h 4391025"/>
              <a:gd name="connsiteX44" fmla="*/ 271529 w 5829300"/>
              <a:gd name="connsiteY44" fmla="*/ 451875 h 4391025"/>
              <a:gd name="connsiteX45" fmla="*/ 271529 w 5829300"/>
              <a:gd name="connsiteY45" fmla="*/ 444551 h 4391025"/>
              <a:gd name="connsiteX46" fmla="*/ 481841 w 5829300"/>
              <a:gd name="connsiteY46" fmla="*/ 266205 h 4391025"/>
              <a:gd name="connsiteX47" fmla="*/ 5131832 w 5829300"/>
              <a:gd name="connsiteY47" fmla="*/ 4118905 h 4391025"/>
              <a:gd name="connsiteX48" fmla="*/ 5117192 w 5829300"/>
              <a:gd name="connsiteY48" fmla="*/ 4133545 h 4391025"/>
              <a:gd name="connsiteX49" fmla="*/ 481841 w 5829300"/>
              <a:gd name="connsiteY49" fmla="*/ 4133545 h 4391025"/>
              <a:gd name="connsiteX50" fmla="*/ 258890 w 5829300"/>
              <a:gd name="connsiteY50" fmla="*/ 3910594 h 4391025"/>
              <a:gd name="connsiteX51" fmla="*/ 258890 w 5829300"/>
              <a:gd name="connsiteY51" fmla="*/ 920410 h 4391025"/>
              <a:gd name="connsiteX52" fmla="*/ 273529 w 5829300"/>
              <a:gd name="connsiteY52" fmla="*/ 927735 h 4391025"/>
              <a:gd name="connsiteX53" fmla="*/ 302143 w 5829300"/>
              <a:gd name="connsiteY53" fmla="*/ 942375 h 4391025"/>
              <a:gd name="connsiteX54" fmla="*/ 323440 w 5829300"/>
              <a:gd name="connsiteY54" fmla="*/ 949700 h 4391025"/>
              <a:gd name="connsiteX55" fmla="*/ 359378 w 5829300"/>
              <a:gd name="connsiteY55" fmla="*/ 957024 h 4391025"/>
              <a:gd name="connsiteX56" fmla="*/ 380676 w 5829300"/>
              <a:gd name="connsiteY56" fmla="*/ 964349 h 4391025"/>
              <a:gd name="connsiteX57" fmla="*/ 416614 w 5829300"/>
              <a:gd name="connsiteY57" fmla="*/ 971674 h 4391025"/>
              <a:gd name="connsiteX58" fmla="*/ 431254 w 5829300"/>
              <a:gd name="connsiteY58" fmla="*/ 971674 h 4391025"/>
              <a:gd name="connsiteX59" fmla="*/ 488490 w 5829300"/>
              <a:gd name="connsiteY59" fmla="*/ 971674 h 4391025"/>
              <a:gd name="connsiteX60" fmla="*/ 3737562 w 5829300"/>
              <a:gd name="connsiteY60" fmla="*/ 971674 h 4391025"/>
              <a:gd name="connsiteX61" fmla="*/ 3752202 w 5829300"/>
              <a:gd name="connsiteY61" fmla="*/ 971674 h 4391025"/>
              <a:gd name="connsiteX62" fmla="*/ 4075643 w 5829300"/>
              <a:gd name="connsiteY62" fmla="*/ 971674 h 4391025"/>
              <a:gd name="connsiteX63" fmla="*/ 4082967 w 5829300"/>
              <a:gd name="connsiteY63" fmla="*/ 971674 h 4391025"/>
              <a:gd name="connsiteX64" fmla="*/ 4614720 w 5829300"/>
              <a:gd name="connsiteY64" fmla="*/ 971674 h 4391025"/>
              <a:gd name="connsiteX65" fmla="*/ 5117849 w 5829300"/>
              <a:gd name="connsiteY65" fmla="*/ 971674 h 4391025"/>
              <a:gd name="connsiteX66" fmla="*/ 5132489 w 5829300"/>
              <a:gd name="connsiteY66" fmla="*/ 986314 h 4391025"/>
              <a:gd name="connsiteX67" fmla="*/ 5132489 w 5829300"/>
              <a:gd name="connsiteY67" fmla="*/ 1820208 h 4391025"/>
              <a:gd name="connsiteX68" fmla="*/ 4485608 w 5829300"/>
              <a:gd name="connsiteY68" fmla="*/ 1820208 h 4391025"/>
              <a:gd name="connsiteX69" fmla="*/ 3824078 w 5829300"/>
              <a:gd name="connsiteY69" fmla="*/ 2481739 h 4391025"/>
              <a:gd name="connsiteX70" fmla="*/ 3824078 w 5829300"/>
              <a:gd name="connsiteY70" fmla="*/ 2481739 h 4391025"/>
              <a:gd name="connsiteX71" fmla="*/ 3824078 w 5829300"/>
              <a:gd name="connsiteY71" fmla="*/ 2481739 h 4391025"/>
              <a:gd name="connsiteX72" fmla="*/ 4485608 w 5829300"/>
              <a:gd name="connsiteY72" fmla="*/ 3143269 h 4391025"/>
              <a:gd name="connsiteX73" fmla="*/ 5132499 w 5829300"/>
              <a:gd name="connsiteY73" fmla="*/ 3143269 h 4391025"/>
              <a:gd name="connsiteX74" fmla="*/ 5132499 w 5829300"/>
              <a:gd name="connsiteY74" fmla="*/ 4118924 h 4391025"/>
              <a:gd name="connsiteX75" fmla="*/ 5131832 w 5829300"/>
              <a:gd name="connsiteY75" fmla="*/ 4118924 h 4391025"/>
              <a:gd name="connsiteX76" fmla="*/ 5239646 w 5829300"/>
              <a:gd name="connsiteY76" fmla="*/ 2875045 h 4391025"/>
              <a:gd name="connsiteX77" fmla="*/ 5239646 w 5829300"/>
              <a:gd name="connsiteY77" fmla="*/ 2875045 h 4391025"/>
              <a:gd name="connsiteX78" fmla="*/ 5167770 w 5829300"/>
              <a:gd name="connsiteY78" fmla="*/ 2882370 h 4391025"/>
              <a:gd name="connsiteX79" fmla="*/ 4484942 w 5829300"/>
              <a:gd name="connsiteY79" fmla="*/ 2882370 h 4391025"/>
              <a:gd name="connsiteX80" fmla="*/ 4089625 w 5829300"/>
              <a:gd name="connsiteY80" fmla="*/ 2487054 h 4391025"/>
              <a:gd name="connsiteX81" fmla="*/ 4484942 w 5829300"/>
              <a:gd name="connsiteY81" fmla="*/ 2091738 h 4391025"/>
              <a:gd name="connsiteX82" fmla="*/ 5167770 w 5829300"/>
              <a:gd name="connsiteY82" fmla="*/ 2091738 h 4391025"/>
              <a:gd name="connsiteX83" fmla="*/ 5239646 w 5829300"/>
              <a:gd name="connsiteY83" fmla="*/ 2099062 h 4391025"/>
              <a:gd name="connsiteX84" fmla="*/ 5239646 w 5829300"/>
              <a:gd name="connsiteY84" fmla="*/ 2099062 h 4391025"/>
              <a:gd name="connsiteX85" fmla="*/ 5563086 w 5829300"/>
              <a:gd name="connsiteY85" fmla="*/ 2487063 h 4391025"/>
              <a:gd name="connsiteX86" fmla="*/ 5239646 w 5829300"/>
              <a:gd name="connsiteY86" fmla="*/ 2875045 h 4391025"/>
              <a:gd name="connsiteX87" fmla="*/ 4729858 w 5829300"/>
              <a:gd name="connsiteY87" fmla="*/ 2487054 h 4391025"/>
              <a:gd name="connsiteX88" fmla="*/ 4586107 w 5829300"/>
              <a:gd name="connsiteY88" fmla="*/ 2630805 h 4391025"/>
              <a:gd name="connsiteX89" fmla="*/ 4442356 w 5829300"/>
              <a:gd name="connsiteY89" fmla="*/ 2487054 h 4391025"/>
              <a:gd name="connsiteX90" fmla="*/ 4586107 w 5829300"/>
              <a:gd name="connsiteY90" fmla="*/ 2343302 h 4391025"/>
              <a:gd name="connsiteX91" fmla="*/ 4729858 w 5829300"/>
              <a:gd name="connsiteY91" fmla="*/ 2487054 h 439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5829300" h="4391025">
                <a:moveTo>
                  <a:pt x="5829300" y="2487054"/>
                </a:moveTo>
                <a:cubicBezTo>
                  <a:pt x="5829300" y="2199551"/>
                  <a:pt x="5649611" y="1962626"/>
                  <a:pt x="5398046" y="1868786"/>
                </a:cubicBezTo>
                <a:lnTo>
                  <a:pt x="5398046" y="992295"/>
                </a:lnTo>
                <a:cubicBezTo>
                  <a:pt x="5398046" y="841219"/>
                  <a:pt x="5275593" y="712108"/>
                  <a:pt x="5117859" y="712108"/>
                </a:cubicBezTo>
                <a:lnTo>
                  <a:pt x="4751156" y="712108"/>
                </a:lnTo>
                <a:lnTo>
                  <a:pt x="4751156" y="302143"/>
                </a:lnTo>
                <a:cubicBezTo>
                  <a:pt x="4751156" y="107813"/>
                  <a:pt x="4592765" y="0"/>
                  <a:pt x="4442356" y="0"/>
                </a:cubicBezTo>
                <a:lnTo>
                  <a:pt x="481841" y="0"/>
                </a:lnTo>
                <a:cubicBezTo>
                  <a:pt x="244916" y="0"/>
                  <a:pt x="50587" y="172374"/>
                  <a:pt x="7325" y="395316"/>
                </a:cubicBezTo>
                <a:lnTo>
                  <a:pt x="7325" y="395316"/>
                </a:lnTo>
                <a:cubicBezTo>
                  <a:pt x="0" y="423929"/>
                  <a:pt x="0" y="452552"/>
                  <a:pt x="0" y="488490"/>
                </a:cubicBezTo>
                <a:cubicBezTo>
                  <a:pt x="0" y="517103"/>
                  <a:pt x="0" y="539067"/>
                  <a:pt x="7325" y="560365"/>
                </a:cubicBezTo>
                <a:lnTo>
                  <a:pt x="7325" y="797290"/>
                </a:lnTo>
                <a:cubicBezTo>
                  <a:pt x="0" y="811930"/>
                  <a:pt x="0" y="825903"/>
                  <a:pt x="0" y="840553"/>
                </a:cubicBezTo>
                <a:lnTo>
                  <a:pt x="0" y="3902612"/>
                </a:lnTo>
                <a:cubicBezTo>
                  <a:pt x="0" y="4168816"/>
                  <a:pt x="215627" y="4391102"/>
                  <a:pt x="488490" y="4391102"/>
                </a:cubicBezTo>
                <a:lnTo>
                  <a:pt x="5124507" y="4391102"/>
                </a:lnTo>
                <a:cubicBezTo>
                  <a:pt x="5275583" y="4391102"/>
                  <a:pt x="5404695" y="4268648"/>
                  <a:pt x="5404695" y="4110914"/>
                </a:cubicBezTo>
                <a:lnTo>
                  <a:pt x="5404695" y="3105322"/>
                </a:lnTo>
                <a:cubicBezTo>
                  <a:pt x="5649611" y="3012148"/>
                  <a:pt x="5829300" y="2774556"/>
                  <a:pt x="5829300" y="2487054"/>
                </a:cubicBezTo>
                <a:close/>
                <a:moveTo>
                  <a:pt x="481841" y="266205"/>
                </a:moveTo>
                <a:lnTo>
                  <a:pt x="4442356" y="266205"/>
                </a:lnTo>
                <a:cubicBezTo>
                  <a:pt x="4485618" y="266205"/>
                  <a:pt x="4485618" y="280845"/>
                  <a:pt x="4485618" y="302143"/>
                </a:cubicBezTo>
                <a:lnTo>
                  <a:pt x="4485618" y="712108"/>
                </a:lnTo>
                <a:lnTo>
                  <a:pt x="4075662" y="712108"/>
                </a:lnTo>
                <a:lnTo>
                  <a:pt x="3752221" y="712108"/>
                </a:lnTo>
                <a:lnTo>
                  <a:pt x="481841" y="712108"/>
                </a:lnTo>
                <a:cubicBezTo>
                  <a:pt x="467201" y="712108"/>
                  <a:pt x="453228" y="712108"/>
                  <a:pt x="438579" y="704783"/>
                </a:cubicBezTo>
                <a:cubicBezTo>
                  <a:pt x="431254" y="704783"/>
                  <a:pt x="431254" y="704783"/>
                  <a:pt x="423939" y="697459"/>
                </a:cubicBezTo>
                <a:cubicBezTo>
                  <a:pt x="416614" y="697459"/>
                  <a:pt x="409299" y="690134"/>
                  <a:pt x="402641" y="690134"/>
                </a:cubicBezTo>
                <a:cubicBezTo>
                  <a:pt x="395316" y="690134"/>
                  <a:pt x="395316" y="682809"/>
                  <a:pt x="388001" y="682809"/>
                </a:cubicBezTo>
                <a:cubicBezTo>
                  <a:pt x="380676" y="682809"/>
                  <a:pt x="373361" y="675484"/>
                  <a:pt x="366703" y="675484"/>
                </a:cubicBezTo>
                <a:cubicBezTo>
                  <a:pt x="359378" y="675484"/>
                  <a:pt x="359378" y="668160"/>
                  <a:pt x="352063" y="660845"/>
                </a:cubicBezTo>
                <a:cubicBezTo>
                  <a:pt x="344738" y="653520"/>
                  <a:pt x="344738" y="653520"/>
                  <a:pt x="337423" y="646205"/>
                </a:cubicBezTo>
                <a:cubicBezTo>
                  <a:pt x="330098" y="638880"/>
                  <a:pt x="330098" y="638880"/>
                  <a:pt x="322783" y="631565"/>
                </a:cubicBezTo>
                <a:cubicBezTo>
                  <a:pt x="315458" y="624240"/>
                  <a:pt x="315458" y="624240"/>
                  <a:pt x="315458" y="616925"/>
                </a:cubicBezTo>
                <a:cubicBezTo>
                  <a:pt x="308134" y="609600"/>
                  <a:pt x="308134" y="602285"/>
                  <a:pt x="300819" y="595627"/>
                </a:cubicBezTo>
                <a:lnTo>
                  <a:pt x="293494" y="588302"/>
                </a:lnTo>
                <a:cubicBezTo>
                  <a:pt x="286169" y="580977"/>
                  <a:pt x="286169" y="573662"/>
                  <a:pt x="278854" y="559689"/>
                </a:cubicBezTo>
                <a:lnTo>
                  <a:pt x="278854" y="559689"/>
                </a:lnTo>
                <a:cubicBezTo>
                  <a:pt x="271529" y="545049"/>
                  <a:pt x="271529" y="538391"/>
                  <a:pt x="271529" y="523751"/>
                </a:cubicBezTo>
                <a:lnTo>
                  <a:pt x="271529" y="523751"/>
                </a:lnTo>
                <a:cubicBezTo>
                  <a:pt x="271529" y="509111"/>
                  <a:pt x="264204" y="502453"/>
                  <a:pt x="264204" y="487813"/>
                </a:cubicBezTo>
                <a:cubicBezTo>
                  <a:pt x="264204" y="473173"/>
                  <a:pt x="264204" y="466515"/>
                  <a:pt x="271529" y="451875"/>
                </a:cubicBezTo>
                <a:lnTo>
                  <a:pt x="271529" y="451875"/>
                </a:lnTo>
                <a:lnTo>
                  <a:pt x="271529" y="444551"/>
                </a:lnTo>
                <a:cubicBezTo>
                  <a:pt x="287503" y="345405"/>
                  <a:pt x="374028" y="266205"/>
                  <a:pt x="481841" y="266205"/>
                </a:cubicBezTo>
                <a:close/>
                <a:moveTo>
                  <a:pt x="5131832" y="4118905"/>
                </a:moveTo>
                <a:cubicBezTo>
                  <a:pt x="5131832" y="4126230"/>
                  <a:pt x="5124507" y="4133545"/>
                  <a:pt x="5117192" y="4133545"/>
                </a:cubicBezTo>
                <a:lnTo>
                  <a:pt x="481841" y="4133545"/>
                </a:lnTo>
                <a:cubicBezTo>
                  <a:pt x="359388" y="4133545"/>
                  <a:pt x="258890" y="4033047"/>
                  <a:pt x="258890" y="3910594"/>
                </a:cubicBezTo>
                <a:lnTo>
                  <a:pt x="258890" y="920410"/>
                </a:lnTo>
                <a:cubicBezTo>
                  <a:pt x="266214" y="920410"/>
                  <a:pt x="266214" y="920410"/>
                  <a:pt x="273529" y="927735"/>
                </a:cubicBezTo>
                <a:cubicBezTo>
                  <a:pt x="280854" y="935060"/>
                  <a:pt x="294827" y="935060"/>
                  <a:pt x="302143" y="942375"/>
                </a:cubicBezTo>
                <a:cubicBezTo>
                  <a:pt x="309467" y="942375"/>
                  <a:pt x="316782" y="949700"/>
                  <a:pt x="323440" y="949700"/>
                </a:cubicBezTo>
                <a:cubicBezTo>
                  <a:pt x="330765" y="957024"/>
                  <a:pt x="344738" y="957024"/>
                  <a:pt x="359378" y="957024"/>
                </a:cubicBezTo>
                <a:cubicBezTo>
                  <a:pt x="366703" y="957024"/>
                  <a:pt x="374018" y="957024"/>
                  <a:pt x="380676" y="964349"/>
                </a:cubicBezTo>
                <a:cubicBezTo>
                  <a:pt x="395316" y="964349"/>
                  <a:pt x="401974" y="971674"/>
                  <a:pt x="416614" y="971674"/>
                </a:cubicBezTo>
                <a:cubicBezTo>
                  <a:pt x="423939" y="971674"/>
                  <a:pt x="431254" y="971674"/>
                  <a:pt x="431254" y="971674"/>
                </a:cubicBezTo>
                <a:cubicBezTo>
                  <a:pt x="445894" y="971674"/>
                  <a:pt x="467192" y="971674"/>
                  <a:pt x="488490" y="971674"/>
                </a:cubicBezTo>
                <a:lnTo>
                  <a:pt x="3737562" y="971674"/>
                </a:lnTo>
                <a:cubicBezTo>
                  <a:pt x="3744887" y="971674"/>
                  <a:pt x="3744887" y="971674"/>
                  <a:pt x="3752202" y="971674"/>
                </a:cubicBezTo>
                <a:lnTo>
                  <a:pt x="4075643" y="971674"/>
                </a:lnTo>
                <a:lnTo>
                  <a:pt x="4082967" y="971674"/>
                </a:lnTo>
                <a:lnTo>
                  <a:pt x="4614720" y="971674"/>
                </a:lnTo>
                <a:lnTo>
                  <a:pt x="5117849" y="971674"/>
                </a:lnTo>
                <a:cubicBezTo>
                  <a:pt x="5125174" y="971674"/>
                  <a:pt x="5132489" y="978999"/>
                  <a:pt x="5132489" y="986314"/>
                </a:cubicBezTo>
                <a:lnTo>
                  <a:pt x="5132489" y="1820208"/>
                </a:lnTo>
                <a:lnTo>
                  <a:pt x="4485608" y="1820208"/>
                </a:lnTo>
                <a:cubicBezTo>
                  <a:pt x="4118905" y="1820208"/>
                  <a:pt x="3824078" y="2115036"/>
                  <a:pt x="3824078" y="2481739"/>
                </a:cubicBezTo>
                <a:lnTo>
                  <a:pt x="3824078" y="2481739"/>
                </a:lnTo>
                <a:lnTo>
                  <a:pt x="3824078" y="2481739"/>
                </a:lnTo>
                <a:cubicBezTo>
                  <a:pt x="3824078" y="2848442"/>
                  <a:pt x="4118905" y="3143269"/>
                  <a:pt x="4485608" y="3143269"/>
                </a:cubicBezTo>
                <a:lnTo>
                  <a:pt x="5132499" y="3143269"/>
                </a:lnTo>
                <a:lnTo>
                  <a:pt x="5132499" y="4118924"/>
                </a:lnTo>
                <a:lnTo>
                  <a:pt x="5131832" y="4118924"/>
                </a:lnTo>
                <a:close/>
                <a:moveTo>
                  <a:pt x="5239646" y="2875045"/>
                </a:moveTo>
                <a:lnTo>
                  <a:pt x="5239646" y="2875045"/>
                </a:lnTo>
                <a:cubicBezTo>
                  <a:pt x="5211023" y="2882370"/>
                  <a:pt x="5189068" y="2882370"/>
                  <a:pt x="5167770" y="2882370"/>
                </a:cubicBezTo>
                <a:lnTo>
                  <a:pt x="4484942" y="2882370"/>
                </a:lnTo>
                <a:cubicBezTo>
                  <a:pt x="4269315" y="2882370"/>
                  <a:pt x="4089625" y="2702681"/>
                  <a:pt x="4089625" y="2487054"/>
                </a:cubicBezTo>
                <a:cubicBezTo>
                  <a:pt x="4089625" y="2271427"/>
                  <a:pt x="4269315" y="2091738"/>
                  <a:pt x="4484942" y="2091738"/>
                </a:cubicBezTo>
                <a:lnTo>
                  <a:pt x="5167770" y="2091738"/>
                </a:lnTo>
                <a:cubicBezTo>
                  <a:pt x="5189068" y="2091738"/>
                  <a:pt x="5218347" y="2091738"/>
                  <a:pt x="5239646" y="2099062"/>
                </a:cubicBezTo>
                <a:lnTo>
                  <a:pt x="5239646" y="2099062"/>
                </a:lnTo>
                <a:cubicBezTo>
                  <a:pt x="5426660" y="2135000"/>
                  <a:pt x="5563086" y="2293392"/>
                  <a:pt x="5563086" y="2487063"/>
                </a:cubicBezTo>
                <a:cubicBezTo>
                  <a:pt x="5563086" y="2680735"/>
                  <a:pt x="5426660" y="2839107"/>
                  <a:pt x="5239646" y="2875045"/>
                </a:cubicBezTo>
                <a:close/>
                <a:moveTo>
                  <a:pt x="4729858" y="2487054"/>
                </a:moveTo>
                <a:cubicBezTo>
                  <a:pt x="4729858" y="2566254"/>
                  <a:pt x="4665307" y="2630805"/>
                  <a:pt x="4586107" y="2630805"/>
                </a:cubicBezTo>
                <a:cubicBezTo>
                  <a:pt x="4506906" y="2630805"/>
                  <a:pt x="4442356" y="2566254"/>
                  <a:pt x="4442356" y="2487054"/>
                </a:cubicBezTo>
                <a:cubicBezTo>
                  <a:pt x="4442356" y="2407853"/>
                  <a:pt x="4506906" y="2343302"/>
                  <a:pt x="4586107" y="2343302"/>
                </a:cubicBezTo>
                <a:cubicBezTo>
                  <a:pt x="4665307" y="2343302"/>
                  <a:pt x="4729858" y="2407853"/>
                  <a:pt x="4729858" y="248705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8" name="Forma libre 326">
            <a:extLst>
              <a:ext uri="{FF2B5EF4-FFF2-40B4-BE49-F238E27FC236}">
                <a16:creationId xmlns:a16="http://schemas.microsoft.com/office/drawing/2014/main" xmlns="" id="{64CF6A93-E7B1-F24C-A0D1-90D974863188}"/>
              </a:ext>
            </a:extLst>
          </p:cNvPr>
          <p:cNvSpPr/>
          <p:nvPr/>
        </p:nvSpPr>
        <p:spPr>
          <a:xfrm>
            <a:off x="2012771" y="5296807"/>
            <a:ext cx="301831" cy="301338"/>
          </a:xfrm>
          <a:custGeom>
            <a:avLst/>
            <a:gdLst>
              <a:gd name="connsiteX0" fmla="*/ 5798075 w 5829300"/>
              <a:gd name="connsiteY0" fmla="*/ 493947 h 5819775"/>
              <a:gd name="connsiteX1" fmla="*/ 5405816 w 5829300"/>
              <a:gd name="connsiteY1" fmla="*/ 31242 h 5819775"/>
              <a:gd name="connsiteX2" fmla="*/ 5389834 w 5829300"/>
              <a:gd name="connsiteY2" fmla="*/ 31242 h 5819775"/>
              <a:gd name="connsiteX3" fmla="*/ 3804854 w 5829300"/>
              <a:gd name="connsiteY3" fmla="*/ 0 h 5819775"/>
              <a:gd name="connsiteX4" fmla="*/ 3788871 w 5829300"/>
              <a:gd name="connsiteY4" fmla="*/ 0 h 5819775"/>
              <a:gd name="connsiteX5" fmla="*/ 3216476 w 5829300"/>
              <a:gd name="connsiteY5" fmla="*/ 196129 h 5819775"/>
              <a:gd name="connsiteX6" fmla="*/ 3208484 w 5829300"/>
              <a:gd name="connsiteY6" fmla="*/ 204121 h 5819775"/>
              <a:gd name="connsiteX7" fmla="*/ 117679 w 5829300"/>
              <a:gd name="connsiteY7" fmla="*/ 3302908 h 5819775"/>
              <a:gd name="connsiteX8" fmla="*/ 117679 w 5829300"/>
              <a:gd name="connsiteY8" fmla="*/ 3883295 h 5819775"/>
              <a:gd name="connsiteX9" fmla="*/ 1945288 w 5829300"/>
              <a:gd name="connsiteY9" fmla="*/ 5710904 h 5819775"/>
              <a:gd name="connsiteX10" fmla="*/ 2235849 w 5829300"/>
              <a:gd name="connsiteY10" fmla="*/ 5828576 h 5819775"/>
              <a:gd name="connsiteX11" fmla="*/ 2235849 w 5829300"/>
              <a:gd name="connsiteY11" fmla="*/ 5828576 h 5819775"/>
              <a:gd name="connsiteX12" fmla="*/ 2526409 w 5829300"/>
              <a:gd name="connsiteY12" fmla="*/ 5710904 h 5819775"/>
              <a:gd name="connsiteX13" fmla="*/ 4048190 w 5829300"/>
              <a:gd name="connsiteY13" fmla="*/ 4197096 h 5819775"/>
              <a:gd name="connsiteX14" fmla="*/ 4095405 w 5829300"/>
              <a:gd name="connsiteY14" fmla="*/ 4141889 h 5819775"/>
              <a:gd name="connsiteX15" fmla="*/ 5577971 w 5829300"/>
              <a:gd name="connsiteY15" fmla="*/ 2659323 h 5819775"/>
              <a:gd name="connsiteX16" fmla="*/ 5829307 w 5829300"/>
              <a:gd name="connsiteY16" fmla="*/ 1992497 h 5819775"/>
              <a:gd name="connsiteX17" fmla="*/ 5798075 w 5829300"/>
              <a:gd name="connsiteY17" fmla="*/ 493947 h 5819775"/>
              <a:gd name="connsiteX18" fmla="*/ 5366593 w 5829300"/>
              <a:gd name="connsiteY18" fmla="*/ 2455212 h 5819775"/>
              <a:gd name="connsiteX19" fmla="*/ 3876035 w 5829300"/>
              <a:gd name="connsiteY19" fmla="*/ 3945769 h 5819775"/>
              <a:gd name="connsiteX20" fmla="*/ 3860052 w 5829300"/>
              <a:gd name="connsiteY20" fmla="*/ 3969010 h 5819775"/>
              <a:gd name="connsiteX21" fmla="*/ 3844069 w 5829300"/>
              <a:gd name="connsiteY21" fmla="*/ 3992251 h 5819775"/>
              <a:gd name="connsiteX22" fmla="*/ 2322288 w 5829300"/>
              <a:gd name="connsiteY22" fmla="*/ 5507508 h 5819775"/>
              <a:gd name="connsiteX23" fmla="*/ 2149409 w 5829300"/>
              <a:gd name="connsiteY23" fmla="*/ 5507508 h 5819775"/>
              <a:gd name="connsiteX24" fmla="*/ 321800 w 5829300"/>
              <a:gd name="connsiteY24" fmla="*/ 3679184 h 5819775"/>
              <a:gd name="connsiteX25" fmla="*/ 321800 w 5829300"/>
              <a:gd name="connsiteY25" fmla="*/ 3506305 h 5819775"/>
              <a:gd name="connsiteX26" fmla="*/ 3412596 w 5829300"/>
              <a:gd name="connsiteY26" fmla="*/ 415500 h 5819775"/>
              <a:gd name="connsiteX27" fmla="*/ 3788871 w 5829300"/>
              <a:gd name="connsiteY27" fmla="*/ 289836 h 5819775"/>
              <a:gd name="connsiteX28" fmla="*/ 5381128 w 5829300"/>
              <a:gd name="connsiteY28" fmla="*/ 321069 h 5819775"/>
              <a:gd name="connsiteX29" fmla="*/ 5506791 w 5829300"/>
              <a:gd name="connsiteY29" fmla="*/ 501215 h 5819775"/>
              <a:gd name="connsiteX30" fmla="*/ 5538023 w 5829300"/>
              <a:gd name="connsiteY30" fmla="*/ 1999764 h 5819775"/>
              <a:gd name="connsiteX31" fmla="*/ 5366593 w 5829300"/>
              <a:gd name="connsiteY31" fmla="*/ 2455212 h 5819775"/>
              <a:gd name="connsiteX32" fmla="*/ 4487663 w 5829300"/>
              <a:gd name="connsiteY32" fmla="*/ 784508 h 5819775"/>
              <a:gd name="connsiteX33" fmla="*/ 3938509 w 5829300"/>
              <a:gd name="connsiteY33" fmla="*/ 1333662 h 5819775"/>
              <a:gd name="connsiteX34" fmla="*/ 4487663 w 5829300"/>
              <a:gd name="connsiteY34" fmla="*/ 1882816 h 5819775"/>
              <a:gd name="connsiteX35" fmla="*/ 5036818 w 5829300"/>
              <a:gd name="connsiteY35" fmla="*/ 1333662 h 5819775"/>
              <a:gd name="connsiteX36" fmla="*/ 4487663 w 5829300"/>
              <a:gd name="connsiteY36" fmla="*/ 784508 h 5819775"/>
              <a:gd name="connsiteX37" fmla="*/ 4487663 w 5829300"/>
              <a:gd name="connsiteY37" fmla="*/ 1592256 h 5819775"/>
              <a:gd name="connsiteX38" fmla="*/ 4229069 w 5829300"/>
              <a:gd name="connsiteY38" fmla="*/ 1333662 h 5819775"/>
              <a:gd name="connsiteX39" fmla="*/ 4487663 w 5829300"/>
              <a:gd name="connsiteY39" fmla="*/ 1075068 h 5819775"/>
              <a:gd name="connsiteX40" fmla="*/ 4746258 w 5829300"/>
              <a:gd name="connsiteY40" fmla="*/ 1333662 h 5819775"/>
              <a:gd name="connsiteX41" fmla="*/ 4487663 w 5829300"/>
              <a:gd name="connsiteY41" fmla="*/ 1592256 h 5819775"/>
              <a:gd name="connsiteX42" fmla="*/ 3451829 w 5829300"/>
              <a:gd name="connsiteY42" fmla="*/ 3020339 h 5819775"/>
              <a:gd name="connsiteX43" fmla="*/ 3451829 w 5829300"/>
              <a:gd name="connsiteY43" fmla="*/ 3224460 h 5819775"/>
              <a:gd name="connsiteX44" fmla="*/ 2235839 w 5829300"/>
              <a:gd name="connsiteY44" fmla="*/ 4440441 h 5819775"/>
              <a:gd name="connsiteX45" fmla="*/ 2134141 w 5829300"/>
              <a:gd name="connsiteY45" fmla="*/ 4479665 h 5819775"/>
              <a:gd name="connsiteX46" fmla="*/ 2032442 w 5829300"/>
              <a:gd name="connsiteY46" fmla="*/ 4440441 h 5819775"/>
              <a:gd name="connsiteX47" fmla="*/ 2032442 w 5829300"/>
              <a:gd name="connsiteY47" fmla="*/ 4236320 h 5819775"/>
              <a:gd name="connsiteX48" fmla="*/ 3248423 w 5829300"/>
              <a:gd name="connsiteY48" fmla="*/ 3020339 h 5819775"/>
              <a:gd name="connsiteX49" fmla="*/ 3451829 w 5829300"/>
              <a:gd name="connsiteY49" fmla="*/ 3020339 h 5819775"/>
              <a:gd name="connsiteX50" fmla="*/ 3294924 w 5829300"/>
              <a:gd name="connsiteY50" fmla="*/ 2173367 h 5819775"/>
              <a:gd name="connsiteX51" fmla="*/ 1631487 w 5829300"/>
              <a:gd name="connsiteY51" fmla="*/ 3836813 h 5819775"/>
              <a:gd name="connsiteX52" fmla="*/ 1529789 w 5829300"/>
              <a:gd name="connsiteY52" fmla="*/ 3876037 h 5819775"/>
              <a:gd name="connsiteX53" fmla="*/ 1428090 w 5829300"/>
              <a:gd name="connsiteY53" fmla="*/ 3836813 h 5819775"/>
              <a:gd name="connsiteX54" fmla="*/ 1428090 w 5829300"/>
              <a:gd name="connsiteY54" fmla="*/ 3632692 h 5819775"/>
              <a:gd name="connsiteX55" fmla="*/ 3091537 w 5829300"/>
              <a:gd name="connsiteY55" fmla="*/ 1969256 h 5819775"/>
              <a:gd name="connsiteX56" fmla="*/ 3295657 w 5829300"/>
              <a:gd name="connsiteY56" fmla="*/ 1969256 h 5819775"/>
              <a:gd name="connsiteX57" fmla="*/ 3294924 w 5829300"/>
              <a:gd name="connsiteY57" fmla="*/ 2173367 h 581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829300" h="5819775">
                <a:moveTo>
                  <a:pt x="5798075" y="493947"/>
                </a:moveTo>
                <a:cubicBezTo>
                  <a:pt x="5790084" y="227362"/>
                  <a:pt x="5649161" y="54483"/>
                  <a:pt x="5405816" y="31242"/>
                </a:cubicBezTo>
                <a:cubicBezTo>
                  <a:pt x="5397825" y="31242"/>
                  <a:pt x="5397825" y="31242"/>
                  <a:pt x="5389834" y="31242"/>
                </a:cubicBezTo>
                <a:lnTo>
                  <a:pt x="3804854" y="0"/>
                </a:lnTo>
                <a:lnTo>
                  <a:pt x="3788871" y="0"/>
                </a:lnTo>
                <a:cubicBezTo>
                  <a:pt x="3514294" y="0"/>
                  <a:pt x="3326156" y="101698"/>
                  <a:pt x="3216476" y="196129"/>
                </a:cubicBezTo>
                <a:lnTo>
                  <a:pt x="3208484" y="204121"/>
                </a:lnTo>
                <a:lnTo>
                  <a:pt x="117679" y="3302908"/>
                </a:lnTo>
                <a:cubicBezTo>
                  <a:pt x="-39226" y="3459814"/>
                  <a:pt x="-39226" y="3726399"/>
                  <a:pt x="117679" y="3883295"/>
                </a:cubicBezTo>
                <a:lnTo>
                  <a:pt x="1945288" y="5710904"/>
                </a:lnTo>
                <a:cubicBezTo>
                  <a:pt x="2023736" y="5789353"/>
                  <a:pt x="2125435" y="5828576"/>
                  <a:pt x="2235849" y="5828576"/>
                </a:cubicBezTo>
                <a:lnTo>
                  <a:pt x="2235849" y="5828576"/>
                </a:lnTo>
                <a:cubicBezTo>
                  <a:pt x="2345529" y="5828576"/>
                  <a:pt x="2447951" y="5789353"/>
                  <a:pt x="2526409" y="5710904"/>
                </a:cubicBezTo>
                <a:lnTo>
                  <a:pt x="4048190" y="4197096"/>
                </a:lnTo>
                <a:cubicBezTo>
                  <a:pt x="4064172" y="4181113"/>
                  <a:pt x="4079422" y="4165864"/>
                  <a:pt x="4095405" y="4141889"/>
                </a:cubicBezTo>
                <a:lnTo>
                  <a:pt x="5577971" y="2659323"/>
                </a:lnTo>
                <a:cubicBezTo>
                  <a:pt x="5672402" y="2549633"/>
                  <a:pt x="5836566" y="2314289"/>
                  <a:pt x="5829307" y="1992497"/>
                </a:cubicBezTo>
                <a:lnTo>
                  <a:pt x="5798075" y="493947"/>
                </a:lnTo>
                <a:close/>
                <a:moveTo>
                  <a:pt x="5366593" y="2455212"/>
                </a:moveTo>
                <a:lnTo>
                  <a:pt x="3876035" y="3945769"/>
                </a:lnTo>
                <a:cubicBezTo>
                  <a:pt x="3868043" y="3953761"/>
                  <a:pt x="3860052" y="3961752"/>
                  <a:pt x="3860052" y="3969010"/>
                </a:cubicBezTo>
                <a:cubicBezTo>
                  <a:pt x="3852060" y="3977002"/>
                  <a:pt x="3852060" y="3984993"/>
                  <a:pt x="3844069" y="3992251"/>
                </a:cubicBezTo>
                <a:lnTo>
                  <a:pt x="2322288" y="5507508"/>
                </a:lnTo>
                <a:cubicBezTo>
                  <a:pt x="2275073" y="5554723"/>
                  <a:pt x="2196625" y="5554723"/>
                  <a:pt x="2149409" y="5507508"/>
                </a:cubicBezTo>
                <a:lnTo>
                  <a:pt x="321800" y="3679184"/>
                </a:lnTo>
                <a:cubicBezTo>
                  <a:pt x="274584" y="3631968"/>
                  <a:pt x="274584" y="3553520"/>
                  <a:pt x="321800" y="3506305"/>
                </a:cubicBezTo>
                <a:lnTo>
                  <a:pt x="3412596" y="415500"/>
                </a:lnTo>
                <a:cubicBezTo>
                  <a:pt x="3483052" y="360293"/>
                  <a:pt x="3608725" y="289836"/>
                  <a:pt x="3788871" y="289836"/>
                </a:cubicBezTo>
                <a:lnTo>
                  <a:pt x="5381128" y="321069"/>
                </a:lnTo>
                <a:cubicBezTo>
                  <a:pt x="5443602" y="329060"/>
                  <a:pt x="5498800" y="360293"/>
                  <a:pt x="5506791" y="501215"/>
                </a:cubicBezTo>
                <a:lnTo>
                  <a:pt x="5538023" y="1999764"/>
                </a:lnTo>
                <a:cubicBezTo>
                  <a:pt x="5538747" y="2219859"/>
                  <a:pt x="5429067" y="2384746"/>
                  <a:pt x="5366593" y="2455212"/>
                </a:cubicBezTo>
                <a:close/>
                <a:moveTo>
                  <a:pt x="4487663" y="784508"/>
                </a:moveTo>
                <a:cubicBezTo>
                  <a:pt x="4181854" y="784508"/>
                  <a:pt x="3938509" y="1027852"/>
                  <a:pt x="3938509" y="1333662"/>
                </a:cubicBezTo>
                <a:cubicBezTo>
                  <a:pt x="3938509" y="1639472"/>
                  <a:pt x="4181854" y="1882816"/>
                  <a:pt x="4487663" y="1882816"/>
                </a:cubicBezTo>
                <a:cubicBezTo>
                  <a:pt x="4793473" y="1882816"/>
                  <a:pt x="5036818" y="1639472"/>
                  <a:pt x="5036818" y="1333662"/>
                </a:cubicBezTo>
                <a:cubicBezTo>
                  <a:pt x="5036818" y="1027852"/>
                  <a:pt x="4793473" y="784508"/>
                  <a:pt x="4487663" y="784508"/>
                </a:cubicBezTo>
                <a:close/>
                <a:moveTo>
                  <a:pt x="4487663" y="1592256"/>
                </a:moveTo>
                <a:cubicBezTo>
                  <a:pt x="4346741" y="1592256"/>
                  <a:pt x="4229069" y="1474584"/>
                  <a:pt x="4229069" y="1333662"/>
                </a:cubicBezTo>
                <a:cubicBezTo>
                  <a:pt x="4229069" y="1192740"/>
                  <a:pt x="4346741" y="1075068"/>
                  <a:pt x="4487663" y="1075068"/>
                </a:cubicBezTo>
                <a:cubicBezTo>
                  <a:pt x="4628586" y="1075068"/>
                  <a:pt x="4746258" y="1192740"/>
                  <a:pt x="4746258" y="1333662"/>
                </a:cubicBezTo>
                <a:cubicBezTo>
                  <a:pt x="4746258" y="1474584"/>
                  <a:pt x="4628576" y="1592256"/>
                  <a:pt x="4487663" y="1592256"/>
                </a:cubicBezTo>
                <a:close/>
                <a:moveTo>
                  <a:pt x="3451829" y="3020339"/>
                </a:moveTo>
                <a:cubicBezTo>
                  <a:pt x="3507036" y="3075546"/>
                  <a:pt x="3507036" y="3169253"/>
                  <a:pt x="3451829" y="3224460"/>
                </a:cubicBezTo>
                <a:lnTo>
                  <a:pt x="2235839" y="4440441"/>
                </a:lnTo>
                <a:cubicBezTo>
                  <a:pt x="2204607" y="4471673"/>
                  <a:pt x="2173374" y="4479665"/>
                  <a:pt x="2134141" y="4479665"/>
                </a:cubicBezTo>
                <a:cubicBezTo>
                  <a:pt x="2094907" y="4479665"/>
                  <a:pt x="2063684" y="4463682"/>
                  <a:pt x="2032442" y="4440441"/>
                </a:cubicBezTo>
                <a:cubicBezTo>
                  <a:pt x="1977235" y="4385234"/>
                  <a:pt x="1977235" y="4291527"/>
                  <a:pt x="2032442" y="4236320"/>
                </a:cubicBezTo>
                <a:lnTo>
                  <a:pt x="3248423" y="3020339"/>
                </a:lnTo>
                <a:cubicBezTo>
                  <a:pt x="3302915" y="2965133"/>
                  <a:pt x="3397346" y="2965133"/>
                  <a:pt x="3451829" y="3020339"/>
                </a:cubicBezTo>
                <a:close/>
                <a:moveTo>
                  <a:pt x="3294924" y="2173367"/>
                </a:moveTo>
                <a:lnTo>
                  <a:pt x="1631487" y="3836813"/>
                </a:lnTo>
                <a:cubicBezTo>
                  <a:pt x="1600255" y="3868046"/>
                  <a:pt x="1569022" y="3876037"/>
                  <a:pt x="1529789" y="3876037"/>
                </a:cubicBezTo>
                <a:cubicBezTo>
                  <a:pt x="1490555" y="3876037"/>
                  <a:pt x="1459333" y="3860054"/>
                  <a:pt x="1428090" y="3836813"/>
                </a:cubicBezTo>
                <a:cubicBezTo>
                  <a:pt x="1372884" y="3781606"/>
                  <a:pt x="1372884" y="3687899"/>
                  <a:pt x="1428090" y="3632692"/>
                </a:cubicBezTo>
                <a:lnTo>
                  <a:pt x="3091537" y="1969256"/>
                </a:lnTo>
                <a:cubicBezTo>
                  <a:pt x="3146743" y="1914049"/>
                  <a:pt x="3240450" y="1914049"/>
                  <a:pt x="3295657" y="1969256"/>
                </a:cubicBezTo>
                <a:cubicBezTo>
                  <a:pt x="3350131" y="2023729"/>
                  <a:pt x="3350131" y="2110169"/>
                  <a:pt x="3294924" y="217336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9" name="Forma libre 328">
            <a:extLst>
              <a:ext uri="{FF2B5EF4-FFF2-40B4-BE49-F238E27FC236}">
                <a16:creationId xmlns:a16="http://schemas.microsoft.com/office/drawing/2014/main" xmlns="" id="{98F3D131-E186-F94D-A895-26FD835750A5}"/>
              </a:ext>
            </a:extLst>
          </p:cNvPr>
          <p:cNvSpPr/>
          <p:nvPr/>
        </p:nvSpPr>
        <p:spPr>
          <a:xfrm>
            <a:off x="2032437" y="4712883"/>
            <a:ext cx="301831" cy="206153"/>
          </a:xfrm>
          <a:custGeom>
            <a:avLst/>
            <a:gdLst>
              <a:gd name="connsiteX0" fmla="*/ 5356870 w 5829300"/>
              <a:gd name="connsiteY0" fmla="*/ 0 h 3981450"/>
              <a:gd name="connsiteX1" fmla="*/ 473088 w 5829300"/>
              <a:gd name="connsiteY1" fmla="*/ 0 h 3981450"/>
              <a:gd name="connsiteX2" fmla="*/ 0 w 5829300"/>
              <a:gd name="connsiteY2" fmla="*/ 473088 h 3981450"/>
              <a:gd name="connsiteX3" fmla="*/ 0 w 5829300"/>
              <a:gd name="connsiteY3" fmla="*/ 995182 h 3981450"/>
              <a:gd name="connsiteX4" fmla="*/ 0 w 5829300"/>
              <a:gd name="connsiteY4" fmla="*/ 1644701 h 3981450"/>
              <a:gd name="connsiteX5" fmla="*/ 0 w 5829300"/>
              <a:gd name="connsiteY5" fmla="*/ 3514830 h 3981450"/>
              <a:gd name="connsiteX6" fmla="*/ 473088 w 5829300"/>
              <a:gd name="connsiteY6" fmla="*/ 3987918 h 3981450"/>
              <a:gd name="connsiteX7" fmla="*/ 5356870 w 5829300"/>
              <a:gd name="connsiteY7" fmla="*/ 3987918 h 3981450"/>
              <a:gd name="connsiteX8" fmla="*/ 5829957 w 5829300"/>
              <a:gd name="connsiteY8" fmla="*/ 3514830 h 3981450"/>
              <a:gd name="connsiteX9" fmla="*/ 5829957 w 5829300"/>
              <a:gd name="connsiteY9" fmla="*/ 1644044 h 3981450"/>
              <a:gd name="connsiteX10" fmla="*/ 5829957 w 5829300"/>
              <a:gd name="connsiteY10" fmla="*/ 994524 h 3981450"/>
              <a:gd name="connsiteX11" fmla="*/ 5829957 w 5829300"/>
              <a:gd name="connsiteY11" fmla="*/ 472431 h 3981450"/>
              <a:gd name="connsiteX12" fmla="*/ 5356870 w 5829300"/>
              <a:gd name="connsiteY12" fmla="*/ 0 h 3981450"/>
              <a:gd name="connsiteX13" fmla="*/ 473088 w 5829300"/>
              <a:gd name="connsiteY13" fmla="*/ 260718 h 3981450"/>
              <a:gd name="connsiteX14" fmla="*/ 5356870 w 5829300"/>
              <a:gd name="connsiteY14" fmla="*/ 260718 h 3981450"/>
              <a:gd name="connsiteX15" fmla="*/ 5568582 w 5829300"/>
              <a:gd name="connsiteY15" fmla="*/ 472431 h 3981450"/>
              <a:gd name="connsiteX16" fmla="*/ 5568582 w 5829300"/>
              <a:gd name="connsiteY16" fmla="*/ 867756 h 3981450"/>
              <a:gd name="connsiteX17" fmla="*/ 261376 w 5829300"/>
              <a:gd name="connsiteY17" fmla="*/ 867756 h 3981450"/>
              <a:gd name="connsiteX18" fmla="*/ 261376 w 5829300"/>
              <a:gd name="connsiteY18" fmla="*/ 472431 h 3981450"/>
              <a:gd name="connsiteX19" fmla="*/ 473088 w 5829300"/>
              <a:gd name="connsiteY19" fmla="*/ 260718 h 3981450"/>
              <a:gd name="connsiteX20" fmla="*/ 5568582 w 5829300"/>
              <a:gd name="connsiteY20" fmla="*/ 1510084 h 3981450"/>
              <a:gd name="connsiteX21" fmla="*/ 261376 w 5829300"/>
              <a:gd name="connsiteY21" fmla="*/ 1510084 h 3981450"/>
              <a:gd name="connsiteX22" fmla="*/ 261376 w 5829300"/>
              <a:gd name="connsiteY22" fmla="*/ 1121940 h 3981450"/>
              <a:gd name="connsiteX23" fmla="*/ 5568582 w 5829300"/>
              <a:gd name="connsiteY23" fmla="*/ 1121940 h 3981450"/>
              <a:gd name="connsiteX24" fmla="*/ 5568582 w 5829300"/>
              <a:gd name="connsiteY24" fmla="*/ 1510084 h 3981450"/>
              <a:gd name="connsiteX25" fmla="*/ 5568582 w 5829300"/>
              <a:gd name="connsiteY25" fmla="*/ 1510084 h 3981450"/>
              <a:gd name="connsiteX26" fmla="*/ 5356870 w 5829300"/>
              <a:gd name="connsiteY26" fmla="*/ 3725885 h 3981450"/>
              <a:gd name="connsiteX27" fmla="*/ 473088 w 5829300"/>
              <a:gd name="connsiteY27" fmla="*/ 3725885 h 3981450"/>
              <a:gd name="connsiteX28" fmla="*/ 261376 w 5829300"/>
              <a:gd name="connsiteY28" fmla="*/ 3514173 h 3981450"/>
              <a:gd name="connsiteX29" fmla="*/ 261376 w 5829300"/>
              <a:gd name="connsiteY29" fmla="*/ 1771459 h 3981450"/>
              <a:gd name="connsiteX30" fmla="*/ 5568582 w 5829300"/>
              <a:gd name="connsiteY30" fmla="*/ 1771459 h 3981450"/>
              <a:gd name="connsiteX31" fmla="*/ 5568582 w 5829300"/>
              <a:gd name="connsiteY31" fmla="*/ 3507638 h 3981450"/>
              <a:gd name="connsiteX32" fmla="*/ 5356870 w 5829300"/>
              <a:gd name="connsiteY32" fmla="*/ 3725885 h 3981450"/>
              <a:gd name="connsiteX33" fmla="*/ 4961535 w 5829300"/>
              <a:gd name="connsiteY33" fmla="*/ 2469985 h 3981450"/>
              <a:gd name="connsiteX34" fmla="*/ 4834766 w 5829300"/>
              <a:gd name="connsiteY34" fmla="*/ 2596753 h 3981450"/>
              <a:gd name="connsiteX35" fmla="*/ 3479549 w 5829300"/>
              <a:gd name="connsiteY35" fmla="*/ 2596753 h 3981450"/>
              <a:gd name="connsiteX36" fmla="*/ 3352781 w 5829300"/>
              <a:gd name="connsiteY36" fmla="*/ 2469985 h 3981450"/>
              <a:gd name="connsiteX37" fmla="*/ 3479549 w 5829300"/>
              <a:gd name="connsiteY37" fmla="*/ 2343217 h 3981450"/>
              <a:gd name="connsiteX38" fmla="*/ 4827585 w 5829300"/>
              <a:gd name="connsiteY38" fmla="*/ 2343217 h 3981450"/>
              <a:gd name="connsiteX39" fmla="*/ 4961535 w 5829300"/>
              <a:gd name="connsiteY39" fmla="*/ 2469985 h 3981450"/>
              <a:gd name="connsiteX40" fmla="*/ 4961535 w 5829300"/>
              <a:gd name="connsiteY40" fmla="*/ 3161319 h 3981450"/>
              <a:gd name="connsiteX41" fmla="*/ 4834766 w 5829300"/>
              <a:gd name="connsiteY41" fmla="*/ 3288087 h 3981450"/>
              <a:gd name="connsiteX42" fmla="*/ 4058488 w 5829300"/>
              <a:gd name="connsiteY42" fmla="*/ 3288087 h 3981450"/>
              <a:gd name="connsiteX43" fmla="*/ 3931720 w 5829300"/>
              <a:gd name="connsiteY43" fmla="*/ 3161319 h 3981450"/>
              <a:gd name="connsiteX44" fmla="*/ 4058488 w 5829300"/>
              <a:gd name="connsiteY44" fmla="*/ 3034551 h 3981450"/>
              <a:gd name="connsiteX45" fmla="*/ 4834766 w 5829300"/>
              <a:gd name="connsiteY45" fmla="*/ 3034551 h 3981450"/>
              <a:gd name="connsiteX46" fmla="*/ 4961535 w 5829300"/>
              <a:gd name="connsiteY46" fmla="*/ 3161319 h 398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829300" h="3981450">
                <a:moveTo>
                  <a:pt x="5356870" y="0"/>
                </a:moveTo>
                <a:lnTo>
                  <a:pt x="473088" y="0"/>
                </a:lnTo>
                <a:cubicBezTo>
                  <a:pt x="211712" y="0"/>
                  <a:pt x="0" y="211712"/>
                  <a:pt x="0" y="473088"/>
                </a:cubicBezTo>
                <a:lnTo>
                  <a:pt x="0" y="995182"/>
                </a:lnTo>
                <a:lnTo>
                  <a:pt x="0" y="1644701"/>
                </a:lnTo>
                <a:lnTo>
                  <a:pt x="0" y="3514830"/>
                </a:lnTo>
                <a:cubicBezTo>
                  <a:pt x="0" y="3776205"/>
                  <a:pt x="211712" y="3987918"/>
                  <a:pt x="473088" y="3987918"/>
                </a:cubicBezTo>
                <a:lnTo>
                  <a:pt x="5356870" y="3987918"/>
                </a:lnTo>
                <a:cubicBezTo>
                  <a:pt x="5618245" y="3987918"/>
                  <a:pt x="5829957" y="3776205"/>
                  <a:pt x="5829957" y="3514830"/>
                </a:cubicBezTo>
                <a:lnTo>
                  <a:pt x="5829957" y="1644044"/>
                </a:lnTo>
                <a:lnTo>
                  <a:pt x="5829957" y="994524"/>
                </a:lnTo>
                <a:lnTo>
                  <a:pt x="5829957" y="472431"/>
                </a:lnTo>
                <a:cubicBezTo>
                  <a:pt x="5829300" y="211712"/>
                  <a:pt x="5617588" y="0"/>
                  <a:pt x="5356870" y="0"/>
                </a:cubicBezTo>
                <a:close/>
                <a:moveTo>
                  <a:pt x="473088" y="260718"/>
                </a:moveTo>
                <a:lnTo>
                  <a:pt x="5356870" y="260718"/>
                </a:lnTo>
                <a:cubicBezTo>
                  <a:pt x="5469912" y="260718"/>
                  <a:pt x="5568582" y="352196"/>
                  <a:pt x="5568582" y="472431"/>
                </a:cubicBezTo>
                <a:lnTo>
                  <a:pt x="5568582" y="867756"/>
                </a:lnTo>
                <a:lnTo>
                  <a:pt x="261376" y="867756"/>
                </a:lnTo>
                <a:lnTo>
                  <a:pt x="261376" y="472431"/>
                </a:lnTo>
                <a:cubicBezTo>
                  <a:pt x="261376" y="360045"/>
                  <a:pt x="353511" y="260718"/>
                  <a:pt x="473088" y="260718"/>
                </a:cubicBezTo>
                <a:close/>
                <a:moveTo>
                  <a:pt x="5568582" y="1510084"/>
                </a:moveTo>
                <a:lnTo>
                  <a:pt x="261376" y="1510084"/>
                </a:lnTo>
                <a:lnTo>
                  <a:pt x="261376" y="1121940"/>
                </a:lnTo>
                <a:lnTo>
                  <a:pt x="5568582" y="1121940"/>
                </a:lnTo>
                <a:lnTo>
                  <a:pt x="5568582" y="1510084"/>
                </a:lnTo>
                <a:lnTo>
                  <a:pt x="5568582" y="1510084"/>
                </a:lnTo>
                <a:close/>
                <a:moveTo>
                  <a:pt x="5356870" y="3725885"/>
                </a:moveTo>
                <a:lnTo>
                  <a:pt x="473088" y="3725885"/>
                </a:lnTo>
                <a:cubicBezTo>
                  <a:pt x="360045" y="3725885"/>
                  <a:pt x="261376" y="3634407"/>
                  <a:pt x="261376" y="3514173"/>
                </a:cubicBezTo>
                <a:lnTo>
                  <a:pt x="261376" y="1771459"/>
                </a:lnTo>
                <a:lnTo>
                  <a:pt x="5568582" y="1771459"/>
                </a:lnTo>
                <a:lnTo>
                  <a:pt x="5568582" y="3507638"/>
                </a:lnTo>
                <a:cubicBezTo>
                  <a:pt x="5568582" y="3627215"/>
                  <a:pt x="5476447" y="3725885"/>
                  <a:pt x="5356870" y="3725885"/>
                </a:cubicBezTo>
                <a:close/>
                <a:moveTo>
                  <a:pt x="4961535" y="2469985"/>
                </a:moveTo>
                <a:cubicBezTo>
                  <a:pt x="4961535" y="2540556"/>
                  <a:pt x="4905337" y="2596753"/>
                  <a:pt x="4834766" y="2596753"/>
                </a:cubicBezTo>
                <a:lnTo>
                  <a:pt x="3479549" y="2596753"/>
                </a:lnTo>
                <a:cubicBezTo>
                  <a:pt x="3408979" y="2596753"/>
                  <a:pt x="3352781" y="2540556"/>
                  <a:pt x="3352781" y="2469985"/>
                </a:cubicBezTo>
                <a:cubicBezTo>
                  <a:pt x="3352781" y="2399414"/>
                  <a:pt x="3408979" y="2343217"/>
                  <a:pt x="3479549" y="2343217"/>
                </a:cubicBezTo>
                <a:lnTo>
                  <a:pt x="4827585" y="2343217"/>
                </a:lnTo>
                <a:cubicBezTo>
                  <a:pt x="4898155" y="2336035"/>
                  <a:pt x="4961535" y="2392223"/>
                  <a:pt x="4961535" y="2469985"/>
                </a:cubicBezTo>
                <a:close/>
                <a:moveTo>
                  <a:pt x="4961535" y="3161319"/>
                </a:moveTo>
                <a:cubicBezTo>
                  <a:pt x="4961535" y="3231890"/>
                  <a:pt x="4905337" y="3288087"/>
                  <a:pt x="4834766" y="3288087"/>
                </a:cubicBezTo>
                <a:lnTo>
                  <a:pt x="4058488" y="3288087"/>
                </a:lnTo>
                <a:cubicBezTo>
                  <a:pt x="3987917" y="3288087"/>
                  <a:pt x="3931720" y="3231890"/>
                  <a:pt x="3931720" y="3161319"/>
                </a:cubicBezTo>
                <a:cubicBezTo>
                  <a:pt x="3931720" y="3090748"/>
                  <a:pt x="3987917" y="3034551"/>
                  <a:pt x="4058488" y="3034551"/>
                </a:cubicBezTo>
                <a:lnTo>
                  <a:pt x="4834766" y="3034551"/>
                </a:lnTo>
                <a:cubicBezTo>
                  <a:pt x="4898155" y="3034551"/>
                  <a:pt x="4961535" y="3090748"/>
                  <a:pt x="4961535" y="316131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0" name="Forma libre 330">
            <a:extLst>
              <a:ext uri="{FF2B5EF4-FFF2-40B4-BE49-F238E27FC236}">
                <a16:creationId xmlns:a16="http://schemas.microsoft.com/office/drawing/2014/main" xmlns="" id="{4AF2563F-7847-394C-A4D9-CA6335ECC82E}"/>
              </a:ext>
            </a:extLst>
          </p:cNvPr>
          <p:cNvSpPr/>
          <p:nvPr/>
        </p:nvSpPr>
        <p:spPr>
          <a:xfrm>
            <a:off x="7211508" y="4714208"/>
            <a:ext cx="301338" cy="285556"/>
          </a:xfrm>
          <a:custGeom>
            <a:avLst/>
            <a:gdLst>
              <a:gd name="connsiteX0" fmla="*/ 5337315 w 5819775"/>
              <a:gd name="connsiteY0" fmla="*/ 15907 h 5514975"/>
              <a:gd name="connsiteX1" fmla="*/ 4516860 w 5819775"/>
              <a:gd name="connsiteY1" fmla="*/ 15907 h 5514975"/>
              <a:gd name="connsiteX2" fmla="*/ 4016912 w 5819775"/>
              <a:gd name="connsiteY2" fmla="*/ 515855 h 5514975"/>
              <a:gd name="connsiteX3" fmla="*/ 4016912 w 5819775"/>
              <a:gd name="connsiteY3" fmla="*/ 539010 h 5514975"/>
              <a:gd name="connsiteX4" fmla="*/ 3759346 w 5819775"/>
              <a:gd name="connsiteY4" fmla="*/ 273482 h 5514975"/>
              <a:gd name="connsiteX5" fmla="*/ 3032941 w 5819775"/>
              <a:gd name="connsiteY5" fmla="*/ 0 h 5514975"/>
              <a:gd name="connsiteX6" fmla="*/ 1187996 w 5819775"/>
              <a:gd name="connsiteY6" fmla="*/ 0 h 5514975"/>
              <a:gd name="connsiteX7" fmla="*/ 593998 w 5819775"/>
              <a:gd name="connsiteY7" fmla="*/ 242373 h 5514975"/>
              <a:gd name="connsiteX8" fmla="*/ 265528 w 5819775"/>
              <a:gd name="connsiteY8" fmla="*/ 586035 h 5514975"/>
              <a:gd name="connsiteX9" fmla="*/ 0 w 5819775"/>
              <a:gd name="connsiteY9" fmla="*/ 1273369 h 5514975"/>
              <a:gd name="connsiteX10" fmla="*/ 0 w 5819775"/>
              <a:gd name="connsiteY10" fmla="*/ 2750049 h 5514975"/>
              <a:gd name="connsiteX11" fmla="*/ 0 w 5819775"/>
              <a:gd name="connsiteY11" fmla="*/ 2765965 h 5514975"/>
              <a:gd name="connsiteX12" fmla="*/ 133121 w 5819775"/>
              <a:gd name="connsiteY12" fmla="*/ 3070565 h 5514975"/>
              <a:gd name="connsiteX13" fmla="*/ 344386 w 5819775"/>
              <a:gd name="connsiteY13" fmla="*/ 3289068 h 5514975"/>
              <a:gd name="connsiteX14" fmla="*/ 782107 w 5819775"/>
              <a:gd name="connsiteY14" fmla="*/ 3500333 h 5514975"/>
              <a:gd name="connsiteX15" fmla="*/ 1633680 w 5819775"/>
              <a:gd name="connsiteY15" fmla="*/ 3500333 h 5514975"/>
              <a:gd name="connsiteX16" fmla="*/ 1633680 w 5819775"/>
              <a:gd name="connsiteY16" fmla="*/ 3531442 h 5514975"/>
              <a:gd name="connsiteX17" fmla="*/ 1633680 w 5819775"/>
              <a:gd name="connsiteY17" fmla="*/ 5251218 h 5514975"/>
              <a:gd name="connsiteX18" fmla="*/ 1633680 w 5819775"/>
              <a:gd name="connsiteY18" fmla="*/ 5267135 h 5514975"/>
              <a:gd name="connsiteX19" fmla="*/ 1915125 w 5819775"/>
              <a:gd name="connsiteY19" fmla="*/ 5517471 h 5514975"/>
              <a:gd name="connsiteX20" fmla="*/ 2438219 w 5819775"/>
              <a:gd name="connsiteY20" fmla="*/ 5517471 h 5514975"/>
              <a:gd name="connsiteX21" fmla="*/ 2734856 w 5819775"/>
              <a:gd name="connsiteY21" fmla="*/ 5275098 h 5514975"/>
              <a:gd name="connsiteX22" fmla="*/ 3031493 w 5819775"/>
              <a:gd name="connsiteY22" fmla="*/ 4197068 h 5514975"/>
              <a:gd name="connsiteX23" fmla="*/ 4008225 w 5819775"/>
              <a:gd name="connsiteY23" fmla="*/ 3181264 h 5514975"/>
              <a:gd name="connsiteX24" fmla="*/ 4508173 w 5819775"/>
              <a:gd name="connsiteY24" fmla="*/ 3618986 h 5514975"/>
              <a:gd name="connsiteX25" fmla="*/ 5328628 w 5819775"/>
              <a:gd name="connsiteY25" fmla="*/ 3618986 h 5514975"/>
              <a:gd name="connsiteX26" fmla="*/ 5828567 w 5819775"/>
              <a:gd name="connsiteY26" fmla="*/ 3119047 h 5514975"/>
              <a:gd name="connsiteX27" fmla="*/ 5828567 w 5819775"/>
              <a:gd name="connsiteY27" fmla="*/ 539734 h 5514975"/>
              <a:gd name="connsiteX28" fmla="*/ 5337315 w 5819775"/>
              <a:gd name="connsiteY28" fmla="*/ 15907 h 5514975"/>
              <a:gd name="connsiteX29" fmla="*/ 2805760 w 5819775"/>
              <a:gd name="connsiteY29" fmla="*/ 4008949 h 5514975"/>
              <a:gd name="connsiteX30" fmla="*/ 2766689 w 5819775"/>
              <a:gd name="connsiteY30" fmla="*/ 4071166 h 5514975"/>
              <a:gd name="connsiteX31" fmla="*/ 2462089 w 5819775"/>
              <a:gd name="connsiteY31" fmla="*/ 5181029 h 5514975"/>
              <a:gd name="connsiteX32" fmla="*/ 2446173 w 5819775"/>
              <a:gd name="connsiteY32" fmla="*/ 5212138 h 5514975"/>
              <a:gd name="connsiteX33" fmla="*/ 1930308 w 5819775"/>
              <a:gd name="connsiteY33" fmla="*/ 5212138 h 5514975"/>
              <a:gd name="connsiteX34" fmla="*/ 1930308 w 5819775"/>
              <a:gd name="connsiteY34" fmla="*/ 3516963 h 5514975"/>
              <a:gd name="connsiteX35" fmla="*/ 1695888 w 5819775"/>
              <a:gd name="connsiteY35" fmla="*/ 3196447 h 5514975"/>
              <a:gd name="connsiteX36" fmla="*/ 1672733 w 5819775"/>
              <a:gd name="connsiteY36" fmla="*/ 3196447 h 5514975"/>
              <a:gd name="connsiteX37" fmla="*/ 797290 w 5819775"/>
              <a:gd name="connsiteY37" fmla="*/ 3196447 h 5514975"/>
              <a:gd name="connsiteX38" fmla="*/ 562870 w 5819775"/>
              <a:gd name="connsiteY38" fmla="*/ 3079242 h 5514975"/>
              <a:gd name="connsiteX39" fmla="*/ 344367 w 5819775"/>
              <a:gd name="connsiteY39" fmla="*/ 2860739 h 5514975"/>
              <a:gd name="connsiteX40" fmla="*/ 289379 w 5819775"/>
              <a:gd name="connsiteY40" fmla="*/ 2735571 h 5514975"/>
              <a:gd name="connsiteX41" fmla="*/ 289379 w 5819775"/>
              <a:gd name="connsiteY41" fmla="*/ 1274093 h 5514975"/>
              <a:gd name="connsiteX42" fmla="*/ 476764 w 5819775"/>
              <a:gd name="connsiteY42" fmla="*/ 782107 h 5514975"/>
              <a:gd name="connsiteX43" fmla="*/ 797281 w 5819775"/>
              <a:gd name="connsiteY43" fmla="*/ 446399 h 5514975"/>
              <a:gd name="connsiteX44" fmla="*/ 1180014 w 5819775"/>
              <a:gd name="connsiteY44" fmla="*/ 290122 h 5514975"/>
              <a:gd name="connsiteX45" fmla="*/ 3024235 w 5819775"/>
              <a:gd name="connsiteY45" fmla="*/ 290122 h 5514975"/>
              <a:gd name="connsiteX46" fmla="*/ 3548053 w 5819775"/>
              <a:gd name="connsiteY46" fmla="*/ 477507 h 5514975"/>
              <a:gd name="connsiteX47" fmla="*/ 4008930 w 5819775"/>
              <a:gd name="connsiteY47" fmla="*/ 962254 h 5514975"/>
              <a:gd name="connsiteX48" fmla="*/ 4008930 w 5819775"/>
              <a:gd name="connsiteY48" fmla="*/ 2759450 h 5514975"/>
              <a:gd name="connsiteX49" fmla="*/ 2805760 w 5819775"/>
              <a:gd name="connsiteY49" fmla="*/ 4008949 h 5514975"/>
              <a:gd name="connsiteX50" fmla="*/ 5548580 w 5819775"/>
              <a:gd name="connsiteY50" fmla="*/ 3102397 h 5514975"/>
              <a:gd name="connsiteX51" fmla="*/ 5337315 w 5819775"/>
              <a:gd name="connsiteY51" fmla="*/ 3313662 h 5514975"/>
              <a:gd name="connsiteX52" fmla="*/ 4516860 w 5819775"/>
              <a:gd name="connsiteY52" fmla="*/ 3313662 h 5514975"/>
              <a:gd name="connsiteX53" fmla="*/ 4305596 w 5819775"/>
              <a:gd name="connsiteY53" fmla="*/ 3102397 h 5514975"/>
              <a:gd name="connsiteX54" fmla="*/ 4305596 w 5819775"/>
              <a:gd name="connsiteY54" fmla="*/ 2820953 h 5514975"/>
              <a:gd name="connsiteX55" fmla="*/ 4305596 w 5819775"/>
              <a:gd name="connsiteY55" fmla="*/ 2812990 h 5514975"/>
              <a:gd name="connsiteX56" fmla="*/ 4313558 w 5819775"/>
              <a:gd name="connsiteY56" fmla="*/ 914505 h 5514975"/>
              <a:gd name="connsiteX57" fmla="*/ 4305596 w 5819775"/>
              <a:gd name="connsiteY57" fmla="*/ 859517 h 5514975"/>
              <a:gd name="connsiteX58" fmla="*/ 4305596 w 5819775"/>
              <a:gd name="connsiteY58" fmla="*/ 523808 h 5514975"/>
              <a:gd name="connsiteX59" fmla="*/ 4516860 w 5819775"/>
              <a:gd name="connsiteY59" fmla="*/ 312544 h 5514975"/>
              <a:gd name="connsiteX60" fmla="*/ 5337315 w 5819775"/>
              <a:gd name="connsiteY60" fmla="*/ 312544 h 5514975"/>
              <a:gd name="connsiteX61" fmla="*/ 5548580 w 5819775"/>
              <a:gd name="connsiteY61" fmla="*/ 523808 h 5514975"/>
              <a:gd name="connsiteX62" fmla="*/ 5548580 w 5819775"/>
              <a:gd name="connsiteY62" fmla="*/ 3102397 h 5514975"/>
              <a:gd name="connsiteX63" fmla="*/ 5071787 w 5819775"/>
              <a:gd name="connsiteY63" fmla="*/ 2704462 h 5514975"/>
              <a:gd name="connsiteX64" fmla="*/ 4915510 w 5819775"/>
              <a:gd name="connsiteY64" fmla="*/ 2860739 h 5514975"/>
              <a:gd name="connsiteX65" fmla="*/ 4759233 w 5819775"/>
              <a:gd name="connsiteY65" fmla="*/ 2704462 h 5514975"/>
              <a:gd name="connsiteX66" fmla="*/ 4915510 w 5819775"/>
              <a:gd name="connsiteY66" fmla="*/ 2548185 h 5514975"/>
              <a:gd name="connsiteX67" fmla="*/ 5071787 w 5819775"/>
              <a:gd name="connsiteY67" fmla="*/ 2704462 h 551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5819775" h="5514975">
                <a:moveTo>
                  <a:pt x="5337315" y="15907"/>
                </a:moveTo>
                <a:lnTo>
                  <a:pt x="4516860" y="15907"/>
                </a:lnTo>
                <a:cubicBezTo>
                  <a:pt x="4235415" y="15907"/>
                  <a:pt x="4016912" y="242364"/>
                  <a:pt x="4016912" y="515855"/>
                </a:cubicBezTo>
                <a:lnTo>
                  <a:pt x="4016912" y="539010"/>
                </a:lnTo>
                <a:lnTo>
                  <a:pt x="3759346" y="273482"/>
                </a:lnTo>
                <a:cubicBezTo>
                  <a:pt x="3697129" y="211265"/>
                  <a:pt x="3454746" y="0"/>
                  <a:pt x="3032941" y="0"/>
                </a:cubicBezTo>
                <a:lnTo>
                  <a:pt x="1187996" y="0"/>
                </a:lnTo>
                <a:cubicBezTo>
                  <a:pt x="1125779" y="0"/>
                  <a:pt x="813216" y="15916"/>
                  <a:pt x="593998" y="242373"/>
                </a:cubicBezTo>
                <a:lnTo>
                  <a:pt x="265528" y="586035"/>
                </a:lnTo>
                <a:cubicBezTo>
                  <a:pt x="187385" y="672132"/>
                  <a:pt x="0" y="914505"/>
                  <a:pt x="0" y="1273369"/>
                </a:cubicBezTo>
                <a:lnTo>
                  <a:pt x="0" y="2750049"/>
                </a:lnTo>
                <a:cubicBezTo>
                  <a:pt x="0" y="2758011"/>
                  <a:pt x="0" y="2758011"/>
                  <a:pt x="0" y="2765965"/>
                </a:cubicBezTo>
                <a:cubicBezTo>
                  <a:pt x="7963" y="2883170"/>
                  <a:pt x="54988" y="2984468"/>
                  <a:pt x="133121" y="3070565"/>
                </a:cubicBezTo>
                <a:lnTo>
                  <a:pt x="344386" y="3289068"/>
                </a:lnTo>
                <a:cubicBezTo>
                  <a:pt x="508625" y="3461261"/>
                  <a:pt x="680095" y="3492370"/>
                  <a:pt x="782107" y="3500333"/>
                </a:cubicBezTo>
                <a:lnTo>
                  <a:pt x="1633680" y="3500333"/>
                </a:lnTo>
                <a:cubicBezTo>
                  <a:pt x="1633680" y="3508296"/>
                  <a:pt x="1633680" y="3516249"/>
                  <a:pt x="1633680" y="3531442"/>
                </a:cubicBezTo>
                <a:lnTo>
                  <a:pt x="1633680" y="5251218"/>
                </a:lnTo>
                <a:cubicBezTo>
                  <a:pt x="1633680" y="5259181"/>
                  <a:pt x="1633680" y="5259181"/>
                  <a:pt x="1633680" y="5267135"/>
                </a:cubicBezTo>
                <a:cubicBezTo>
                  <a:pt x="1649597" y="5415458"/>
                  <a:pt x="1758849" y="5517471"/>
                  <a:pt x="1915125" y="5517471"/>
                </a:cubicBezTo>
                <a:lnTo>
                  <a:pt x="2438219" y="5517471"/>
                </a:lnTo>
                <a:cubicBezTo>
                  <a:pt x="2617651" y="5517471"/>
                  <a:pt x="2711701" y="5369147"/>
                  <a:pt x="2734856" y="5275098"/>
                </a:cubicBezTo>
                <a:lnTo>
                  <a:pt x="3031493" y="4197068"/>
                </a:lnTo>
                <a:lnTo>
                  <a:pt x="4008225" y="3181264"/>
                </a:lnTo>
                <a:cubicBezTo>
                  <a:pt x="4039334" y="3431601"/>
                  <a:pt x="4250598" y="3618986"/>
                  <a:pt x="4508173" y="3618986"/>
                </a:cubicBezTo>
                <a:lnTo>
                  <a:pt x="5328628" y="3618986"/>
                </a:lnTo>
                <a:cubicBezTo>
                  <a:pt x="5610073" y="3618986"/>
                  <a:pt x="5828567" y="3392529"/>
                  <a:pt x="5828567" y="3119047"/>
                </a:cubicBezTo>
                <a:lnTo>
                  <a:pt x="5828567" y="539734"/>
                </a:lnTo>
                <a:cubicBezTo>
                  <a:pt x="5837263" y="243088"/>
                  <a:pt x="5618760" y="15907"/>
                  <a:pt x="5337315" y="15907"/>
                </a:cubicBezTo>
                <a:close/>
                <a:moveTo>
                  <a:pt x="2805760" y="4008949"/>
                </a:moveTo>
                <a:cubicBezTo>
                  <a:pt x="2789844" y="4024865"/>
                  <a:pt x="2774652" y="4048020"/>
                  <a:pt x="2766689" y="4071166"/>
                </a:cubicBezTo>
                <a:lnTo>
                  <a:pt x="2462089" y="5181029"/>
                </a:lnTo>
                <a:cubicBezTo>
                  <a:pt x="2462089" y="5188991"/>
                  <a:pt x="2446173" y="5204184"/>
                  <a:pt x="2446173" y="5212138"/>
                </a:cubicBezTo>
                <a:lnTo>
                  <a:pt x="1930308" y="5212138"/>
                </a:lnTo>
                <a:lnTo>
                  <a:pt x="1930308" y="3516963"/>
                </a:lnTo>
                <a:cubicBezTo>
                  <a:pt x="1930308" y="3313662"/>
                  <a:pt x="1805140" y="3220327"/>
                  <a:pt x="1695888" y="3196447"/>
                </a:cubicBezTo>
                <a:cubicBezTo>
                  <a:pt x="1687925" y="3196447"/>
                  <a:pt x="1679972" y="3196447"/>
                  <a:pt x="1672733" y="3196447"/>
                </a:cubicBezTo>
                <a:lnTo>
                  <a:pt x="797290" y="3196447"/>
                </a:lnTo>
                <a:cubicBezTo>
                  <a:pt x="750265" y="3196447"/>
                  <a:pt x="648967" y="3173292"/>
                  <a:pt x="562870" y="3079242"/>
                </a:cubicBezTo>
                <a:lnTo>
                  <a:pt x="344367" y="2860739"/>
                </a:lnTo>
                <a:cubicBezTo>
                  <a:pt x="313258" y="2829630"/>
                  <a:pt x="289379" y="2782595"/>
                  <a:pt x="289379" y="2735571"/>
                </a:cubicBezTo>
                <a:lnTo>
                  <a:pt x="289379" y="1274093"/>
                </a:lnTo>
                <a:cubicBezTo>
                  <a:pt x="289379" y="1008564"/>
                  <a:pt x="437702" y="828408"/>
                  <a:pt x="476764" y="782107"/>
                </a:cubicBezTo>
                <a:lnTo>
                  <a:pt x="797281" y="446399"/>
                </a:lnTo>
                <a:cubicBezTo>
                  <a:pt x="937641" y="298075"/>
                  <a:pt x="1156868" y="290122"/>
                  <a:pt x="1180014" y="290122"/>
                </a:cubicBezTo>
                <a:lnTo>
                  <a:pt x="3024235" y="290122"/>
                </a:lnTo>
                <a:cubicBezTo>
                  <a:pt x="3344751" y="290122"/>
                  <a:pt x="3516221" y="446399"/>
                  <a:pt x="3548053" y="477507"/>
                </a:cubicBezTo>
                <a:lnTo>
                  <a:pt x="4008930" y="962254"/>
                </a:lnTo>
                <a:lnTo>
                  <a:pt x="4008930" y="2759450"/>
                </a:lnTo>
                <a:lnTo>
                  <a:pt x="2805760" y="4008949"/>
                </a:lnTo>
                <a:close/>
                <a:moveTo>
                  <a:pt x="5548580" y="3102397"/>
                </a:moveTo>
                <a:cubicBezTo>
                  <a:pt x="5548580" y="3219602"/>
                  <a:pt x="5454520" y="3313662"/>
                  <a:pt x="5337315" y="3313662"/>
                </a:cubicBezTo>
                <a:lnTo>
                  <a:pt x="4516860" y="3313662"/>
                </a:lnTo>
                <a:cubicBezTo>
                  <a:pt x="4399655" y="3313662"/>
                  <a:pt x="4305596" y="3219602"/>
                  <a:pt x="4305596" y="3102397"/>
                </a:cubicBezTo>
                <a:lnTo>
                  <a:pt x="4305596" y="2820953"/>
                </a:lnTo>
                <a:cubicBezTo>
                  <a:pt x="4305596" y="2820953"/>
                  <a:pt x="4305596" y="2820953"/>
                  <a:pt x="4305596" y="2812990"/>
                </a:cubicBezTo>
                <a:lnTo>
                  <a:pt x="4313558" y="914505"/>
                </a:lnTo>
                <a:cubicBezTo>
                  <a:pt x="4313558" y="898589"/>
                  <a:pt x="4313558" y="875433"/>
                  <a:pt x="4305596" y="859517"/>
                </a:cubicBezTo>
                <a:lnTo>
                  <a:pt x="4305596" y="523808"/>
                </a:lnTo>
                <a:cubicBezTo>
                  <a:pt x="4305596" y="406603"/>
                  <a:pt x="4399655" y="312544"/>
                  <a:pt x="4516860" y="312544"/>
                </a:cubicBezTo>
                <a:lnTo>
                  <a:pt x="5337315" y="312544"/>
                </a:lnTo>
                <a:cubicBezTo>
                  <a:pt x="5454520" y="312544"/>
                  <a:pt x="5548580" y="406603"/>
                  <a:pt x="5548580" y="523808"/>
                </a:cubicBezTo>
                <a:lnTo>
                  <a:pt x="5548580" y="3102397"/>
                </a:lnTo>
                <a:close/>
                <a:moveTo>
                  <a:pt x="5071787" y="2704462"/>
                </a:moveTo>
                <a:cubicBezTo>
                  <a:pt x="5071787" y="2790558"/>
                  <a:pt x="5001607" y="2860739"/>
                  <a:pt x="4915510" y="2860739"/>
                </a:cubicBezTo>
                <a:cubicBezTo>
                  <a:pt x="4829413" y="2860739"/>
                  <a:pt x="4759233" y="2790558"/>
                  <a:pt x="4759233" y="2704462"/>
                </a:cubicBezTo>
                <a:cubicBezTo>
                  <a:pt x="4759233" y="2618366"/>
                  <a:pt x="4829413" y="2548185"/>
                  <a:pt x="4915510" y="2548185"/>
                </a:cubicBezTo>
                <a:cubicBezTo>
                  <a:pt x="5001607" y="2548185"/>
                  <a:pt x="5071787" y="2618366"/>
                  <a:pt x="5071787" y="270446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1" name="Forma libre 332">
            <a:extLst>
              <a:ext uri="{FF2B5EF4-FFF2-40B4-BE49-F238E27FC236}">
                <a16:creationId xmlns:a16="http://schemas.microsoft.com/office/drawing/2014/main" xmlns="" id="{A10CCE92-8C89-AA44-832D-1F88612613BD}"/>
              </a:ext>
            </a:extLst>
          </p:cNvPr>
          <p:cNvSpPr/>
          <p:nvPr/>
        </p:nvSpPr>
        <p:spPr>
          <a:xfrm>
            <a:off x="7282232" y="5923582"/>
            <a:ext cx="261838" cy="354647"/>
          </a:xfrm>
          <a:custGeom>
            <a:avLst/>
            <a:gdLst>
              <a:gd name="connsiteX0" fmla="*/ 5058269 w 5056909"/>
              <a:gd name="connsiteY0" fmla="*/ 1957119 h 6849340"/>
              <a:gd name="connsiteX1" fmla="*/ 5058269 w 5056909"/>
              <a:gd name="connsiteY1" fmla="*/ 1957119 h 6849340"/>
              <a:gd name="connsiteX2" fmla="*/ 5041375 w 5056909"/>
              <a:gd name="connsiteY2" fmla="*/ 1915659 h 6849340"/>
              <a:gd name="connsiteX3" fmla="*/ 5032932 w 5056909"/>
              <a:gd name="connsiteY3" fmla="*/ 1907217 h 6849340"/>
              <a:gd name="connsiteX4" fmla="*/ 5008366 w 5056909"/>
              <a:gd name="connsiteY4" fmla="*/ 1874200 h 6849340"/>
              <a:gd name="connsiteX5" fmla="*/ 5008366 w 5056909"/>
              <a:gd name="connsiteY5" fmla="*/ 1874200 h 6849340"/>
              <a:gd name="connsiteX6" fmla="*/ 3175626 w 5056909"/>
              <a:gd name="connsiteY6" fmla="*/ 49902 h 6849340"/>
              <a:gd name="connsiteX7" fmla="*/ 3175626 w 5056909"/>
              <a:gd name="connsiteY7" fmla="*/ 49902 h 6849340"/>
              <a:gd name="connsiteX8" fmla="*/ 3175626 w 5056909"/>
              <a:gd name="connsiteY8" fmla="*/ 49902 h 6849340"/>
              <a:gd name="connsiteX9" fmla="*/ 3175626 w 5056909"/>
              <a:gd name="connsiteY9" fmla="*/ 49902 h 6849340"/>
              <a:gd name="connsiteX10" fmla="*/ 3142609 w 5056909"/>
              <a:gd name="connsiteY10" fmla="*/ 25337 h 6849340"/>
              <a:gd name="connsiteX11" fmla="*/ 3134167 w 5056909"/>
              <a:gd name="connsiteY11" fmla="*/ 16894 h 6849340"/>
              <a:gd name="connsiteX12" fmla="*/ 3101150 w 5056909"/>
              <a:gd name="connsiteY12" fmla="*/ 0 h 6849340"/>
              <a:gd name="connsiteX13" fmla="*/ 3101150 w 5056909"/>
              <a:gd name="connsiteY13" fmla="*/ 0 h 6849340"/>
              <a:gd name="connsiteX14" fmla="*/ 3076584 w 5056909"/>
              <a:gd name="connsiteY14" fmla="*/ 0 h 6849340"/>
              <a:gd name="connsiteX15" fmla="*/ 439180 w 5056909"/>
              <a:gd name="connsiteY15" fmla="*/ 0 h 6849340"/>
              <a:gd name="connsiteX16" fmla="*/ 0 w 5056909"/>
              <a:gd name="connsiteY16" fmla="*/ 439180 h 6849340"/>
              <a:gd name="connsiteX17" fmla="*/ 0 w 5056909"/>
              <a:gd name="connsiteY17" fmla="*/ 6418049 h 6849340"/>
              <a:gd name="connsiteX18" fmla="*/ 439180 w 5056909"/>
              <a:gd name="connsiteY18" fmla="*/ 6857229 h 6849340"/>
              <a:gd name="connsiteX19" fmla="*/ 4618318 w 5056909"/>
              <a:gd name="connsiteY19" fmla="*/ 6857229 h 6849340"/>
              <a:gd name="connsiteX20" fmla="*/ 5057498 w 5056909"/>
              <a:gd name="connsiteY20" fmla="*/ 6418049 h 6849340"/>
              <a:gd name="connsiteX21" fmla="*/ 5057498 w 5056909"/>
              <a:gd name="connsiteY21" fmla="*/ 1990136 h 6849340"/>
              <a:gd name="connsiteX22" fmla="*/ 5058269 w 5056909"/>
              <a:gd name="connsiteY22" fmla="*/ 1957119 h 6849340"/>
              <a:gd name="connsiteX23" fmla="*/ 4535398 w 5056909"/>
              <a:gd name="connsiteY23" fmla="*/ 1832731 h 6849340"/>
              <a:gd name="connsiteX24" fmla="*/ 3225529 w 5056909"/>
              <a:gd name="connsiteY24" fmla="*/ 1832731 h 6849340"/>
              <a:gd name="connsiteX25" fmla="*/ 3225529 w 5056909"/>
              <a:gd name="connsiteY25" fmla="*/ 530543 h 6849340"/>
              <a:gd name="connsiteX26" fmla="*/ 4535398 w 5056909"/>
              <a:gd name="connsiteY26" fmla="*/ 1832731 h 6849340"/>
              <a:gd name="connsiteX27" fmla="*/ 4751157 w 5056909"/>
              <a:gd name="connsiteY27" fmla="*/ 6418041 h 6849340"/>
              <a:gd name="connsiteX28" fmla="*/ 4618326 w 5056909"/>
              <a:gd name="connsiteY28" fmla="*/ 6550871 h 6849340"/>
              <a:gd name="connsiteX29" fmla="*/ 439189 w 5056909"/>
              <a:gd name="connsiteY29" fmla="*/ 6550871 h 6849340"/>
              <a:gd name="connsiteX30" fmla="*/ 306359 w 5056909"/>
              <a:gd name="connsiteY30" fmla="*/ 6418041 h 6849340"/>
              <a:gd name="connsiteX31" fmla="*/ 306359 w 5056909"/>
              <a:gd name="connsiteY31" fmla="*/ 447623 h 6849340"/>
              <a:gd name="connsiteX32" fmla="*/ 439189 w 5056909"/>
              <a:gd name="connsiteY32" fmla="*/ 314793 h 6849340"/>
              <a:gd name="connsiteX33" fmla="*/ 2918417 w 5056909"/>
              <a:gd name="connsiteY33" fmla="*/ 314793 h 6849340"/>
              <a:gd name="connsiteX34" fmla="*/ 2918417 w 5056909"/>
              <a:gd name="connsiteY34" fmla="*/ 1981685 h 6849340"/>
              <a:gd name="connsiteX35" fmla="*/ 3067371 w 5056909"/>
              <a:gd name="connsiteY35" fmla="*/ 2130639 h 6849340"/>
              <a:gd name="connsiteX36" fmla="*/ 4742714 w 5056909"/>
              <a:gd name="connsiteY36" fmla="*/ 2130639 h 6849340"/>
              <a:gd name="connsiteX37" fmla="*/ 4742714 w 5056909"/>
              <a:gd name="connsiteY37" fmla="*/ 6418041 h 6849340"/>
              <a:gd name="connsiteX38" fmla="*/ 4751157 w 5056909"/>
              <a:gd name="connsiteY38" fmla="*/ 6418041 h 6849340"/>
              <a:gd name="connsiteX39" fmla="*/ 4751157 w 5056909"/>
              <a:gd name="connsiteY39" fmla="*/ 6418041 h 6849340"/>
              <a:gd name="connsiteX40" fmla="*/ 4046307 w 5056909"/>
              <a:gd name="connsiteY40" fmla="*/ 4817944 h 6849340"/>
              <a:gd name="connsiteX41" fmla="*/ 3897353 w 5056909"/>
              <a:gd name="connsiteY41" fmla="*/ 4966898 h 6849340"/>
              <a:gd name="connsiteX42" fmla="*/ 1135579 w 5056909"/>
              <a:gd name="connsiteY42" fmla="*/ 4966898 h 6849340"/>
              <a:gd name="connsiteX43" fmla="*/ 986625 w 5056909"/>
              <a:gd name="connsiteY43" fmla="*/ 4817944 h 6849340"/>
              <a:gd name="connsiteX44" fmla="*/ 1135579 w 5056909"/>
              <a:gd name="connsiteY44" fmla="*/ 4668991 h 6849340"/>
              <a:gd name="connsiteX45" fmla="*/ 3896591 w 5056909"/>
              <a:gd name="connsiteY45" fmla="*/ 4668991 h 6849340"/>
              <a:gd name="connsiteX46" fmla="*/ 4046307 w 5056909"/>
              <a:gd name="connsiteY46" fmla="*/ 4817944 h 6849340"/>
              <a:gd name="connsiteX47" fmla="*/ 4046307 w 5056909"/>
              <a:gd name="connsiteY47" fmla="*/ 5730093 h 6849340"/>
              <a:gd name="connsiteX48" fmla="*/ 3897353 w 5056909"/>
              <a:gd name="connsiteY48" fmla="*/ 5879047 h 6849340"/>
              <a:gd name="connsiteX49" fmla="*/ 1135579 w 5056909"/>
              <a:gd name="connsiteY49" fmla="*/ 5879047 h 6849340"/>
              <a:gd name="connsiteX50" fmla="*/ 986625 w 5056909"/>
              <a:gd name="connsiteY50" fmla="*/ 5730093 h 6849340"/>
              <a:gd name="connsiteX51" fmla="*/ 1135579 w 5056909"/>
              <a:gd name="connsiteY51" fmla="*/ 5581139 h 6849340"/>
              <a:gd name="connsiteX52" fmla="*/ 3896591 w 5056909"/>
              <a:gd name="connsiteY52" fmla="*/ 5581139 h 6849340"/>
              <a:gd name="connsiteX53" fmla="*/ 4046307 w 5056909"/>
              <a:gd name="connsiteY53" fmla="*/ 5730093 h 6849340"/>
              <a:gd name="connsiteX54" fmla="*/ 4046307 w 5056909"/>
              <a:gd name="connsiteY54" fmla="*/ 3905796 h 6849340"/>
              <a:gd name="connsiteX55" fmla="*/ 3897353 w 5056909"/>
              <a:gd name="connsiteY55" fmla="*/ 4054749 h 6849340"/>
              <a:gd name="connsiteX56" fmla="*/ 1135579 w 5056909"/>
              <a:gd name="connsiteY56" fmla="*/ 4054749 h 6849340"/>
              <a:gd name="connsiteX57" fmla="*/ 986625 w 5056909"/>
              <a:gd name="connsiteY57" fmla="*/ 3905796 h 6849340"/>
              <a:gd name="connsiteX58" fmla="*/ 1135579 w 5056909"/>
              <a:gd name="connsiteY58" fmla="*/ 3756842 h 6849340"/>
              <a:gd name="connsiteX59" fmla="*/ 3896591 w 5056909"/>
              <a:gd name="connsiteY59" fmla="*/ 3756842 h 6849340"/>
              <a:gd name="connsiteX60" fmla="*/ 4046307 w 5056909"/>
              <a:gd name="connsiteY60" fmla="*/ 3905796 h 6849340"/>
              <a:gd name="connsiteX61" fmla="*/ 1135579 w 5056909"/>
              <a:gd name="connsiteY61" fmla="*/ 2843923 h 6849340"/>
              <a:gd name="connsiteX62" fmla="*/ 3896591 w 5056909"/>
              <a:gd name="connsiteY62" fmla="*/ 2843923 h 6849340"/>
              <a:gd name="connsiteX63" fmla="*/ 4045545 w 5056909"/>
              <a:gd name="connsiteY63" fmla="*/ 2992876 h 6849340"/>
              <a:gd name="connsiteX64" fmla="*/ 3896591 w 5056909"/>
              <a:gd name="connsiteY64" fmla="*/ 3141830 h 6849340"/>
              <a:gd name="connsiteX65" fmla="*/ 1135579 w 5056909"/>
              <a:gd name="connsiteY65" fmla="*/ 3141830 h 6849340"/>
              <a:gd name="connsiteX66" fmla="*/ 986625 w 5056909"/>
              <a:gd name="connsiteY66" fmla="*/ 2992876 h 6849340"/>
              <a:gd name="connsiteX67" fmla="*/ 1135579 w 5056909"/>
              <a:gd name="connsiteY67" fmla="*/ 2843923 h 6849340"/>
              <a:gd name="connsiteX68" fmla="*/ 978174 w 5056909"/>
              <a:gd name="connsiteY68" fmla="*/ 2089179 h 6849340"/>
              <a:gd name="connsiteX69" fmla="*/ 1127128 w 5056909"/>
              <a:gd name="connsiteY69" fmla="*/ 1940225 h 6849340"/>
              <a:gd name="connsiteX70" fmla="*/ 2080736 w 5056909"/>
              <a:gd name="connsiteY70" fmla="*/ 1940225 h 6849340"/>
              <a:gd name="connsiteX71" fmla="*/ 2229690 w 5056909"/>
              <a:gd name="connsiteY71" fmla="*/ 2089179 h 6849340"/>
              <a:gd name="connsiteX72" fmla="*/ 2080736 w 5056909"/>
              <a:gd name="connsiteY72" fmla="*/ 2238133 h 6849340"/>
              <a:gd name="connsiteX73" fmla="*/ 1135579 w 5056909"/>
              <a:gd name="connsiteY73" fmla="*/ 2238133 h 6849340"/>
              <a:gd name="connsiteX74" fmla="*/ 978174 w 5056909"/>
              <a:gd name="connsiteY74" fmla="*/ 2089179 h 6849340"/>
              <a:gd name="connsiteX75" fmla="*/ 978174 w 5056909"/>
              <a:gd name="connsiteY75" fmla="*/ 1185473 h 6849340"/>
              <a:gd name="connsiteX76" fmla="*/ 1127128 w 5056909"/>
              <a:gd name="connsiteY76" fmla="*/ 1036519 h 6849340"/>
              <a:gd name="connsiteX77" fmla="*/ 2080736 w 5056909"/>
              <a:gd name="connsiteY77" fmla="*/ 1036519 h 6849340"/>
              <a:gd name="connsiteX78" fmla="*/ 2229690 w 5056909"/>
              <a:gd name="connsiteY78" fmla="*/ 1185473 h 6849340"/>
              <a:gd name="connsiteX79" fmla="*/ 2080736 w 5056909"/>
              <a:gd name="connsiteY79" fmla="*/ 1334427 h 6849340"/>
              <a:gd name="connsiteX80" fmla="*/ 1135579 w 5056909"/>
              <a:gd name="connsiteY80" fmla="*/ 1334427 h 6849340"/>
              <a:gd name="connsiteX81" fmla="*/ 978174 w 5056909"/>
              <a:gd name="connsiteY81" fmla="*/ 1185473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056909" h="6849340">
                <a:moveTo>
                  <a:pt x="5058269" y="1957119"/>
                </a:moveTo>
                <a:lnTo>
                  <a:pt x="5058269" y="1957119"/>
                </a:lnTo>
                <a:cubicBezTo>
                  <a:pt x="5058269" y="1940225"/>
                  <a:pt x="5049826" y="1932553"/>
                  <a:pt x="5041375" y="1915659"/>
                </a:cubicBezTo>
                <a:cubicBezTo>
                  <a:pt x="5041375" y="1915659"/>
                  <a:pt x="5041375" y="1907217"/>
                  <a:pt x="5032932" y="1907217"/>
                </a:cubicBezTo>
                <a:cubicBezTo>
                  <a:pt x="5024490" y="1898774"/>
                  <a:pt x="5016038" y="1882651"/>
                  <a:pt x="5008366" y="1874200"/>
                </a:cubicBezTo>
                <a:lnTo>
                  <a:pt x="5008366" y="1874200"/>
                </a:lnTo>
                <a:lnTo>
                  <a:pt x="3175626" y="49902"/>
                </a:lnTo>
                <a:lnTo>
                  <a:pt x="3175626" y="49902"/>
                </a:lnTo>
                <a:lnTo>
                  <a:pt x="3175626" y="49902"/>
                </a:lnTo>
                <a:lnTo>
                  <a:pt x="3175626" y="49902"/>
                </a:lnTo>
                <a:cubicBezTo>
                  <a:pt x="3167184" y="41460"/>
                  <a:pt x="3158733" y="33008"/>
                  <a:pt x="3142609" y="25337"/>
                </a:cubicBezTo>
                <a:cubicBezTo>
                  <a:pt x="3142609" y="25337"/>
                  <a:pt x="3134167" y="25337"/>
                  <a:pt x="3134167" y="16894"/>
                </a:cubicBezTo>
                <a:cubicBezTo>
                  <a:pt x="3125724" y="8451"/>
                  <a:pt x="3109601" y="8451"/>
                  <a:pt x="3101150" y="0"/>
                </a:cubicBezTo>
                <a:lnTo>
                  <a:pt x="3101150" y="0"/>
                </a:lnTo>
                <a:cubicBezTo>
                  <a:pt x="3092707" y="0"/>
                  <a:pt x="3084256" y="0"/>
                  <a:pt x="3076584" y="0"/>
                </a:cubicBezTo>
                <a:lnTo>
                  <a:pt x="439180" y="0"/>
                </a:lnTo>
                <a:cubicBezTo>
                  <a:pt x="198856" y="0"/>
                  <a:pt x="0" y="198865"/>
                  <a:pt x="0" y="439180"/>
                </a:cubicBezTo>
                <a:lnTo>
                  <a:pt x="0" y="6418049"/>
                </a:lnTo>
                <a:cubicBezTo>
                  <a:pt x="0" y="6658374"/>
                  <a:pt x="198865" y="6857229"/>
                  <a:pt x="439180" y="6857229"/>
                </a:cubicBezTo>
                <a:lnTo>
                  <a:pt x="4618318" y="6857229"/>
                </a:lnTo>
                <a:cubicBezTo>
                  <a:pt x="4858642" y="6857229"/>
                  <a:pt x="5057498" y="6658365"/>
                  <a:pt x="5057498" y="6418049"/>
                </a:cubicBezTo>
                <a:lnTo>
                  <a:pt x="5057498" y="1990136"/>
                </a:lnTo>
                <a:cubicBezTo>
                  <a:pt x="5058269" y="1973242"/>
                  <a:pt x="5058269" y="1964791"/>
                  <a:pt x="5058269" y="1957119"/>
                </a:cubicBezTo>
                <a:close/>
                <a:moveTo>
                  <a:pt x="4535398" y="1832731"/>
                </a:moveTo>
                <a:lnTo>
                  <a:pt x="3225529" y="1832731"/>
                </a:lnTo>
                <a:lnTo>
                  <a:pt x="3225529" y="530543"/>
                </a:lnTo>
                <a:lnTo>
                  <a:pt x="4535398" y="1832731"/>
                </a:lnTo>
                <a:close/>
                <a:moveTo>
                  <a:pt x="4751157" y="6418041"/>
                </a:moveTo>
                <a:cubicBezTo>
                  <a:pt x="4751157" y="6492518"/>
                  <a:pt x="4692803" y="6550871"/>
                  <a:pt x="4618326" y="6550871"/>
                </a:cubicBezTo>
                <a:lnTo>
                  <a:pt x="439189" y="6550871"/>
                </a:lnTo>
                <a:cubicBezTo>
                  <a:pt x="364712" y="6550871"/>
                  <a:pt x="306359" y="6492518"/>
                  <a:pt x="306359" y="6418041"/>
                </a:cubicBezTo>
                <a:lnTo>
                  <a:pt x="306359" y="447623"/>
                </a:lnTo>
                <a:cubicBezTo>
                  <a:pt x="306359" y="373146"/>
                  <a:pt x="364712" y="314793"/>
                  <a:pt x="439189" y="314793"/>
                </a:cubicBezTo>
                <a:lnTo>
                  <a:pt x="2918417" y="314793"/>
                </a:lnTo>
                <a:lnTo>
                  <a:pt x="2918417" y="1981685"/>
                </a:lnTo>
                <a:cubicBezTo>
                  <a:pt x="2918417" y="2064604"/>
                  <a:pt x="2984451" y="2130639"/>
                  <a:pt x="3067371" y="2130639"/>
                </a:cubicBezTo>
                <a:lnTo>
                  <a:pt x="4742714" y="2130639"/>
                </a:lnTo>
                <a:lnTo>
                  <a:pt x="4742714" y="6418041"/>
                </a:lnTo>
                <a:lnTo>
                  <a:pt x="4751157" y="6418041"/>
                </a:lnTo>
                <a:lnTo>
                  <a:pt x="4751157" y="6418041"/>
                </a:lnTo>
                <a:close/>
                <a:moveTo>
                  <a:pt x="4046307" y="4817944"/>
                </a:moveTo>
                <a:cubicBezTo>
                  <a:pt x="4046307" y="4900864"/>
                  <a:pt x="3980273" y="4966898"/>
                  <a:pt x="3897353" y="4966898"/>
                </a:cubicBezTo>
                <a:lnTo>
                  <a:pt x="1135579" y="4966898"/>
                </a:lnTo>
                <a:cubicBezTo>
                  <a:pt x="1052660" y="4966898"/>
                  <a:pt x="986625" y="4900864"/>
                  <a:pt x="986625" y="4817944"/>
                </a:cubicBezTo>
                <a:cubicBezTo>
                  <a:pt x="986625" y="4735025"/>
                  <a:pt x="1052660" y="4668991"/>
                  <a:pt x="1135579" y="4668991"/>
                </a:cubicBezTo>
                <a:lnTo>
                  <a:pt x="3896591" y="4668991"/>
                </a:lnTo>
                <a:cubicBezTo>
                  <a:pt x="3980281" y="4659777"/>
                  <a:pt x="4046307" y="4726574"/>
                  <a:pt x="4046307" y="4817944"/>
                </a:cubicBezTo>
                <a:close/>
                <a:moveTo>
                  <a:pt x="4046307" y="5730093"/>
                </a:moveTo>
                <a:cubicBezTo>
                  <a:pt x="4046307" y="5813013"/>
                  <a:pt x="3980273" y="5879047"/>
                  <a:pt x="3897353" y="5879047"/>
                </a:cubicBezTo>
                <a:lnTo>
                  <a:pt x="1135579" y="5879047"/>
                </a:lnTo>
                <a:cubicBezTo>
                  <a:pt x="1052660" y="5879047"/>
                  <a:pt x="986625" y="5813013"/>
                  <a:pt x="986625" y="5730093"/>
                </a:cubicBezTo>
                <a:cubicBezTo>
                  <a:pt x="986625" y="5647174"/>
                  <a:pt x="1052660" y="5581139"/>
                  <a:pt x="1135579" y="5581139"/>
                </a:cubicBezTo>
                <a:lnTo>
                  <a:pt x="3896591" y="5581139"/>
                </a:lnTo>
                <a:cubicBezTo>
                  <a:pt x="3980281" y="5580369"/>
                  <a:pt x="4046307" y="5647165"/>
                  <a:pt x="4046307" y="5730093"/>
                </a:cubicBezTo>
                <a:close/>
                <a:moveTo>
                  <a:pt x="4046307" y="3905796"/>
                </a:moveTo>
                <a:cubicBezTo>
                  <a:pt x="4046307" y="3988715"/>
                  <a:pt x="3980273" y="4054749"/>
                  <a:pt x="3897353" y="4054749"/>
                </a:cubicBezTo>
                <a:lnTo>
                  <a:pt x="1135579" y="4054749"/>
                </a:lnTo>
                <a:cubicBezTo>
                  <a:pt x="1052660" y="4054749"/>
                  <a:pt x="986625" y="3988715"/>
                  <a:pt x="986625" y="3905796"/>
                </a:cubicBezTo>
                <a:cubicBezTo>
                  <a:pt x="986625" y="3822876"/>
                  <a:pt x="1052660" y="3756842"/>
                  <a:pt x="1135579" y="3756842"/>
                </a:cubicBezTo>
                <a:lnTo>
                  <a:pt x="3896591" y="3756842"/>
                </a:lnTo>
                <a:cubicBezTo>
                  <a:pt x="3980281" y="3756071"/>
                  <a:pt x="4046307" y="3822876"/>
                  <a:pt x="4046307" y="3905796"/>
                </a:cubicBezTo>
                <a:close/>
                <a:moveTo>
                  <a:pt x="1135579" y="2843923"/>
                </a:moveTo>
                <a:lnTo>
                  <a:pt x="3896591" y="2843923"/>
                </a:lnTo>
                <a:cubicBezTo>
                  <a:pt x="3979511" y="2843923"/>
                  <a:pt x="4045545" y="2909957"/>
                  <a:pt x="4045545" y="2992876"/>
                </a:cubicBezTo>
                <a:cubicBezTo>
                  <a:pt x="4045545" y="3075796"/>
                  <a:pt x="3979511" y="3141830"/>
                  <a:pt x="3896591" y="3141830"/>
                </a:cubicBezTo>
                <a:lnTo>
                  <a:pt x="1135579" y="3141830"/>
                </a:lnTo>
                <a:cubicBezTo>
                  <a:pt x="1052660" y="3141830"/>
                  <a:pt x="986625" y="3075796"/>
                  <a:pt x="986625" y="2992876"/>
                </a:cubicBezTo>
                <a:cubicBezTo>
                  <a:pt x="978174" y="2918399"/>
                  <a:pt x="1052651" y="2843923"/>
                  <a:pt x="1135579" y="2843923"/>
                </a:cubicBezTo>
                <a:close/>
                <a:moveTo>
                  <a:pt x="978174" y="2089179"/>
                </a:moveTo>
                <a:cubicBezTo>
                  <a:pt x="978174" y="2006260"/>
                  <a:pt x="1044208" y="1940225"/>
                  <a:pt x="1127128" y="1940225"/>
                </a:cubicBezTo>
                <a:lnTo>
                  <a:pt x="2080736" y="1940225"/>
                </a:lnTo>
                <a:cubicBezTo>
                  <a:pt x="2163656" y="1940225"/>
                  <a:pt x="2229690" y="2006260"/>
                  <a:pt x="2229690" y="2089179"/>
                </a:cubicBezTo>
                <a:cubicBezTo>
                  <a:pt x="2229690" y="2172098"/>
                  <a:pt x="2163656" y="2238133"/>
                  <a:pt x="2080736" y="2238133"/>
                </a:cubicBezTo>
                <a:lnTo>
                  <a:pt x="1135579" y="2238133"/>
                </a:lnTo>
                <a:cubicBezTo>
                  <a:pt x="1052651" y="2247346"/>
                  <a:pt x="978174" y="2180550"/>
                  <a:pt x="978174" y="2089179"/>
                </a:cubicBezTo>
                <a:close/>
                <a:moveTo>
                  <a:pt x="978174" y="1185473"/>
                </a:moveTo>
                <a:cubicBezTo>
                  <a:pt x="978174" y="1102553"/>
                  <a:pt x="1044208" y="1036519"/>
                  <a:pt x="1127128" y="1036519"/>
                </a:cubicBezTo>
                <a:lnTo>
                  <a:pt x="2080736" y="1036519"/>
                </a:lnTo>
                <a:cubicBezTo>
                  <a:pt x="2163656" y="1036519"/>
                  <a:pt x="2229690" y="1102553"/>
                  <a:pt x="2229690" y="1185473"/>
                </a:cubicBezTo>
                <a:cubicBezTo>
                  <a:pt x="2229690" y="1268392"/>
                  <a:pt x="2163656" y="1334427"/>
                  <a:pt x="2080736" y="1334427"/>
                </a:cubicBezTo>
                <a:lnTo>
                  <a:pt x="1135579" y="1334427"/>
                </a:lnTo>
                <a:cubicBezTo>
                  <a:pt x="1052651" y="1335197"/>
                  <a:pt x="978174" y="1268401"/>
                  <a:pt x="978174" y="1185473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2" name="Forma libre 334">
            <a:extLst>
              <a:ext uri="{FF2B5EF4-FFF2-40B4-BE49-F238E27FC236}">
                <a16:creationId xmlns:a16="http://schemas.microsoft.com/office/drawing/2014/main" xmlns="" id="{77323AFA-BC1F-5F4C-A485-C6225B960E7C}"/>
              </a:ext>
            </a:extLst>
          </p:cNvPr>
          <p:cNvSpPr/>
          <p:nvPr/>
        </p:nvSpPr>
        <p:spPr>
          <a:xfrm>
            <a:off x="5022026" y="3973949"/>
            <a:ext cx="301017" cy="307914"/>
          </a:xfrm>
          <a:custGeom>
            <a:avLst/>
            <a:gdLst>
              <a:gd name="connsiteX0" fmla="*/ 5404382 w 5813577"/>
              <a:gd name="connsiteY0" fmla="*/ 4364084 h 5946785"/>
              <a:gd name="connsiteX1" fmla="*/ 3090987 w 5813577"/>
              <a:gd name="connsiteY1" fmla="*/ 4364084 h 5946785"/>
              <a:gd name="connsiteX2" fmla="*/ 3125745 w 5813577"/>
              <a:gd name="connsiteY2" fmla="*/ 4338213 h 5946785"/>
              <a:gd name="connsiteX3" fmla="*/ 4278403 w 5813577"/>
              <a:gd name="connsiteY3" fmla="*/ 3141910 h 5946785"/>
              <a:gd name="connsiteX4" fmla="*/ 4347918 w 5813577"/>
              <a:gd name="connsiteY4" fmla="*/ 2914772 h 5946785"/>
              <a:gd name="connsiteX5" fmla="*/ 4182217 w 5813577"/>
              <a:gd name="connsiteY5" fmla="*/ 2783828 h 5946785"/>
              <a:gd name="connsiteX6" fmla="*/ 4156356 w 5813577"/>
              <a:gd name="connsiteY6" fmla="*/ 2783828 h 5946785"/>
              <a:gd name="connsiteX7" fmla="*/ 3666521 w 5813577"/>
              <a:gd name="connsiteY7" fmla="*/ 2783828 h 5946785"/>
              <a:gd name="connsiteX8" fmla="*/ 3666521 w 5813577"/>
              <a:gd name="connsiteY8" fmla="*/ 156814 h 5946785"/>
              <a:gd name="connsiteX9" fmla="*/ 3509698 w 5813577"/>
              <a:gd name="connsiteY9" fmla="*/ 0 h 5946785"/>
              <a:gd name="connsiteX10" fmla="*/ 2313395 w 5813577"/>
              <a:gd name="connsiteY10" fmla="*/ 0 h 5946785"/>
              <a:gd name="connsiteX11" fmla="*/ 2156580 w 5813577"/>
              <a:gd name="connsiteY11" fmla="*/ 156814 h 5946785"/>
              <a:gd name="connsiteX12" fmla="*/ 2156580 w 5813577"/>
              <a:gd name="connsiteY12" fmla="*/ 2784646 h 5946785"/>
              <a:gd name="connsiteX13" fmla="*/ 1676442 w 5813577"/>
              <a:gd name="connsiteY13" fmla="*/ 2784646 h 5946785"/>
              <a:gd name="connsiteX14" fmla="*/ 1658658 w 5813577"/>
              <a:gd name="connsiteY14" fmla="*/ 2784646 h 5946785"/>
              <a:gd name="connsiteX15" fmla="*/ 1475174 w 5813577"/>
              <a:gd name="connsiteY15" fmla="*/ 2915590 h 5946785"/>
              <a:gd name="connsiteX16" fmla="*/ 1536602 w 5813577"/>
              <a:gd name="connsiteY16" fmla="*/ 3142729 h 5946785"/>
              <a:gd name="connsiteX17" fmla="*/ 2680364 w 5813577"/>
              <a:gd name="connsiteY17" fmla="*/ 4329336 h 5946785"/>
              <a:gd name="connsiteX18" fmla="*/ 2715122 w 5813577"/>
              <a:gd name="connsiteY18" fmla="*/ 4364094 h 5946785"/>
              <a:gd name="connsiteX19" fmla="*/ 410623 w 5813577"/>
              <a:gd name="connsiteY19" fmla="*/ 4364094 h 5946785"/>
              <a:gd name="connsiteX20" fmla="*/ 0 w 5813577"/>
              <a:gd name="connsiteY20" fmla="*/ 4774717 h 5946785"/>
              <a:gd name="connsiteX21" fmla="*/ 0 w 5813577"/>
              <a:gd name="connsiteY21" fmla="*/ 5542613 h 5946785"/>
              <a:gd name="connsiteX22" fmla="*/ 410623 w 5813577"/>
              <a:gd name="connsiteY22" fmla="*/ 5953236 h 5946785"/>
              <a:gd name="connsiteX23" fmla="*/ 5412469 w 5813577"/>
              <a:gd name="connsiteY23" fmla="*/ 5953236 h 5946785"/>
              <a:gd name="connsiteX24" fmla="*/ 5823092 w 5813577"/>
              <a:gd name="connsiteY24" fmla="*/ 5542613 h 5946785"/>
              <a:gd name="connsiteX25" fmla="*/ 5823092 w 5813577"/>
              <a:gd name="connsiteY25" fmla="*/ 4774717 h 5946785"/>
              <a:gd name="connsiteX26" fmla="*/ 5404382 w 5813577"/>
              <a:gd name="connsiteY26" fmla="*/ 4364084 h 5946785"/>
              <a:gd name="connsiteX27" fmla="*/ 1956112 w 5813577"/>
              <a:gd name="connsiteY27" fmla="*/ 3116049 h 5946785"/>
              <a:gd name="connsiteX28" fmla="*/ 2314194 w 5813577"/>
              <a:gd name="connsiteY28" fmla="*/ 3116049 h 5946785"/>
              <a:gd name="connsiteX29" fmla="*/ 2471008 w 5813577"/>
              <a:gd name="connsiteY29" fmla="*/ 2959235 h 5946785"/>
              <a:gd name="connsiteX30" fmla="*/ 2471008 w 5813577"/>
              <a:gd name="connsiteY30" fmla="*/ 322516 h 5946785"/>
              <a:gd name="connsiteX31" fmla="*/ 3335100 w 5813577"/>
              <a:gd name="connsiteY31" fmla="*/ 322516 h 5946785"/>
              <a:gd name="connsiteX32" fmla="*/ 3335100 w 5813577"/>
              <a:gd name="connsiteY32" fmla="*/ 2950348 h 5946785"/>
              <a:gd name="connsiteX33" fmla="*/ 3491914 w 5813577"/>
              <a:gd name="connsiteY33" fmla="*/ 3107162 h 5946785"/>
              <a:gd name="connsiteX34" fmla="*/ 3849996 w 5813577"/>
              <a:gd name="connsiteY34" fmla="*/ 3107162 h 5946785"/>
              <a:gd name="connsiteX35" fmla="*/ 2907502 w 5813577"/>
              <a:gd name="connsiteY35" fmla="*/ 4094110 h 5946785"/>
              <a:gd name="connsiteX36" fmla="*/ 1956112 w 5813577"/>
              <a:gd name="connsiteY36" fmla="*/ 3116049 h 5946785"/>
              <a:gd name="connsiteX37" fmla="*/ 5499768 w 5813577"/>
              <a:gd name="connsiteY37" fmla="*/ 5551500 h 5946785"/>
              <a:gd name="connsiteX38" fmla="*/ 5412469 w 5813577"/>
              <a:gd name="connsiteY38" fmla="*/ 5638799 h 5946785"/>
              <a:gd name="connsiteX39" fmla="*/ 410623 w 5813577"/>
              <a:gd name="connsiteY39" fmla="*/ 5638799 h 5946785"/>
              <a:gd name="connsiteX40" fmla="*/ 323324 w 5813577"/>
              <a:gd name="connsiteY40" fmla="*/ 5551500 h 5946785"/>
              <a:gd name="connsiteX41" fmla="*/ 323324 w 5813577"/>
              <a:gd name="connsiteY41" fmla="*/ 4783604 h 5946785"/>
              <a:gd name="connsiteX42" fmla="*/ 410623 w 5813577"/>
              <a:gd name="connsiteY42" fmla="*/ 4696305 h 5946785"/>
              <a:gd name="connsiteX43" fmla="*/ 5412469 w 5813577"/>
              <a:gd name="connsiteY43" fmla="*/ 4696305 h 5946785"/>
              <a:gd name="connsiteX44" fmla="*/ 5499768 w 5813577"/>
              <a:gd name="connsiteY44" fmla="*/ 4783604 h 5946785"/>
              <a:gd name="connsiteX45" fmla="*/ 5499768 w 5813577"/>
              <a:gd name="connsiteY45" fmla="*/ 5551500 h 5946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813577" h="5946785">
                <a:moveTo>
                  <a:pt x="5404382" y="4364084"/>
                </a:moveTo>
                <a:lnTo>
                  <a:pt x="3090987" y="4364084"/>
                </a:lnTo>
                <a:cubicBezTo>
                  <a:pt x="3108770" y="4355197"/>
                  <a:pt x="3116858" y="4346301"/>
                  <a:pt x="3125745" y="4338213"/>
                </a:cubicBezTo>
                <a:lnTo>
                  <a:pt x="4278403" y="3141910"/>
                </a:lnTo>
                <a:cubicBezTo>
                  <a:pt x="4365702" y="3054612"/>
                  <a:pt x="4365702" y="2967313"/>
                  <a:pt x="4347918" y="2914772"/>
                </a:cubicBezTo>
                <a:cubicBezTo>
                  <a:pt x="4339032" y="2880014"/>
                  <a:pt x="4295378" y="2801612"/>
                  <a:pt x="4182217" y="2783828"/>
                </a:cubicBezTo>
                <a:cubicBezTo>
                  <a:pt x="4173330" y="2783828"/>
                  <a:pt x="4164434" y="2783828"/>
                  <a:pt x="4156356" y="2783828"/>
                </a:cubicBezTo>
                <a:lnTo>
                  <a:pt x="3666521" y="2783828"/>
                </a:lnTo>
                <a:lnTo>
                  <a:pt x="3666521" y="156814"/>
                </a:lnTo>
                <a:cubicBezTo>
                  <a:pt x="3666512" y="69516"/>
                  <a:pt x="3596996" y="0"/>
                  <a:pt x="3509698" y="0"/>
                </a:cubicBezTo>
                <a:lnTo>
                  <a:pt x="2313395" y="0"/>
                </a:lnTo>
                <a:cubicBezTo>
                  <a:pt x="2226096" y="0"/>
                  <a:pt x="2156580" y="69516"/>
                  <a:pt x="2156580" y="156814"/>
                </a:cubicBezTo>
                <a:lnTo>
                  <a:pt x="2156580" y="2784646"/>
                </a:lnTo>
                <a:lnTo>
                  <a:pt x="1676442" y="2784646"/>
                </a:lnTo>
                <a:cubicBezTo>
                  <a:pt x="1667555" y="2784646"/>
                  <a:pt x="1667555" y="2784646"/>
                  <a:pt x="1658658" y="2784646"/>
                </a:cubicBezTo>
                <a:cubicBezTo>
                  <a:pt x="1527715" y="2802430"/>
                  <a:pt x="1484061" y="2880832"/>
                  <a:pt x="1475174" y="2915590"/>
                </a:cubicBezTo>
                <a:cubicBezTo>
                  <a:pt x="1457391" y="2959235"/>
                  <a:pt x="1449303" y="3046534"/>
                  <a:pt x="1536602" y="3142729"/>
                </a:cubicBezTo>
                <a:lnTo>
                  <a:pt x="2680364" y="4329336"/>
                </a:lnTo>
                <a:cubicBezTo>
                  <a:pt x="2689251" y="4338223"/>
                  <a:pt x="2706225" y="4355207"/>
                  <a:pt x="2715122" y="4364094"/>
                </a:cubicBezTo>
                <a:lnTo>
                  <a:pt x="410623" y="4364094"/>
                </a:lnTo>
                <a:cubicBezTo>
                  <a:pt x="183484" y="4364094"/>
                  <a:pt x="0" y="4547578"/>
                  <a:pt x="0" y="4774717"/>
                </a:cubicBezTo>
                <a:lnTo>
                  <a:pt x="0" y="5542613"/>
                </a:lnTo>
                <a:cubicBezTo>
                  <a:pt x="0" y="5769752"/>
                  <a:pt x="183484" y="5953236"/>
                  <a:pt x="410623" y="5953236"/>
                </a:cubicBezTo>
                <a:lnTo>
                  <a:pt x="5412469" y="5953236"/>
                </a:lnTo>
                <a:cubicBezTo>
                  <a:pt x="5639608" y="5953236"/>
                  <a:pt x="5823092" y="5769752"/>
                  <a:pt x="5823092" y="5542613"/>
                </a:cubicBezTo>
                <a:lnTo>
                  <a:pt x="5823092" y="4774717"/>
                </a:lnTo>
                <a:cubicBezTo>
                  <a:pt x="5823092" y="4556465"/>
                  <a:pt x="5630711" y="4364084"/>
                  <a:pt x="5404382" y="4364084"/>
                </a:cubicBezTo>
                <a:close/>
                <a:moveTo>
                  <a:pt x="1956112" y="3116049"/>
                </a:moveTo>
                <a:lnTo>
                  <a:pt x="2314194" y="3116049"/>
                </a:lnTo>
                <a:cubicBezTo>
                  <a:pt x="2401493" y="3116049"/>
                  <a:pt x="2471008" y="3046534"/>
                  <a:pt x="2471008" y="2959235"/>
                </a:cubicBezTo>
                <a:lnTo>
                  <a:pt x="2471008" y="322516"/>
                </a:lnTo>
                <a:lnTo>
                  <a:pt x="3335100" y="322516"/>
                </a:lnTo>
                <a:lnTo>
                  <a:pt x="3335100" y="2950348"/>
                </a:lnTo>
                <a:cubicBezTo>
                  <a:pt x="3335100" y="3037646"/>
                  <a:pt x="3404616" y="3107162"/>
                  <a:pt x="3491914" y="3107162"/>
                </a:cubicBezTo>
                <a:lnTo>
                  <a:pt x="3849996" y="3107162"/>
                </a:lnTo>
                <a:lnTo>
                  <a:pt x="2907502" y="4094110"/>
                </a:lnTo>
                <a:lnTo>
                  <a:pt x="1956112" y="3116049"/>
                </a:lnTo>
                <a:close/>
                <a:moveTo>
                  <a:pt x="5499768" y="5551500"/>
                </a:moveTo>
                <a:cubicBezTo>
                  <a:pt x="5499768" y="5604042"/>
                  <a:pt x="5456123" y="5638799"/>
                  <a:pt x="5412469" y="5638799"/>
                </a:cubicBezTo>
                <a:lnTo>
                  <a:pt x="410623" y="5638799"/>
                </a:lnTo>
                <a:cubicBezTo>
                  <a:pt x="358082" y="5638799"/>
                  <a:pt x="323324" y="5595154"/>
                  <a:pt x="323324" y="5551500"/>
                </a:cubicBezTo>
                <a:lnTo>
                  <a:pt x="323324" y="4783604"/>
                </a:lnTo>
                <a:cubicBezTo>
                  <a:pt x="323324" y="4731063"/>
                  <a:pt x="366969" y="4696305"/>
                  <a:pt x="410623" y="4696305"/>
                </a:cubicBezTo>
                <a:lnTo>
                  <a:pt x="5412469" y="4696305"/>
                </a:lnTo>
                <a:cubicBezTo>
                  <a:pt x="5465010" y="4696305"/>
                  <a:pt x="5499768" y="4739950"/>
                  <a:pt x="5499768" y="4783604"/>
                </a:cubicBezTo>
                <a:lnTo>
                  <a:pt x="5499768" y="5551500"/>
                </a:lnTo>
                <a:close/>
              </a:path>
            </a:pathLst>
          </a:custGeom>
          <a:solidFill>
            <a:schemeClr val="bg1"/>
          </a:solidFill>
          <a:ln w="951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3" name="Forma libre 336">
            <a:extLst>
              <a:ext uri="{FF2B5EF4-FFF2-40B4-BE49-F238E27FC236}">
                <a16:creationId xmlns:a16="http://schemas.microsoft.com/office/drawing/2014/main" xmlns="" id="{B380C987-2F3C-B34D-8129-C2A0CEBE33D0}"/>
              </a:ext>
            </a:extLst>
          </p:cNvPr>
          <p:cNvSpPr/>
          <p:nvPr/>
        </p:nvSpPr>
        <p:spPr>
          <a:xfrm>
            <a:off x="8797561" y="3410471"/>
            <a:ext cx="301339" cy="301339"/>
          </a:xfrm>
          <a:custGeom>
            <a:avLst/>
            <a:gdLst>
              <a:gd name="connsiteX0" fmla="*/ 2910247 w 5819790"/>
              <a:gd name="connsiteY0" fmla="*/ 0 h 5819790"/>
              <a:gd name="connsiteX1" fmla="*/ 0 w 5819790"/>
              <a:gd name="connsiteY1" fmla="*/ 2910247 h 5819790"/>
              <a:gd name="connsiteX2" fmla="*/ 2910247 w 5819790"/>
              <a:gd name="connsiteY2" fmla="*/ 5827550 h 5819790"/>
              <a:gd name="connsiteX3" fmla="*/ 5820495 w 5819790"/>
              <a:gd name="connsiteY3" fmla="*/ 2917303 h 5819790"/>
              <a:gd name="connsiteX4" fmla="*/ 2910247 w 5819790"/>
              <a:gd name="connsiteY4" fmla="*/ 0 h 5819790"/>
              <a:gd name="connsiteX5" fmla="*/ 2910247 w 5819790"/>
              <a:gd name="connsiteY5" fmla="*/ 5545414 h 5819790"/>
              <a:gd name="connsiteX6" fmla="*/ 282136 w 5819790"/>
              <a:gd name="connsiteY6" fmla="*/ 2917303 h 5819790"/>
              <a:gd name="connsiteX7" fmla="*/ 2910247 w 5819790"/>
              <a:gd name="connsiteY7" fmla="*/ 281433 h 5819790"/>
              <a:gd name="connsiteX8" fmla="*/ 5538358 w 5819790"/>
              <a:gd name="connsiteY8" fmla="*/ 2917303 h 5819790"/>
              <a:gd name="connsiteX9" fmla="*/ 2910247 w 5819790"/>
              <a:gd name="connsiteY9" fmla="*/ 5545414 h 5819790"/>
              <a:gd name="connsiteX10" fmla="*/ 3054839 w 5819790"/>
              <a:gd name="connsiteY10" fmla="*/ 4105805 h 5819790"/>
              <a:gd name="connsiteX11" fmla="*/ 2902488 w 5819790"/>
              <a:gd name="connsiteY11" fmla="*/ 4258157 h 5819790"/>
              <a:gd name="connsiteX12" fmla="*/ 2750137 w 5819790"/>
              <a:gd name="connsiteY12" fmla="*/ 4105805 h 5819790"/>
              <a:gd name="connsiteX13" fmla="*/ 2902488 w 5819790"/>
              <a:gd name="connsiteY13" fmla="*/ 3953454 h 5819790"/>
              <a:gd name="connsiteX14" fmla="*/ 3054839 w 5819790"/>
              <a:gd name="connsiteY14" fmla="*/ 4105805 h 5819790"/>
              <a:gd name="connsiteX15" fmla="*/ 2757896 w 5819790"/>
              <a:gd name="connsiteY15" fmla="*/ 3358847 h 5819790"/>
              <a:gd name="connsiteX16" fmla="*/ 2757896 w 5819790"/>
              <a:gd name="connsiteY16" fmla="*/ 1644861 h 5819790"/>
              <a:gd name="connsiteX17" fmla="*/ 2894737 w 5819790"/>
              <a:gd name="connsiteY17" fmla="*/ 1508020 h 5819790"/>
              <a:gd name="connsiteX18" fmla="*/ 3031578 w 5819790"/>
              <a:gd name="connsiteY18" fmla="*/ 1644861 h 5819790"/>
              <a:gd name="connsiteX19" fmla="*/ 3031578 w 5819790"/>
              <a:gd name="connsiteY19" fmla="*/ 3358847 h 5819790"/>
              <a:gd name="connsiteX20" fmla="*/ 2894737 w 5819790"/>
              <a:gd name="connsiteY20" fmla="*/ 3495688 h 5819790"/>
              <a:gd name="connsiteX21" fmla="*/ 2757896 w 5819790"/>
              <a:gd name="connsiteY21" fmla="*/ 3358847 h 581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819790" h="5819790">
                <a:moveTo>
                  <a:pt x="2910247" y="0"/>
                </a:moveTo>
                <a:cubicBezTo>
                  <a:pt x="1302768" y="0"/>
                  <a:pt x="0" y="1302768"/>
                  <a:pt x="0" y="2910247"/>
                </a:cubicBezTo>
                <a:cubicBezTo>
                  <a:pt x="0" y="4517727"/>
                  <a:pt x="1302768" y="5827550"/>
                  <a:pt x="2910247" y="5827550"/>
                </a:cubicBezTo>
                <a:cubicBezTo>
                  <a:pt x="4517727" y="5827550"/>
                  <a:pt x="5820495" y="4517023"/>
                  <a:pt x="5820495" y="2917303"/>
                </a:cubicBezTo>
                <a:cubicBezTo>
                  <a:pt x="5820495" y="1309824"/>
                  <a:pt x="4517727" y="0"/>
                  <a:pt x="2910247" y="0"/>
                </a:cubicBezTo>
                <a:close/>
                <a:moveTo>
                  <a:pt x="2910247" y="5545414"/>
                </a:moveTo>
                <a:cubicBezTo>
                  <a:pt x="1462879" y="5545414"/>
                  <a:pt x="282136" y="4364672"/>
                  <a:pt x="282136" y="2917303"/>
                </a:cubicBezTo>
                <a:cubicBezTo>
                  <a:pt x="282136" y="1469935"/>
                  <a:pt x="1462879" y="281433"/>
                  <a:pt x="2910247" y="281433"/>
                </a:cubicBezTo>
                <a:cubicBezTo>
                  <a:pt x="4357616" y="281433"/>
                  <a:pt x="5538358" y="1462175"/>
                  <a:pt x="5538358" y="2917303"/>
                </a:cubicBezTo>
                <a:cubicBezTo>
                  <a:pt x="5538358" y="4372432"/>
                  <a:pt x="4357616" y="5545414"/>
                  <a:pt x="2910247" y="5545414"/>
                </a:cubicBezTo>
                <a:close/>
                <a:moveTo>
                  <a:pt x="3054839" y="4105805"/>
                </a:moveTo>
                <a:cubicBezTo>
                  <a:pt x="3054839" y="4189745"/>
                  <a:pt x="2986418" y="4258157"/>
                  <a:pt x="2902488" y="4258157"/>
                </a:cubicBezTo>
                <a:cubicBezTo>
                  <a:pt x="2818548" y="4258157"/>
                  <a:pt x="2750137" y="4189736"/>
                  <a:pt x="2750137" y="4105805"/>
                </a:cubicBezTo>
                <a:cubicBezTo>
                  <a:pt x="2750137" y="4021865"/>
                  <a:pt x="2818557" y="3953454"/>
                  <a:pt x="2902488" y="3953454"/>
                </a:cubicBezTo>
                <a:cubicBezTo>
                  <a:pt x="2986418" y="3953454"/>
                  <a:pt x="3054839" y="4021875"/>
                  <a:pt x="3054839" y="4105805"/>
                </a:cubicBezTo>
                <a:close/>
                <a:moveTo>
                  <a:pt x="2757896" y="3358847"/>
                </a:moveTo>
                <a:lnTo>
                  <a:pt x="2757896" y="1644861"/>
                </a:lnTo>
                <a:cubicBezTo>
                  <a:pt x="2757896" y="1568681"/>
                  <a:pt x="2818557" y="1508020"/>
                  <a:pt x="2894737" y="1508020"/>
                </a:cubicBezTo>
                <a:cubicBezTo>
                  <a:pt x="2970918" y="1508020"/>
                  <a:pt x="3031578" y="1568681"/>
                  <a:pt x="3031578" y="1644861"/>
                </a:cubicBezTo>
                <a:lnTo>
                  <a:pt x="3031578" y="3358847"/>
                </a:lnTo>
                <a:cubicBezTo>
                  <a:pt x="3031578" y="3435027"/>
                  <a:pt x="2970918" y="3495688"/>
                  <a:pt x="2894737" y="3495688"/>
                </a:cubicBezTo>
                <a:cubicBezTo>
                  <a:pt x="2818557" y="3504151"/>
                  <a:pt x="2757896" y="3435027"/>
                  <a:pt x="2757896" y="3358847"/>
                </a:cubicBez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4" name="Forma libre 338">
            <a:extLst>
              <a:ext uri="{FF2B5EF4-FFF2-40B4-BE49-F238E27FC236}">
                <a16:creationId xmlns:a16="http://schemas.microsoft.com/office/drawing/2014/main" xmlns="" id="{EC792EB8-14C8-0B4E-8748-756FB3D2EC4C}"/>
              </a:ext>
            </a:extLst>
          </p:cNvPr>
          <p:cNvSpPr/>
          <p:nvPr/>
        </p:nvSpPr>
        <p:spPr>
          <a:xfrm>
            <a:off x="1241748" y="4686244"/>
            <a:ext cx="301338" cy="283583"/>
          </a:xfrm>
          <a:custGeom>
            <a:avLst/>
            <a:gdLst>
              <a:gd name="connsiteX0" fmla="*/ 1084507 w 5819775"/>
              <a:gd name="connsiteY0" fmla="*/ 2785320 h 5476875"/>
              <a:gd name="connsiteX1" fmla="*/ 928440 w 5819775"/>
              <a:gd name="connsiteY1" fmla="*/ 2941387 h 5476875"/>
              <a:gd name="connsiteX2" fmla="*/ 772373 w 5819775"/>
              <a:gd name="connsiteY2" fmla="*/ 2785320 h 5476875"/>
              <a:gd name="connsiteX3" fmla="*/ 928440 w 5819775"/>
              <a:gd name="connsiteY3" fmla="*/ 2629253 h 5476875"/>
              <a:gd name="connsiteX4" fmla="*/ 1084507 w 5819775"/>
              <a:gd name="connsiteY4" fmla="*/ 2785320 h 5476875"/>
              <a:gd name="connsiteX5" fmla="*/ 5828576 w 5819775"/>
              <a:gd name="connsiteY5" fmla="*/ 2738362 h 5476875"/>
              <a:gd name="connsiteX6" fmla="*/ 5828576 w 5819775"/>
              <a:gd name="connsiteY6" fmla="*/ 4213022 h 5476875"/>
              <a:gd name="connsiteX7" fmla="*/ 5563410 w 5819775"/>
              <a:gd name="connsiteY7" fmla="*/ 4899413 h 5476875"/>
              <a:gd name="connsiteX8" fmla="*/ 5235388 w 5819775"/>
              <a:gd name="connsiteY8" fmla="*/ 5242608 h 5476875"/>
              <a:gd name="connsiteX9" fmla="*/ 4642199 w 5819775"/>
              <a:gd name="connsiteY9" fmla="*/ 5484648 h 5476875"/>
              <a:gd name="connsiteX10" fmla="*/ 4642199 w 5819775"/>
              <a:gd name="connsiteY10" fmla="*/ 5484648 h 5476875"/>
              <a:gd name="connsiteX11" fmla="*/ 2809161 w 5819775"/>
              <a:gd name="connsiteY11" fmla="*/ 5484648 h 5476875"/>
              <a:gd name="connsiteX12" fmla="*/ 2083746 w 5819775"/>
              <a:gd name="connsiteY12" fmla="*/ 5211537 h 5476875"/>
              <a:gd name="connsiteX13" fmla="*/ 1826533 w 5819775"/>
              <a:gd name="connsiteY13" fmla="*/ 4946371 h 5476875"/>
              <a:gd name="connsiteX14" fmla="*/ 1826533 w 5819775"/>
              <a:gd name="connsiteY14" fmla="*/ 4969488 h 5476875"/>
              <a:gd name="connsiteX15" fmla="*/ 1327271 w 5819775"/>
              <a:gd name="connsiteY15" fmla="*/ 5468751 h 5476875"/>
              <a:gd name="connsiteX16" fmla="*/ 499262 w 5819775"/>
              <a:gd name="connsiteY16" fmla="*/ 5468751 h 5476875"/>
              <a:gd name="connsiteX17" fmla="*/ 0 w 5819775"/>
              <a:gd name="connsiteY17" fmla="*/ 4969507 h 5476875"/>
              <a:gd name="connsiteX18" fmla="*/ 0 w 5819775"/>
              <a:gd name="connsiteY18" fmla="*/ 2395166 h 5476875"/>
              <a:gd name="connsiteX19" fmla="*/ 499262 w 5819775"/>
              <a:gd name="connsiteY19" fmla="*/ 1895904 h 5476875"/>
              <a:gd name="connsiteX20" fmla="*/ 1318603 w 5819775"/>
              <a:gd name="connsiteY20" fmla="*/ 1895904 h 5476875"/>
              <a:gd name="connsiteX21" fmla="*/ 1817865 w 5819775"/>
              <a:gd name="connsiteY21" fmla="*/ 2333025 h 5476875"/>
              <a:gd name="connsiteX22" fmla="*/ 2793273 w 5819775"/>
              <a:gd name="connsiteY22" fmla="*/ 1318603 h 5476875"/>
              <a:gd name="connsiteX23" fmla="*/ 3089510 w 5819775"/>
              <a:gd name="connsiteY23" fmla="*/ 242049 h 5476875"/>
              <a:gd name="connsiteX24" fmla="*/ 3385747 w 5819775"/>
              <a:gd name="connsiteY24" fmla="*/ 0 h 5476875"/>
              <a:gd name="connsiteX25" fmla="*/ 3908850 w 5819775"/>
              <a:gd name="connsiteY25" fmla="*/ 0 h 5476875"/>
              <a:gd name="connsiteX26" fmla="*/ 4189914 w 5819775"/>
              <a:gd name="connsiteY26" fmla="*/ 249993 h 5476875"/>
              <a:gd name="connsiteX27" fmla="*/ 4189914 w 5819775"/>
              <a:gd name="connsiteY27" fmla="*/ 265890 h 5476875"/>
              <a:gd name="connsiteX28" fmla="*/ 4189914 w 5819775"/>
              <a:gd name="connsiteY28" fmla="*/ 1982600 h 5476875"/>
              <a:gd name="connsiteX29" fmla="*/ 4189914 w 5819775"/>
              <a:gd name="connsiteY29" fmla="*/ 2013671 h 5476875"/>
              <a:gd name="connsiteX30" fmla="*/ 5040326 w 5819775"/>
              <a:gd name="connsiteY30" fmla="*/ 2013671 h 5476875"/>
              <a:gd name="connsiteX31" fmla="*/ 5477447 w 5819775"/>
              <a:gd name="connsiteY31" fmla="*/ 2224650 h 5476875"/>
              <a:gd name="connsiteX32" fmla="*/ 5688426 w 5819775"/>
              <a:gd name="connsiteY32" fmla="*/ 2442848 h 5476875"/>
              <a:gd name="connsiteX33" fmla="*/ 5821366 w 5819775"/>
              <a:gd name="connsiteY33" fmla="*/ 2747029 h 5476875"/>
              <a:gd name="connsiteX34" fmla="*/ 5828576 w 5819775"/>
              <a:gd name="connsiteY34" fmla="*/ 2738362 h 5476875"/>
              <a:gd name="connsiteX35" fmla="*/ 1536802 w 5819775"/>
              <a:gd name="connsiteY35" fmla="*/ 4970231 h 5476875"/>
              <a:gd name="connsiteX36" fmla="*/ 1536802 w 5819775"/>
              <a:gd name="connsiteY36" fmla="*/ 4634980 h 5476875"/>
              <a:gd name="connsiteX37" fmla="*/ 1528858 w 5819775"/>
              <a:gd name="connsiteY37" fmla="*/ 4580068 h 5476875"/>
              <a:gd name="connsiteX38" fmla="*/ 1536802 w 5819775"/>
              <a:gd name="connsiteY38" fmla="*/ 2684174 h 5476875"/>
              <a:gd name="connsiteX39" fmla="*/ 1536802 w 5819775"/>
              <a:gd name="connsiteY39" fmla="*/ 2676230 h 5476875"/>
              <a:gd name="connsiteX40" fmla="*/ 1536802 w 5819775"/>
              <a:gd name="connsiteY40" fmla="*/ 2395166 h 5476875"/>
              <a:gd name="connsiteX41" fmla="*/ 1325823 w 5819775"/>
              <a:gd name="connsiteY41" fmla="*/ 2184187 h 5476875"/>
              <a:gd name="connsiteX42" fmla="*/ 499262 w 5819775"/>
              <a:gd name="connsiteY42" fmla="*/ 2184187 h 5476875"/>
              <a:gd name="connsiteX43" fmla="*/ 288284 w 5819775"/>
              <a:gd name="connsiteY43" fmla="*/ 2395166 h 5476875"/>
              <a:gd name="connsiteX44" fmla="*/ 288284 w 5819775"/>
              <a:gd name="connsiteY44" fmla="*/ 4970231 h 5476875"/>
              <a:gd name="connsiteX45" fmla="*/ 499262 w 5819775"/>
              <a:gd name="connsiteY45" fmla="*/ 5181210 h 5476875"/>
              <a:gd name="connsiteX46" fmla="*/ 1318603 w 5819775"/>
              <a:gd name="connsiteY46" fmla="*/ 5181210 h 5476875"/>
              <a:gd name="connsiteX47" fmla="*/ 1536802 w 5819775"/>
              <a:gd name="connsiteY47" fmla="*/ 4970231 h 5476875"/>
              <a:gd name="connsiteX48" fmla="*/ 5540293 w 5819775"/>
              <a:gd name="connsiteY48" fmla="*/ 2746305 h 5476875"/>
              <a:gd name="connsiteX49" fmla="*/ 5485381 w 5819775"/>
              <a:gd name="connsiteY49" fmla="*/ 2621309 h 5476875"/>
              <a:gd name="connsiteX50" fmla="*/ 5274402 w 5819775"/>
              <a:gd name="connsiteY50" fmla="*/ 2403110 h 5476875"/>
              <a:gd name="connsiteX51" fmla="*/ 5040307 w 5819775"/>
              <a:gd name="connsiteY51" fmla="*/ 2286057 h 5476875"/>
              <a:gd name="connsiteX52" fmla="*/ 4166054 w 5819775"/>
              <a:gd name="connsiteY52" fmla="*/ 2286057 h 5476875"/>
              <a:gd name="connsiteX53" fmla="*/ 4142937 w 5819775"/>
              <a:gd name="connsiteY53" fmla="*/ 2286057 h 5476875"/>
              <a:gd name="connsiteX54" fmla="*/ 3908841 w 5819775"/>
              <a:gd name="connsiteY54" fmla="*/ 1965979 h 5476875"/>
              <a:gd name="connsiteX55" fmla="*/ 3908841 w 5819775"/>
              <a:gd name="connsiteY55" fmla="*/ 280340 h 5476875"/>
              <a:gd name="connsiteX56" fmla="*/ 3394405 w 5819775"/>
              <a:gd name="connsiteY56" fmla="*/ 280340 h 5476875"/>
              <a:gd name="connsiteX57" fmla="*/ 3378508 w 5819775"/>
              <a:gd name="connsiteY57" fmla="*/ 311410 h 5476875"/>
              <a:gd name="connsiteX58" fmla="*/ 3066383 w 5819775"/>
              <a:gd name="connsiteY58" fmla="*/ 1419758 h 5476875"/>
              <a:gd name="connsiteX59" fmla="*/ 3027369 w 5819775"/>
              <a:gd name="connsiteY59" fmla="*/ 1481900 h 5476875"/>
              <a:gd name="connsiteX60" fmla="*/ 1825809 w 5819775"/>
              <a:gd name="connsiteY60" fmla="*/ 2738362 h 5476875"/>
              <a:gd name="connsiteX61" fmla="*/ 1825809 w 5819775"/>
              <a:gd name="connsiteY61" fmla="*/ 4533100 h 5476875"/>
              <a:gd name="connsiteX62" fmla="*/ 2286057 w 5819775"/>
              <a:gd name="connsiteY62" fmla="*/ 5017189 h 5476875"/>
              <a:gd name="connsiteX63" fmla="*/ 2809161 w 5819775"/>
              <a:gd name="connsiteY63" fmla="*/ 5204327 h 5476875"/>
              <a:gd name="connsiteX64" fmla="*/ 4650867 w 5819775"/>
              <a:gd name="connsiteY64" fmla="*/ 5204327 h 5476875"/>
              <a:gd name="connsiteX65" fmla="*/ 5041030 w 5819775"/>
              <a:gd name="connsiteY65" fmla="*/ 5048260 h 5476875"/>
              <a:gd name="connsiteX66" fmla="*/ 5361108 w 5819775"/>
              <a:gd name="connsiteY66" fmla="*/ 4713008 h 5476875"/>
              <a:gd name="connsiteX67" fmla="*/ 5548237 w 5819775"/>
              <a:gd name="connsiteY67" fmla="*/ 4221690 h 5476875"/>
              <a:gd name="connsiteX68" fmla="*/ 5548237 w 5819775"/>
              <a:gd name="connsiteY68" fmla="*/ 2746305 h 5476875"/>
              <a:gd name="connsiteX69" fmla="*/ 5540293 w 5819775"/>
              <a:gd name="connsiteY69" fmla="*/ 2746305 h 5476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5819775" h="5476875">
                <a:moveTo>
                  <a:pt x="1084507" y="2785320"/>
                </a:moveTo>
                <a:cubicBezTo>
                  <a:pt x="1084507" y="2871302"/>
                  <a:pt x="1014422" y="2941387"/>
                  <a:pt x="928440" y="2941387"/>
                </a:cubicBezTo>
                <a:cubicBezTo>
                  <a:pt x="842458" y="2941387"/>
                  <a:pt x="772373" y="2871302"/>
                  <a:pt x="772373" y="2785320"/>
                </a:cubicBezTo>
                <a:cubicBezTo>
                  <a:pt x="772373" y="2699337"/>
                  <a:pt x="842458" y="2629253"/>
                  <a:pt x="928440" y="2629253"/>
                </a:cubicBezTo>
                <a:cubicBezTo>
                  <a:pt x="1014422" y="2629253"/>
                  <a:pt x="1084507" y="2699347"/>
                  <a:pt x="1084507" y="2785320"/>
                </a:cubicBezTo>
                <a:close/>
                <a:moveTo>
                  <a:pt x="5828576" y="2738362"/>
                </a:moveTo>
                <a:lnTo>
                  <a:pt x="5828576" y="4213022"/>
                </a:lnTo>
                <a:cubicBezTo>
                  <a:pt x="5828576" y="4572115"/>
                  <a:pt x="5641448" y="4814164"/>
                  <a:pt x="5563410" y="4899413"/>
                </a:cubicBezTo>
                <a:lnTo>
                  <a:pt x="5235388" y="5242608"/>
                </a:lnTo>
                <a:cubicBezTo>
                  <a:pt x="5017189" y="5476704"/>
                  <a:pt x="4705055" y="5484648"/>
                  <a:pt x="4642199" y="5484648"/>
                </a:cubicBezTo>
                <a:lnTo>
                  <a:pt x="4642199" y="5484648"/>
                </a:lnTo>
                <a:lnTo>
                  <a:pt x="2809161" y="5484648"/>
                </a:lnTo>
                <a:cubicBezTo>
                  <a:pt x="2387927" y="5484648"/>
                  <a:pt x="2145887" y="5273669"/>
                  <a:pt x="2083746" y="5211537"/>
                </a:cubicBezTo>
                <a:lnTo>
                  <a:pt x="1826533" y="4946371"/>
                </a:lnTo>
                <a:lnTo>
                  <a:pt x="1826533" y="4969488"/>
                </a:lnTo>
                <a:cubicBezTo>
                  <a:pt x="1826533" y="5250552"/>
                  <a:pt x="1600381" y="5468751"/>
                  <a:pt x="1327271" y="5468751"/>
                </a:cubicBezTo>
                <a:lnTo>
                  <a:pt x="499262" y="5468751"/>
                </a:lnTo>
                <a:cubicBezTo>
                  <a:pt x="218199" y="5468770"/>
                  <a:pt x="0" y="5242617"/>
                  <a:pt x="0" y="4969507"/>
                </a:cubicBezTo>
                <a:lnTo>
                  <a:pt x="0" y="2395166"/>
                </a:lnTo>
                <a:cubicBezTo>
                  <a:pt x="0" y="2114102"/>
                  <a:pt x="226152" y="1895904"/>
                  <a:pt x="499262" y="1895904"/>
                </a:cubicBezTo>
                <a:lnTo>
                  <a:pt x="1318603" y="1895904"/>
                </a:lnTo>
                <a:cubicBezTo>
                  <a:pt x="1575816" y="1895904"/>
                  <a:pt x="1786795" y="2083032"/>
                  <a:pt x="1817865" y="2333025"/>
                </a:cubicBezTo>
                <a:lnTo>
                  <a:pt x="2793273" y="1318603"/>
                </a:lnTo>
                <a:lnTo>
                  <a:pt x="3089510" y="242049"/>
                </a:lnTo>
                <a:cubicBezTo>
                  <a:pt x="3112627" y="148123"/>
                  <a:pt x="3206563" y="0"/>
                  <a:pt x="3385747" y="0"/>
                </a:cubicBezTo>
                <a:lnTo>
                  <a:pt x="3908850" y="0"/>
                </a:lnTo>
                <a:cubicBezTo>
                  <a:pt x="4064918" y="0"/>
                  <a:pt x="4174017" y="93926"/>
                  <a:pt x="4189914" y="249993"/>
                </a:cubicBezTo>
                <a:cubicBezTo>
                  <a:pt x="4189914" y="257937"/>
                  <a:pt x="4189914" y="257937"/>
                  <a:pt x="4189914" y="265890"/>
                </a:cubicBezTo>
                <a:lnTo>
                  <a:pt x="4189914" y="1982600"/>
                </a:lnTo>
                <a:cubicBezTo>
                  <a:pt x="4189914" y="1998497"/>
                  <a:pt x="4189914" y="2005717"/>
                  <a:pt x="4189914" y="2013671"/>
                </a:cubicBezTo>
                <a:lnTo>
                  <a:pt x="5040326" y="2013671"/>
                </a:lnTo>
                <a:cubicBezTo>
                  <a:pt x="5141481" y="2021615"/>
                  <a:pt x="5313436" y="2052685"/>
                  <a:pt x="5477447" y="2224650"/>
                </a:cubicBezTo>
                <a:lnTo>
                  <a:pt x="5688426" y="2442848"/>
                </a:lnTo>
                <a:cubicBezTo>
                  <a:pt x="5766454" y="2528830"/>
                  <a:pt x="5813422" y="2629986"/>
                  <a:pt x="5821366" y="2747029"/>
                </a:cubicBezTo>
                <a:cubicBezTo>
                  <a:pt x="5828576" y="2730418"/>
                  <a:pt x="5828576" y="2738362"/>
                  <a:pt x="5828576" y="2738362"/>
                </a:cubicBezTo>
                <a:close/>
                <a:moveTo>
                  <a:pt x="1536802" y="4970231"/>
                </a:moveTo>
                <a:lnTo>
                  <a:pt x="1536802" y="4634980"/>
                </a:lnTo>
                <a:cubicBezTo>
                  <a:pt x="1528858" y="4619082"/>
                  <a:pt x="1528858" y="4595965"/>
                  <a:pt x="1528858" y="4580068"/>
                </a:cubicBezTo>
                <a:lnTo>
                  <a:pt x="1536802" y="2684174"/>
                </a:lnTo>
                <a:cubicBezTo>
                  <a:pt x="1536802" y="2684174"/>
                  <a:pt x="1536802" y="2684174"/>
                  <a:pt x="1536802" y="2676230"/>
                </a:cubicBezTo>
                <a:lnTo>
                  <a:pt x="1536802" y="2395166"/>
                </a:lnTo>
                <a:cubicBezTo>
                  <a:pt x="1536802" y="2278113"/>
                  <a:pt x="1442876" y="2184187"/>
                  <a:pt x="1325823" y="2184187"/>
                </a:cubicBezTo>
                <a:lnTo>
                  <a:pt x="499262" y="2184187"/>
                </a:lnTo>
                <a:cubicBezTo>
                  <a:pt x="382210" y="2184187"/>
                  <a:pt x="288284" y="2278113"/>
                  <a:pt x="288284" y="2395166"/>
                </a:cubicBezTo>
                <a:lnTo>
                  <a:pt x="288284" y="4970231"/>
                </a:lnTo>
                <a:cubicBezTo>
                  <a:pt x="288284" y="5087284"/>
                  <a:pt x="382210" y="5181210"/>
                  <a:pt x="499262" y="5181210"/>
                </a:cubicBezTo>
                <a:lnTo>
                  <a:pt x="1318603" y="5181210"/>
                </a:lnTo>
                <a:cubicBezTo>
                  <a:pt x="1443600" y="5180486"/>
                  <a:pt x="1536802" y="5087274"/>
                  <a:pt x="1536802" y="4970231"/>
                </a:cubicBezTo>
                <a:close/>
                <a:moveTo>
                  <a:pt x="5540293" y="2746305"/>
                </a:moveTo>
                <a:cubicBezTo>
                  <a:pt x="5532349" y="2699337"/>
                  <a:pt x="5517176" y="2660323"/>
                  <a:pt x="5485381" y="2621309"/>
                </a:cubicBezTo>
                <a:lnTo>
                  <a:pt x="5274402" y="2403110"/>
                </a:lnTo>
                <a:cubicBezTo>
                  <a:pt x="5180476" y="2309184"/>
                  <a:pt x="5087274" y="2286057"/>
                  <a:pt x="5040307" y="2286057"/>
                </a:cubicBezTo>
                <a:lnTo>
                  <a:pt x="4166054" y="2286057"/>
                </a:lnTo>
                <a:cubicBezTo>
                  <a:pt x="4158110" y="2286057"/>
                  <a:pt x="4150157" y="2286057"/>
                  <a:pt x="4142937" y="2286057"/>
                </a:cubicBezTo>
                <a:cubicBezTo>
                  <a:pt x="4025884" y="2270160"/>
                  <a:pt x="3908841" y="2176958"/>
                  <a:pt x="3908841" y="1965979"/>
                </a:cubicBezTo>
                <a:lnTo>
                  <a:pt x="3908841" y="280340"/>
                </a:lnTo>
                <a:lnTo>
                  <a:pt x="3394405" y="280340"/>
                </a:lnTo>
                <a:cubicBezTo>
                  <a:pt x="3386461" y="280340"/>
                  <a:pt x="3378508" y="303457"/>
                  <a:pt x="3378508" y="311410"/>
                </a:cubicBezTo>
                <a:lnTo>
                  <a:pt x="3066383" y="1419758"/>
                </a:lnTo>
                <a:cubicBezTo>
                  <a:pt x="3058440" y="1442876"/>
                  <a:pt x="3050486" y="1466726"/>
                  <a:pt x="3027369" y="1481900"/>
                </a:cubicBezTo>
                <a:lnTo>
                  <a:pt x="1825809" y="2738362"/>
                </a:lnTo>
                <a:lnTo>
                  <a:pt x="1825809" y="4533100"/>
                </a:lnTo>
                <a:lnTo>
                  <a:pt x="2286057" y="5017189"/>
                </a:lnTo>
                <a:cubicBezTo>
                  <a:pt x="2317128" y="5048260"/>
                  <a:pt x="2489083" y="5204327"/>
                  <a:pt x="2809161" y="5204327"/>
                </a:cubicBezTo>
                <a:lnTo>
                  <a:pt x="4650867" y="5204327"/>
                </a:lnTo>
                <a:cubicBezTo>
                  <a:pt x="4673984" y="5204327"/>
                  <a:pt x="4892917" y="5196383"/>
                  <a:pt x="5041030" y="5048260"/>
                </a:cubicBezTo>
                <a:lnTo>
                  <a:pt x="5361108" y="4713008"/>
                </a:lnTo>
                <a:cubicBezTo>
                  <a:pt x="5400123" y="4666041"/>
                  <a:pt x="5548237" y="4486856"/>
                  <a:pt x="5548237" y="4221690"/>
                </a:cubicBezTo>
                <a:lnTo>
                  <a:pt x="5548237" y="2746305"/>
                </a:lnTo>
                <a:lnTo>
                  <a:pt x="5540293" y="2746305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5" name="Forma libre 340">
            <a:extLst>
              <a:ext uri="{FF2B5EF4-FFF2-40B4-BE49-F238E27FC236}">
                <a16:creationId xmlns:a16="http://schemas.microsoft.com/office/drawing/2014/main" xmlns="" id="{A4AD928F-C9F7-7241-8A06-58EA2B5FDD31}"/>
              </a:ext>
            </a:extLst>
          </p:cNvPr>
          <p:cNvSpPr/>
          <p:nvPr/>
        </p:nvSpPr>
        <p:spPr>
          <a:xfrm>
            <a:off x="3513466" y="4673178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02 h 5829300"/>
              <a:gd name="connsiteX2" fmla="*/ 2915002 w 5829300"/>
              <a:gd name="connsiteY2" fmla="*/ 5830005 h 5829300"/>
              <a:gd name="connsiteX3" fmla="*/ 5830005 w 5829300"/>
              <a:gd name="connsiteY3" fmla="*/ 2915002 h 5829300"/>
              <a:gd name="connsiteX4" fmla="*/ 2915002 w 5829300"/>
              <a:gd name="connsiteY4" fmla="*/ 0 h 5829300"/>
              <a:gd name="connsiteX5" fmla="*/ 2915002 w 5829300"/>
              <a:gd name="connsiteY5" fmla="*/ 5554475 h 5829300"/>
              <a:gd name="connsiteX6" fmla="*/ 282597 w 5829300"/>
              <a:gd name="connsiteY6" fmla="*/ 2922070 h 5829300"/>
              <a:gd name="connsiteX7" fmla="*/ 2915002 w 5829300"/>
              <a:gd name="connsiteY7" fmla="*/ 289665 h 5829300"/>
              <a:gd name="connsiteX8" fmla="*/ 5547408 w 5829300"/>
              <a:gd name="connsiteY8" fmla="*/ 2922070 h 5829300"/>
              <a:gd name="connsiteX9" fmla="*/ 2915002 w 5829300"/>
              <a:gd name="connsiteY9" fmla="*/ 5554475 h 5829300"/>
              <a:gd name="connsiteX10" fmla="*/ 4326579 w 5829300"/>
              <a:gd name="connsiteY10" fmla="*/ 2731313 h 5829300"/>
              <a:gd name="connsiteX11" fmla="*/ 3319120 w 5829300"/>
              <a:gd name="connsiteY11" fmla="*/ 1793081 h 5829300"/>
              <a:gd name="connsiteX12" fmla="*/ 3174292 w 5829300"/>
              <a:gd name="connsiteY12" fmla="*/ 1732321 h 5829300"/>
              <a:gd name="connsiteX13" fmla="*/ 2983535 w 5829300"/>
              <a:gd name="connsiteY13" fmla="*/ 1999374 h 5829300"/>
              <a:gd name="connsiteX14" fmla="*/ 2983535 w 5829300"/>
              <a:gd name="connsiteY14" fmla="*/ 2541270 h 5829300"/>
              <a:gd name="connsiteX15" fmla="*/ 2190141 w 5829300"/>
              <a:gd name="connsiteY15" fmla="*/ 1800863 h 5829300"/>
              <a:gd name="connsiteX16" fmla="*/ 2045313 w 5829300"/>
              <a:gd name="connsiteY16" fmla="*/ 1740103 h 5829300"/>
              <a:gd name="connsiteX17" fmla="*/ 1854556 w 5829300"/>
              <a:gd name="connsiteY17" fmla="*/ 2007156 h 5829300"/>
              <a:gd name="connsiteX18" fmla="*/ 1854556 w 5829300"/>
              <a:gd name="connsiteY18" fmla="*/ 3838394 h 5829300"/>
              <a:gd name="connsiteX19" fmla="*/ 2053085 w 5829300"/>
              <a:gd name="connsiteY19" fmla="*/ 4105447 h 5829300"/>
              <a:gd name="connsiteX20" fmla="*/ 2205685 w 5829300"/>
              <a:gd name="connsiteY20" fmla="*/ 4036914 h 5829300"/>
              <a:gd name="connsiteX21" fmla="*/ 2991307 w 5829300"/>
              <a:gd name="connsiteY21" fmla="*/ 3304280 h 5829300"/>
              <a:gd name="connsiteX22" fmla="*/ 2991307 w 5829300"/>
              <a:gd name="connsiteY22" fmla="*/ 3838394 h 5829300"/>
              <a:gd name="connsiteX23" fmla="*/ 3189837 w 5829300"/>
              <a:gd name="connsiteY23" fmla="*/ 4105447 h 5829300"/>
              <a:gd name="connsiteX24" fmla="*/ 3342437 w 5829300"/>
              <a:gd name="connsiteY24" fmla="*/ 4036914 h 5829300"/>
              <a:gd name="connsiteX25" fmla="*/ 4303976 w 5829300"/>
              <a:gd name="connsiteY25" fmla="*/ 3143907 h 5829300"/>
              <a:gd name="connsiteX26" fmla="*/ 4349896 w 5829300"/>
              <a:gd name="connsiteY26" fmla="*/ 2746858 h 5829300"/>
              <a:gd name="connsiteX27" fmla="*/ 4326579 w 5829300"/>
              <a:gd name="connsiteY27" fmla="*/ 2731313 h 5829300"/>
              <a:gd name="connsiteX28" fmla="*/ 2960923 w 5829300"/>
              <a:gd name="connsiteY28" fmla="*/ 2937615 h 5829300"/>
              <a:gd name="connsiteX29" fmla="*/ 2128666 w 5829300"/>
              <a:gd name="connsiteY29" fmla="*/ 3708407 h 5829300"/>
              <a:gd name="connsiteX30" fmla="*/ 2128666 w 5829300"/>
              <a:gd name="connsiteY30" fmla="*/ 2128685 h 5829300"/>
              <a:gd name="connsiteX31" fmla="*/ 2975753 w 5829300"/>
              <a:gd name="connsiteY31" fmla="*/ 2914307 h 5829300"/>
              <a:gd name="connsiteX32" fmla="*/ 2960923 w 5829300"/>
              <a:gd name="connsiteY32" fmla="*/ 2937615 h 5829300"/>
              <a:gd name="connsiteX33" fmla="*/ 4097674 w 5829300"/>
              <a:gd name="connsiteY33" fmla="*/ 2937615 h 5829300"/>
              <a:gd name="connsiteX34" fmla="*/ 3266132 w 5829300"/>
              <a:gd name="connsiteY34" fmla="*/ 3708407 h 5829300"/>
              <a:gd name="connsiteX35" fmla="*/ 3266132 w 5829300"/>
              <a:gd name="connsiteY35" fmla="*/ 2128685 h 5829300"/>
              <a:gd name="connsiteX36" fmla="*/ 4113219 w 5829300"/>
              <a:gd name="connsiteY36" fmla="*/ 2914307 h 5829300"/>
              <a:gd name="connsiteX37" fmla="*/ 4097674 w 5829300"/>
              <a:gd name="connsiteY37" fmla="*/ 2937615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896"/>
                  <a:pt x="0" y="2915002"/>
                </a:cubicBezTo>
                <a:cubicBezTo>
                  <a:pt x="0" y="4525109"/>
                  <a:pt x="1304896" y="5830005"/>
                  <a:pt x="2915002" y="5830005"/>
                </a:cubicBezTo>
                <a:cubicBezTo>
                  <a:pt x="4525109" y="5830005"/>
                  <a:pt x="5830005" y="4525109"/>
                  <a:pt x="5830005" y="2915002"/>
                </a:cubicBezTo>
                <a:cubicBezTo>
                  <a:pt x="5830005" y="1304896"/>
                  <a:pt x="4525109" y="0"/>
                  <a:pt x="2915002" y="0"/>
                </a:cubicBezTo>
                <a:close/>
                <a:moveTo>
                  <a:pt x="2915002" y="5554475"/>
                </a:moveTo>
                <a:cubicBezTo>
                  <a:pt x="1465269" y="5554475"/>
                  <a:pt x="282597" y="4371804"/>
                  <a:pt x="282597" y="2922070"/>
                </a:cubicBezTo>
                <a:cubicBezTo>
                  <a:pt x="282597" y="1472337"/>
                  <a:pt x="1465279" y="289665"/>
                  <a:pt x="2915002" y="289665"/>
                </a:cubicBezTo>
                <a:cubicBezTo>
                  <a:pt x="4364727" y="289665"/>
                  <a:pt x="5547408" y="1472337"/>
                  <a:pt x="5547408" y="2922070"/>
                </a:cubicBezTo>
                <a:cubicBezTo>
                  <a:pt x="5547408" y="4371804"/>
                  <a:pt x="4372509" y="5554475"/>
                  <a:pt x="2915002" y="5554475"/>
                </a:cubicBezTo>
                <a:close/>
                <a:moveTo>
                  <a:pt x="4326579" y="2731313"/>
                </a:moveTo>
                <a:lnTo>
                  <a:pt x="3319120" y="1793081"/>
                </a:lnTo>
                <a:cubicBezTo>
                  <a:pt x="3273200" y="1747161"/>
                  <a:pt x="3227280" y="1732321"/>
                  <a:pt x="3174292" y="1732321"/>
                </a:cubicBezTo>
                <a:cubicBezTo>
                  <a:pt x="3128372" y="1732321"/>
                  <a:pt x="2983535" y="1754934"/>
                  <a:pt x="2983535" y="1999374"/>
                </a:cubicBezTo>
                <a:lnTo>
                  <a:pt x="2983535" y="2541270"/>
                </a:lnTo>
                <a:lnTo>
                  <a:pt x="2190141" y="1800863"/>
                </a:lnTo>
                <a:cubicBezTo>
                  <a:pt x="2144221" y="1754943"/>
                  <a:pt x="2098301" y="1740103"/>
                  <a:pt x="2045313" y="1740103"/>
                </a:cubicBezTo>
                <a:cubicBezTo>
                  <a:pt x="1999393" y="1740103"/>
                  <a:pt x="1854556" y="1762716"/>
                  <a:pt x="1854556" y="2007156"/>
                </a:cubicBezTo>
                <a:lnTo>
                  <a:pt x="1854556" y="3838394"/>
                </a:lnTo>
                <a:cubicBezTo>
                  <a:pt x="1854556" y="4089911"/>
                  <a:pt x="2007156" y="4105447"/>
                  <a:pt x="2053085" y="4105447"/>
                </a:cubicBezTo>
                <a:cubicBezTo>
                  <a:pt x="2106778" y="4105447"/>
                  <a:pt x="2159765" y="4082834"/>
                  <a:pt x="2205685" y="4036914"/>
                </a:cubicBezTo>
                <a:lnTo>
                  <a:pt x="2991307" y="3304280"/>
                </a:lnTo>
                <a:lnTo>
                  <a:pt x="2991307" y="3838394"/>
                </a:lnTo>
                <a:cubicBezTo>
                  <a:pt x="2991307" y="4089902"/>
                  <a:pt x="3143907" y="4105447"/>
                  <a:pt x="3189837" y="4105447"/>
                </a:cubicBezTo>
                <a:cubicBezTo>
                  <a:pt x="3243529" y="4105447"/>
                  <a:pt x="3296517" y="4082834"/>
                  <a:pt x="3342437" y="4036914"/>
                </a:cubicBezTo>
                <a:lnTo>
                  <a:pt x="4303976" y="3143907"/>
                </a:lnTo>
                <a:cubicBezTo>
                  <a:pt x="4464349" y="2999080"/>
                  <a:pt x="4426201" y="2838698"/>
                  <a:pt x="4349896" y="2746858"/>
                </a:cubicBezTo>
                <a:cubicBezTo>
                  <a:pt x="4334351" y="2739085"/>
                  <a:pt x="4326579" y="2731313"/>
                  <a:pt x="4326579" y="2731313"/>
                </a:cubicBezTo>
                <a:close/>
                <a:moveTo>
                  <a:pt x="2960923" y="2937615"/>
                </a:moveTo>
                <a:lnTo>
                  <a:pt x="2128666" y="3708407"/>
                </a:lnTo>
                <a:lnTo>
                  <a:pt x="2128666" y="2128685"/>
                </a:lnTo>
                <a:lnTo>
                  <a:pt x="2975753" y="2914307"/>
                </a:lnTo>
                <a:cubicBezTo>
                  <a:pt x="2975762" y="2922070"/>
                  <a:pt x="2967990" y="2929843"/>
                  <a:pt x="2960923" y="2937615"/>
                </a:cubicBezTo>
                <a:close/>
                <a:moveTo>
                  <a:pt x="4097674" y="2937615"/>
                </a:moveTo>
                <a:lnTo>
                  <a:pt x="3266132" y="3708407"/>
                </a:lnTo>
                <a:lnTo>
                  <a:pt x="3266132" y="2128685"/>
                </a:lnTo>
                <a:lnTo>
                  <a:pt x="4113219" y="2914307"/>
                </a:lnTo>
                <a:cubicBezTo>
                  <a:pt x="4112514" y="2922070"/>
                  <a:pt x="4105447" y="2929843"/>
                  <a:pt x="4097674" y="293761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6" name="Forma libre 342">
            <a:extLst>
              <a:ext uri="{FF2B5EF4-FFF2-40B4-BE49-F238E27FC236}">
                <a16:creationId xmlns:a16="http://schemas.microsoft.com/office/drawing/2014/main" xmlns="" id="{262B5EED-2DA3-CE43-8EC2-BFAD84DE2208}"/>
              </a:ext>
            </a:extLst>
          </p:cNvPr>
          <p:cNvSpPr/>
          <p:nvPr/>
        </p:nvSpPr>
        <p:spPr>
          <a:xfrm>
            <a:off x="5778677" y="5953631"/>
            <a:ext cx="262286" cy="354647"/>
          </a:xfrm>
          <a:custGeom>
            <a:avLst/>
            <a:gdLst>
              <a:gd name="connsiteX0" fmla="*/ 5070764 w 5065568"/>
              <a:gd name="connsiteY0" fmla="*/ 1945022 h 6849340"/>
              <a:gd name="connsiteX1" fmla="*/ 5070764 w 5065568"/>
              <a:gd name="connsiteY1" fmla="*/ 1945022 h 6849340"/>
              <a:gd name="connsiteX2" fmla="*/ 5053827 w 5065568"/>
              <a:gd name="connsiteY2" fmla="*/ 1903459 h 6849340"/>
              <a:gd name="connsiteX3" fmla="*/ 5045358 w 5065568"/>
              <a:gd name="connsiteY3" fmla="*/ 1894990 h 6849340"/>
              <a:gd name="connsiteX4" fmla="*/ 5020731 w 5065568"/>
              <a:gd name="connsiteY4" fmla="*/ 1861895 h 6849340"/>
              <a:gd name="connsiteX5" fmla="*/ 5020731 w 5065568"/>
              <a:gd name="connsiteY5" fmla="*/ 1861895 h 6849340"/>
              <a:gd name="connsiteX6" fmla="*/ 3183472 w 5065568"/>
              <a:gd name="connsiteY6" fmla="*/ 33095 h 6849340"/>
              <a:gd name="connsiteX7" fmla="*/ 3183472 w 5065568"/>
              <a:gd name="connsiteY7" fmla="*/ 33095 h 6849340"/>
              <a:gd name="connsiteX8" fmla="*/ 3183472 w 5065568"/>
              <a:gd name="connsiteY8" fmla="*/ 33095 h 6849340"/>
              <a:gd name="connsiteX9" fmla="*/ 3183472 w 5065568"/>
              <a:gd name="connsiteY9" fmla="*/ 33095 h 6849340"/>
              <a:gd name="connsiteX10" fmla="*/ 3150377 w 5065568"/>
              <a:gd name="connsiteY10" fmla="*/ 8469 h 6849340"/>
              <a:gd name="connsiteX11" fmla="*/ 3141908 w 5065568"/>
              <a:gd name="connsiteY11" fmla="*/ 0 h 6849340"/>
              <a:gd name="connsiteX12" fmla="*/ 3108813 w 5065568"/>
              <a:gd name="connsiteY12" fmla="*/ 0 h 6849340"/>
              <a:gd name="connsiteX13" fmla="*/ 3108813 w 5065568"/>
              <a:gd name="connsiteY13" fmla="*/ 0 h 6849340"/>
              <a:gd name="connsiteX14" fmla="*/ 3084186 w 5065568"/>
              <a:gd name="connsiteY14" fmla="*/ 0 h 6849340"/>
              <a:gd name="connsiteX15" fmla="*/ 440263 w 5065568"/>
              <a:gd name="connsiteY15" fmla="*/ 0 h 6849340"/>
              <a:gd name="connsiteX16" fmla="*/ 0 w 5065568"/>
              <a:gd name="connsiteY16" fmla="*/ 440263 h 6849340"/>
              <a:gd name="connsiteX17" fmla="*/ 0 w 5065568"/>
              <a:gd name="connsiteY17" fmla="*/ 6417729 h 6849340"/>
              <a:gd name="connsiteX18" fmla="*/ 440263 w 5065568"/>
              <a:gd name="connsiteY18" fmla="*/ 6857992 h 6849340"/>
              <a:gd name="connsiteX19" fmla="*/ 4629722 w 5065568"/>
              <a:gd name="connsiteY19" fmla="*/ 6857992 h 6849340"/>
              <a:gd name="connsiteX20" fmla="*/ 5069985 w 5065568"/>
              <a:gd name="connsiteY20" fmla="*/ 6417729 h 6849340"/>
              <a:gd name="connsiteX21" fmla="*/ 5069985 w 5065568"/>
              <a:gd name="connsiteY21" fmla="*/ 1978117 h 6849340"/>
              <a:gd name="connsiteX22" fmla="*/ 5070764 w 5065568"/>
              <a:gd name="connsiteY22" fmla="*/ 1945022 h 6849340"/>
              <a:gd name="connsiteX23" fmla="*/ 4547374 w 5065568"/>
              <a:gd name="connsiteY23" fmla="*/ 1820331 h 6849340"/>
              <a:gd name="connsiteX24" fmla="*/ 3234266 w 5065568"/>
              <a:gd name="connsiteY24" fmla="*/ 1820331 h 6849340"/>
              <a:gd name="connsiteX25" fmla="*/ 3234266 w 5065568"/>
              <a:gd name="connsiteY25" fmla="*/ 515701 h 6849340"/>
              <a:gd name="connsiteX26" fmla="*/ 4547374 w 5065568"/>
              <a:gd name="connsiteY26" fmla="*/ 1820331 h 6849340"/>
              <a:gd name="connsiteX27" fmla="*/ 4762881 w 5065568"/>
              <a:gd name="connsiteY27" fmla="*/ 6417737 h 6849340"/>
              <a:gd name="connsiteX28" fmla="*/ 4629722 w 5065568"/>
              <a:gd name="connsiteY28" fmla="*/ 6550897 h 6849340"/>
              <a:gd name="connsiteX29" fmla="*/ 440263 w 5065568"/>
              <a:gd name="connsiteY29" fmla="*/ 6550897 h 6849340"/>
              <a:gd name="connsiteX30" fmla="*/ 307103 w 5065568"/>
              <a:gd name="connsiteY30" fmla="*/ 6417737 h 6849340"/>
              <a:gd name="connsiteX31" fmla="*/ 307103 w 5065568"/>
              <a:gd name="connsiteY31" fmla="*/ 440263 h 6849340"/>
              <a:gd name="connsiteX32" fmla="*/ 440263 w 5065568"/>
              <a:gd name="connsiteY32" fmla="*/ 307103 h 6849340"/>
              <a:gd name="connsiteX33" fmla="*/ 2925613 w 5065568"/>
              <a:gd name="connsiteY33" fmla="*/ 307103 h 6849340"/>
              <a:gd name="connsiteX34" fmla="*/ 2925613 w 5065568"/>
              <a:gd name="connsiteY34" fmla="*/ 1978117 h 6849340"/>
              <a:gd name="connsiteX35" fmla="*/ 3074930 w 5065568"/>
              <a:gd name="connsiteY35" fmla="*/ 2127435 h 6849340"/>
              <a:gd name="connsiteX36" fmla="*/ 4754413 w 5065568"/>
              <a:gd name="connsiteY36" fmla="*/ 2127435 h 6849340"/>
              <a:gd name="connsiteX37" fmla="*/ 4754413 w 5065568"/>
              <a:gd name="connsiteY37" fmla="*/ 6417729 h 6849340"/>
              <a:gd name="connsiteX38" fmla="*/ 4762881 w 5065568"/>
              <a:gd name="connsiteY38" fmla="*/ 6417729 h 6849340"/>
              <a:gd name="connsiteX39" fmla="*/ 4056299 w 5065568"/>
              <a:gd name="connsiteY39" fmla="*/ 4812914 h 6849340"/>
              <a:gd name="connsiteX40" fmla="*/ 3906982 w 5065568"/>
              <a:gd name="connsiteY40" fmla="*/ 4962240 h 6849340"/>
              <a:gd name="connsiteX41" fmla="*/ 1139155 w 5065568"/>
              <a:gd name="connsiteY41" fmla="*/ 4962240 h 6849340"/>
              <a:gd name="connsiteX42" fmla="*/ 989838 w 5065568"/>
              <a:gd name="connsiteY42" fmla="*/ 4812914 h 6849340"/>
              <a:gd name="connsiteX43" fmla="*/ 1139155 w 5065568"/>
              <a:gd name="connsiteY43" fmla="*/ 4663596 h 6849340"/>
              <a:gd name="connsiteX44" fmla="*/ 3906982 w 5065568"/>
              <a:gd name="connsiteY44" fmla="*/ 4663596 h 6849340"/>
              <a:gd name="connsiteX45" fmla="*/ 4056299 w 5065568"/>
              <a:gd name="connsiteY45" fmla="*/ 4812914 h 6849340"/>
              <a:gd name="connsiteX46" fmla="*/ 4056299 w 5065568"/>
              <a:gd name="connsiteY46" fmla="*/ 5735782 h 6849340"/>
              <a:gd name="connsiteX47" fmla="*/ 3906982 w 5065568"/>
              <a:gd name="connsiteY47" fmla="*/ 5885099 h 6849340"/>
              <a:gd name="connsiteX48" fmla="*/ 1139155 w 5065568"/>
              <a:gd name="connsiteY48" fmla="*/ 5885099 h 6849340"/>
              <a:gd name="connsiteX49" fmla="*/ 989838 w 5065568"/>
              <a:gd name="connsiteY49" fmla="*/ 5735782 h 6849340"/>
              <a:gd name="connsiteX50" fmla="*/ 1139155 w 5065568"/>
              <a:gd name="connsiteY50" fmla="*/ 5586465 h 6849340"/>
              <a:gd name="connsiteX51" fmla="*/ 3906982 w 5065568"/>
              <a:gd name="connsiteY51" fmla="*/ 5586465 h 6849340"/>
              <a:gd name="connsiteX52" fmla="*/ 4056299 w 5065568"/>
              <a:gd name="connsiteY52" fmla="*/ 5735782 h 6849340"/>
              <a:gd name="connsiteX53" fmla="*/ 4056299 w 5065568"/>
              <a:gd name="connsiteY53" fmla="*/ 3898513 h 6849340"/>
              <a:gd name="connsiteX54" fmla="*/ 3906982 w 5065568"/>
              <a:gd name="connsiteY54" fmla="*/ 4047831 h 6849340"/>
              <a:gd name="connsiteX55" fmla="*/ 1139155 w 5065568"/>
              <a:gd name="connsiteY55" fmla="*/ 4047831 h 6849340"/>
              <a:gd name="connsiteX56" fmla="*/ 989838 w 5065568"/>
              <a:gd name="connsiteY56" fmla="*/ 3898513 h 6849340"/>
              <a:gd name="connsiteX57" fmla="*/ 1139155 w 5065568"/>
              <a:gd name="connsiteY57" fmla="*/ 3749196 h 6849340"/>
              <a:gd name="connsiteX58" fmla="*/ 3906982 w 5065568"/>
              <a:gd name="connsiteY58" fmla="*/ 3749196 h 6849340"/>
              <a:gd name="connsiteX59" fmla="*/ 4056299 w 5065568"/>
              <a:gd name="connsiteY59" fmla="*/ 3898513 h 6849340"/>
              <a:gd name="connsiteX60" fmla="*/ 1139155 w 5065568"/>
              <a:gd name="connsiteY60" fmla="*/ 2834796 h 6849340"/>
              <a:gd name="connsiteX61" fmla="*/ 3906982 w 5065568"/>
              <a:gd name="connsiteY61" fmla="*/ 2834796 h 6849340"/>
              <a:gd name="connsiteX62" fmla="*/ 4056299 w 5065568"/>
              <a:gd name="connsiteY62" fmla="*/ 2984113 h 6849340"/>
              <a:gd name="connsiteX63" fmla="*/ 3906982 w 5065568"/>
              <a:gd name="connsiteY63" fmla="*/ 3133431 h 6849340"/>
              <a:gd name="connsiteX64" fmla="*/ 1139155 w 5065568"/>
              <a:gd name="connsiteY64" fmla="*/ 3133431 h 6849340"/>
              <a:gd name="connsiteX65" fmla="*/ 989838 w 5065568"/>
              <a:gd name="connsiteY65" fmla="*/ 2984113 h 6849340"/>
              <a:gd name="connsiteX66" fmla="*/ 1139155 w 5065568"/>
              <a:gd name="connsiteY66" fmla="*/ 2834796 h 6849340"/>
              <a:gd name="connsiteX67" fmla="*/ 980590 w 5065568"/>
              <a:gd name="connsiteY67" fmla="*/ 1172251 h 6849340"/>
              <a:gd name="connsiteX68" fmla="*/ 1129908 w 5065568"/>
              <a:gd name="connsiteY68" fmla="*/ 1022933 h 6849340"/>
              <a:gd name="connsiteX69" fmla="*/ 2085871 w 5065568"/>
              <a:gd name="connsiteY69" fmla="*/ 1022933 h 6849340"/>
              <a:gd name="connsiteX70" fmla="*/ 2235189 w 5065568"/>
              <a:gd name="connsiteY70" fmla="*/ 1172251 h 6849340"/>
              <a:gd name="connsiteX71" fmla="*/ 2085871 w 5065568"/>
              <a:gd name="connsiteY71" fmla="*/ 1321568 h 6849340"/>
              <a:gd name="connsiteX72" fmla="*/ 1761831 w 5065568"/>
              <a:gd name="connsiteY72" fmla="*/ 1321568 h 6849340"/>
              <a:gd name="connsiteX73" fmla="*/ 1761831 w 5065568"/>
              <a:gd name="connsiteY73" fmla="*/ 1969649 h 6849340"/>
              <a:gd name="connsiteX74" fmla="*/ 1612513 w 5065568"/>
              <a:gd name="connsiteY74" fmla="*/ 2118966 h 6849340"/>
              <a:gd name="connsiteX75" fmla="*/ 1463196 w 5065568"/>
              <a:gd name="connsiteY75" fmla="*/ 1969649 h 6849340"/>
              <a:gd name="connsiteX76" fmla="*/ 1463196 w 5065568"/>
              <a:gd name="connsiteY76" fmla="*/ 1330036 h 6849340"/>
              <a:gd name="connsiteX77" fmla="*/ 1139155 w 5065568"/>
              <a:gd name="connsiteY77" fmla="*/ 1330036 h 6849340"/>
              <a:gd name="connsiteX78" fmla="*/ 980590 w 5065568"/>
              <a:gd name="connsiteY78" fmla="*/ 1172251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5065568" h="6849340">
                <a:moveTo>
                  <a:pt x="5070764" y="1945022"/>
                </a:moveTo>
                <a:lnTo>
                  <a:pt x="5070764" y="1945022"/>
                </a:lnTo>
                <a:cubicBezTo>
                  <a:pt x="5070764" y="1928085"/>
                  <a:pt x="5062296" y="1920396"/>
                  <a:pt x="5053827" y="1903459"/>
                </a:cubicBezTo>
                <a:cubicBezTo>
                  <a:pt x="5053827" y="1903459"/>
                  <a:pt x="5053827" y="1894990"/>
                  <a:pt x="5045358" y="1894990"/>
                </a:cubicBezTo>
                <a:cubicBezTo>
                  <a:pt x="5036890" y="1886522"/>
                  <a:pt x="5028421" y="1870364"/>
                  <a:pt x="5020731" y="1861895"/>
                </a:cubicBezTo>
                <a:lnTo>
                  <a:pt x="5020731" y="1861895"/>
                </a:lnTo>
                <a:lnTo>
                  <a:pt x="3183472" y="33095"/>
                </a:lnTo>
                <a:lnTo>
                  <a:pt x="3183472" y="33095"/>
                </a:lnTo>
                <a:lnTo>
                  <a:pt x="3183472" y="33095"/>
                </a:lnTo>
                <a:lnTo>
                  <a:pt x="3183472" y="33095"/>
                </a:lnTo>
                <a:cubicBezTo>
                  <a:pt x="3175003" y="24626"/>
                  <a:pt x="3166535" y="16158"/>
                  <a:pt x="3150377" y="8469"/>
                </a:cubicBezTo>
                <a:cubicBezTo>
                  <a:pt x="3150377" y="8469"/>
                  <a:pt x="3141908" y="8469"/>
                  <a:pt x="3141908" y="0"/>
                </a:cubicBezTo>
                <a:cubicBezTo>
                  <a:pt x="3133439" y="8469"/>
                  <a:pt x="3124971" y="0"/>
                  <a:pt x="3108813" y="0"/>
                </a:cubicBezTo>
                <a:lnTo>
                  <a:pt x="3108813" y="0"/>
                </a:lnTo>
                <a:cubicBezTo>
                  <a:pt x="3100344" y="0"/>
                  <a:pt x="3091876" y="0"/>
                  <a:pt x="3084186" y="0"/>
                </a:cubicBezTo>
                <a:lnTo>
                  <a:pt x="440263" y="0"/>
                </a:lnTo>
                <a:cubicBezTo>
                  <a:pt x="199350" y="0"/>
                  <a:pt x="0" y="199350"/>
                  <a:pt x="0" y="440263"/>
                </a:cubicBezTo>
                <a:lnTo>
                  <a:pt x="0" y="6417729"/>
                </a:lnTo>
                <a:cubicBezTo>
                  <a:pt x="0" y="6658642"/>
                  <a:pt x="199350" y="6857992"/>
                  <a:pt x="440263" y="6857992"/>
                </a:cubicBezTo>
                <a:lnTo>
                  <a:pt x="4629722" y="6857992"/>
                </a:lnTo>
                <a:cubicBezTo>
                  <a:pt x="4870635" y="6857992"/>
                  <a:pt x="5069985" y="6658642"/>
                  <a:pt x="5069985" y="6417729"/>
                </a:cubicBezTo>
                <a:lnTo>
                  <a:pt x="5069985" y="1978117"/>
                </a:lnTo>
                <a:cubicBezTo>
                  <a:pt x="5070764" y="1970428"/>
                  <a:pt x="5070764" y="1953491"/>
                  <a:pt x="5070764" y="1945022"/>
                </a:cubicBezTo>
                <a:close/>
                <a:moveTo>
                  <a:pt x="4547374" y="1820331"/>
                </a:moveTo>
                <a:lnTo>
                  <a:pt x="3234266" y="1820331"/>
                </a:lnTo>
                <a:lnTo>
                  <a:pt x="3234266" y="515701"/>
                </a:lnTo>
                <a:lnTo>
                  <a:pt x="4547374" y="1820331"/>
                </a:lnTo>
                <a:close/>
                <a:moveTo>
                  <a:pt x="4762881" y="6417737"/>
                </a:moveTo>
                <a:cubicBezTo>
                  <a:pt x="4762881" y="6492396"/>
                  <a:pt x="4704389" y="6550897"/>
                  <a:pt x="4629722" y="6550897"/>
                </a:cubicBezTo>
                <a:lnTo>
                  <a:pt x="440263" y="6550897"/>
                </a:lnTo>
                <a:cubicBezTo>
                  <a:pt x="365604" y="6550897"/>
                  <a:pt x="307103" y="6492396"/>
                  <a:pt x="307103" y="6417737"/>
                </a:cubicBezTo>
                <a:lnTo>
                  <a:pt x="307103" y="440263"/>
                </a:lnTo>
                <a:cubicBezTo>
                  <a:pt x="307103" y="365604"/>
                  <a:pt x="365604" y="307103"/>
                  <a:pt x="440263" y="307103"/>
                </a:cubicBezTo>
                <a:lnTo>
                  <a:pt x="2925613" y="307103"/>
                </a:lnTo>
                <a:lnTo>
                  <a:pt x="2925613" y="1978117"/>
                </a:lnTo>
                <a:cubicBezTo>
                  <a:pt x="2925613" y="2061245"/>
                  <a:pt x="2991803" y="2127435"/>
                  <a:pt x="3074930" y="2127435"/>
                </a:cubicBezTo>
                <a:lnTo>
                  <a:pt x="4754413" y="2127435"/>
                </a:lnTo>
                <a:lnTo>
                  <a:pt x="4754413" y="6417729"/>
                </a:lnTo>
                <a:lnTo>
                  <a:pt x="4762881" y="6417729"/>
                </a:lnTo>
                <a:close/>
                <a:moveTo>
                  <a:pt x="4056299" y="4812914"/>
                </a:moveTo>
                <a:cubicBezTo>
                  <a:pt x="4056299" y="4896041"/>
                  <a:pt x="3990109" y="4962240"/>
                  <a:pt x="3906982" y="4962240"/>
                </a:cubicBezTo>
                <a:lnTo>
                  <a:pt x="1139155" y="4962240"/>
                </a:lnTo>
                <a:cubicBezTo>
                  <a:pt x="1056028" y="4962240"/>
                  <a:pt x="989838" y="4896049"/>
                  <a:pt x="989838" y="4812914"/>
                </a:cubicBezTo>
                <a:cubicBezTo>
                  <a:pt x="989838" y="4729778"/>
                  <a:pt x="1056028" y="4663596"/>
                  <a:pt x="1139155" y="4663596"/>
                </a:cubicBezTo>
                <a:lnTo>
                  <a:pt x="3906982" y="4663596"/>
                </a:lnTo>
                <a:cubicBezTo>
                  <a:pt x="3990109" y="4655127"/>
                  <a:pt x="4056299" y="4729786"/>
                  <a:pt x="4056299" y="4812914"/>
                </a:cubicBezTo>
                <a:close/>
                <a:moveTo>
                  <a:pt x="4056299" y="5735782"/>
                </a:moveTo>
                <a:cubicBezTo>
                  <a:pt x="4056299" y="5818909"/>
                  <a:pt x="3990109" y="5885099"/>
                  <a:pt x="3906982" y="5885099"/>
                </a:cubicBezTo>
                <a:lnTo>
                  <a:pt x="1139155" y="5885099"/>
                </a:lnTo>
                <a:cubicBezTo>
                  <a:pt x="1056028" y="5885099"/>
                  <a:pt x="989838" y="5818909"/>
                  <a:pt x="989838" y="5735782"/>
                </a:cubicBezTo>
                <a:cubicBezTo>
                  <a:pt x="989838" y="5652655"/>
                  <a:pt x="1056028" y="5586465"/>
                  <a:pt x="1139155" y="5586465"/>
                </a:cubicBezTo>
                <a:lnTo>
                  <a:pt x="3906982" y="5586465"/>
                </a:lnTo>
                <a:cubicBezTo>
                  <a:pt x="3990109" y="5577996"/>
                  <a:pt x="4056299" y="5644186"/>
                  <a:pt x="4056299" y="5735782"/>
                </a:cubicBezTo>
                <a:close/>
                <a:moveTo>
                  <a:pt x="4056299" y="3898513"/>
                </a:moveTo>
                <a:cubicBezTo>
                  <a:pt x="4056299" y="3981641"/>
                  <a:pt x="3990109" y="4047831"/>
                  <a:pt x="3906982" y="4047831"/>
                </a:cubicBezTo>
                <a:lnTo>
                  <a:pt x="1139155" y="4047831"/>
                </a:lnTo>
                <a:cubicBezTo>
                  <a:pt x="1056028" y="4047831"/>
                  <a:pt x="989838" y="3981641"/>
                  <a:pt x="989838" y="3898513"/>
                </a:cubicBezTo>
                <a:cubicBezTo>
                  <a:pt x="989838" y="3815386"/>
                  <a:pt x="1056028" y="3749196"/>
                  <a:pt x="1139155" y="3749196"/>
                </a:cubicBezTo>
                <a:lnTo>
                  <a:pt x="3906982" y="3749196"/>
                </a:lnTo>
                <a:cubicBezTo>
                  <a:pt x="3990109" y="3749196"/>
                  <a:pt x="4056299" y="3815386"/>
                  <a:pt x="4056299" y="3898513"/>
                </a:cubicBezTo>
                <a:close/>
                <a:moveTo>
                  <a:pt x="1139155" y="2834796"/>
                </a:moveTo>
                <a:lnTo>
                  <a:pt x="3906982" y="2834796"/>
                </a:lnTo>
                <a:cubicBezTo>
                  <a:pt x="3990109" y="2834796"/>
                  <a:pt x="4056299" y="2900986"/>
                  <a:pt x="4056299" y="2984113"/>
                </a:cubicBezTo>
                <a:cubicBezTo>
                  <a:pt x="4056299" y="3067240"/>
                  <a:pt x="3990109" y="3133431"/>
                  <a:pt x="3906982" y="3133431"/>
                </a:cubicBezTo>
                <a:lnTo>
                  <a:pt x="1139155" y="3133431"/>
                </a:lnTo>
                <a:cubicBezTo>
                  <a:pt x="1056028" y="3133431"/>
                  <a:pt x="989838" y="3067240"/>
                  <a:pt x="989838" y="2984113"/>
                </a:cubicBezTo>
                <a:cubicBezTo>
                  <a:pt x="980590" y="2909455"/>
                  <a:pt x="1047560" y="2834796"/>
                  <a:pt x="1139155" y="2834796"/>
                </a:cubicBezTo>
                <a:close/>
                <a:moveTo>
                  <a:pt x="980590" y="1172251"/>
                </a:moveTo>
                <a:cubicBezTo>
                  <a:pt x="980590" y="1089123"/>
                  <a:pt x="1046780" y="1022933"/>
                  <a:pt x="1129908" y="1022933"/>
                </a:cubicBezTo>
                <a:lnTo>
                  <a:pt x="2085871" y="1022933"/>
                </a:lnTo>
                <a:cubicBezTo>
                  <a:pt x="2168998" y="1022933"/>
                  <a:pt x="2235189" y="1089123"/>
                  <a:pt x="2235189" y="1172251"/>
                </a:cubicBezTo>
                <a:cubicBezTo>
                  <a:pt x="2235189" y="1255378"/>
                  <a:pt x="2168998" y="1321568"/>
                  <a:pt x="2085871" y="1321568"/>
                </a:cubicBezTo>
                <a:lnTo>
                  <a:pt x="1761831" y="1321568"/>
                </a:lnTo>
                <a:lnTo>
                  <a:pt x="1761831" y="1969649"/>
                </a:lnTo>
                <a:cubicBezTo>
                  <a:pt x="1761831" y="2052776"/>
                  <a:pt x="1695641" y="2118966"/>
                  <a:pt x="1612513" y="2118966"/>
                </a:cubicBezTo>
                <a:cubicBezTo>
                  <a:pt x="1529386" y="2118966"/>
                  <a:pt x="1463196" y="2052776"/>
                  <a:pt x="1463196" y="1969649"/>
                </a:cubicBezTo>
                <a:lnTo>
                  <a:pt x="1463196" y="1330036"/>
                </a:lnTo>
                <a:lnTo>
                  <a:pt x="1139155" y="1330036"/>
                </a:lnTo>
                <a:cubicBezTo>
                  <a:pt x="1047560" y="1330036"/>
                  <a:pt x="980590" y="1255378"/>
                  <a:pt x="980590" y="1172251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7" name="Forma libre 344">
            <a:extLst>
              <a:ext uri="{FF2B5EF4-FFF2-40B4-BE49-F238E27FC236}">
                <a16:creationId xmlns:a16="http://schemas.microsoft.com/office/drawing/2014/main" xmlns="" id="{9286091B-AA1A-634A-8108-DD12320A3A7B}"/>
              </a:ext>
            </a:extLst>
          </p:cNvPr>
          <p:cNvSpPr/>
          <p:nvPr/>
        </p:nvSpPr>
        <p:spPr>
          <a:xfrm>
            <a:off x="8835431" y="5288003"/>
            <a:ext cx="246594" cy="354647"/>
          </a:xfrm>
          <a:custGeom>
            <a:avLst/>
            <a:gdLst>
              <a:gd name="connsiteX0" fmla="*/ 4749366 w 4762500"/>
              <a:gd name="connsiteY0" fmla="*/ 2777534 h 6849340"/>
              <a:gd name="connsiteX1" fmla="*/ 4580029 w 4762500"/>
              <a:gd name="connsiteY1" fmla="*/ 2641906 h 6849340"/>
              <a:gd name="connsiteX2" fmla="*/ 4562780 w 4762500"/>
              <a:gd name="connsiteY2" fmla="*/ 2641906 h 6849340"/>
              <a:gd name="connsiteX3" fmla="*/ 4486736 w 4762500"/>
              <a:gd name="connsiteY3" fmla="*/ 2633282 h 6849340"/>
              <a:gd name="connsiteX4" fmla="*/ 4453026 w 4762500"/>
              <a:gd name="connsiteY4" fmla="*/ 2633282 h 6849340"/>
              <a:gd name="connsiteX5" fmla="*/ 2979984 w 4762500"/>
              <a:gd name="connsiteY5" fmla="*/ 2633282 h 6849340"/>
              <a:gd name="connsiteX6" fmla="*/ 3691026 w 4762500"/>
              <a:gd name="connsiteY6" fmla="*/ 364530 h 6849340"/>
              <a:gd name="connsiteX7" fmla="*/ 3699650 w 4762500"/>
              <a:gd name="connsiteY7" fmla="*/ 347282 h 6849340"/>
              <a:gd name="connsiteX8" fmla="*/ 3614982 w 4762500"/>
              <a:gd name="connsiteY8" fmla="*/ 33701 h 6849340"/>
              <a:gd name="connsiteX9" fmla="*/ 3487987 w 4762500"/>
              <a:gd name="connsiteY9" fmla="*/ 0 h 6849340"/>
              <a:gd name="connsiteX10" fmla="*/ 3284940 w 4762500"/>
              <a:gd name="connsiteY10" fmla="*/ 109754 h 6849340"/>
              <a:gd name="connsiteX11" fmla="*/ 3276316 w 4762500"/>
              <a:gd name="connsiteY11" fmla="*/ 127003 h 6849340"/>
              <a:gd name="connsiteX12" fmla="*/ 1879319 w 4762500"/>
              <a:gd name="connsiteY12" fmla="*/ 1659627 h 6849340"/>
              <a:gd name="connsiteX13" fmla="*/ 1074984 w 4762500"/>
              <a:gd name="connsiteY13" fmla="*/ 2539997 h 6849340"/>
              <a:gd name="connsiteX14" fmla="*/ 76228 w 4762500"/>
              <a:gd name="connsiteY14" fmla="*/ 3640663 h 6849340"/>
              <a:gd name="connsiteX15" fmla="*/ 8808 w 4762500"/>
              <a:gd name="connsiteY15" fmla="*/ 3911909 h 6849340"/>
              <a:gd name="connsiteX16" fmla="*/ 195385 w 4762500"/>
              <a:gd name="connsiteY16" fmla="*/ 4056152 h 6849340"/>
              <a:gd name="connsiteX17" fmla="*/ 212634 w 4762500"/>
              <a:gd name="connsiteY17" fmla="*/ 4064777 h 6849340"/>
              <a:gd name="connsiteX18" fmla="*/ 288678 w 4762500"/>
              <a:gd name="connsiteY18" fmla="*/ 4073401 h 6849340"/>
              <a:gd name="connsiteX19" fmla="*/ 331013 w 4762500"/>
              <a:gd name="connsiteY19" fmla="*/ 4073401 h 6849340"/>
              <a:gd name="connsiteX20" fmla="*/ 1677060 w 4762500"/>
              <a:gd name="connsiteY20" fmla="*/ 4073401 h 6849340"/>
              <a:gd name="connsiteX21" fmla="*/ 1135347 w 4762500"/>
              <a:gd name="connsiteY21" fmla="*/ 6172824 h 6849340"/>
              <a:gd name="connsiteX22" fmla="*/ 1033429 w 4762500"/>
              <a:gd name="connsiteY22" fmla="*/ 6578909 h 6849340"/>
              <a:gd name="connsiteX23" fmla="*/ 1143183 w 4762500"/>
              <a:gd name="connsiteY23" fmla="*/ 6824282 h 6849340"/>
              <a:gd name="connsiteX24" fmla="*/ 1252937 w 4762500"/>
              <a:gd name="connsiteY24" fmla="*/ 6857992 h 6849340"/>
              <a:gd name="connsiteX25" fmla="*/ 1252937 w 4762500"/>
              <a:gd name="connsiteY25" fmla="*/ 6857992 h 6849340"/>
              <a:gd name="connsiteX26" fmla="*/ 1362691 w 4762500"/>
              <a:gd name="connsiteY26" fmla="*/ 6832906 h 6849340"/>
              <a:gd name="connsiteX27" fmla="*/ 1472445 w 4762500"/>
              <a:gd name="connsiteY27" fmla="*/ 6739613 h 6849340"/>
              <a:gd name="connsiteX28" fmla="*/ 4326031 w 4762500"/>
              <a:gd name="connsiteY28" fmla="*/ 3488575 h 6849340"/>
              <a:gd name="connsiteX29" fmla="*/ 4698407 w 4762500"/>
              <a:gd name="connsiteY29" fmla="*/ 3056616 h 6849340"/>
              <a:gd name="connsiteX30" fmla="*/ 4749366 w 4762500"/>
              <a:gd name="connsiteY30" fmla="*/ 2777534 h 6849340"/>
              <a:gd name="connsiteX31" fmla="*/ 4088496 w 4762500"/>
              <a:gd name="connsiteY31" fmla="*/ 3268287 h 6849340"/>
              <a:gd name="connsiteX32" fmla="*/ 1405034 w 4762500"/>
              <a:gd name="connsiteY32" fmla="*/ 6324912 h 6849340"/>
              <a:gd name="connsiteX33" fmla="*/ 1430120 w 4762500"/>
              <a:gd name="connsiteY33" fmla="*/ 6231619 h 6849340"/>
              <a:gd name="connsiteX34" fmla="*/ 1971832 w 4762500"/>
              <a:gd name="connsiteY34" fmla="*/ 4123572 h 6849340"/>
              <a:gd name="connsiteX35" fmla="*/ 1929498 w 4762500"/>
              <a:gd name="connsiteY35" fmla="*/ 3852326 h 6849340"/>
              <a:gd name="connsiteX36" fmla="*/ 1692741 w 4762500"/>
              <a:gd name="connsiteY36" fmla="*/ 3733947 h 6849340"/>
              <a:gd name="connsiteX37" fmla="*/ 389028 w 4762500"/>
              <a:gd name="connsiteY37" fmla="*/ 3733947 h 6849340"/>
              <a:gd name="connsiteX38" fmla="*/ 1295272 w 4762500"/>
              <a:gd name="connsiteY38" fmla="*/ 2735190 h 6849340"/>
              <a:gd name="connsiteX39" fmla="*/ 2099606 w 4762500"/>
              <a:gd name="connsiteY39" fmla="*/ 1854812 h 6849340"/>
              <a:gd name="connsiteX40" fmla="*/ 3301401 w 4762500"/>
              <a:gd name="connsiteY40" fmla="*/ 542475 h 6849340"/>
              <a:gd name="connsiteX41" fmla="*/ 2657780 w 4762500"/>
              <a:gd name="connsiteY41" fmla="*/ 2608188 h 6849340"/>
              <a:gd name="connsiteX42" fmla="*/ 2657780 w 4762500"/>
              <a:gd name="connsiteY42" fmla="*/ 2625437 h 6849340"/>
              <a:gd name="connsiteX43" fmla="*/ 2700114 w 4762500"/>
              <a:gd name="connsiteY43" fmla="*/ 2854348 h 6849340"/>
              <a:gd name="connsiteX44" fmla="*/ 2929026 w 4762500"/>
              <a:gd name="connsiteY44" fmla="*/ 2947641 h 6849340"/>
              <a:gd name="connsiteX45" fmla="*/ 4368357 w 4762500"/>
              <a:gd name="connsiteY45" fmla="*/ 2947641 h 6849340"/>
              <a:gd name="connsiteX46" fmla="*/ 4088496 w 4762500"/>
              <a:gd name="connsiteY46" fmla="*/ 3268287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762500" h="6849340">
                <a:moveTo>
                  <a:pt x="4749366" y="2777534"/>
                </a:moveTo>
                <a:cubicBezTo>
                  <a:pt x="4715656" y="2684240"/>
                  <a:pt x="4622363" y="2659155"/>
                  <a:pt x="4580029" y="2641906"/>
                </a:cubicBezTo>
                <a:lnTo>
                  <a:pt x="4562780" y="2641906"/>
                </a:lnTo>
                <a:cubicBezTo>
                  <a:pt x="4537694" y="2633282"/>
                  <a:pt x="4520446" y="2633282"/>
                  <a:pt x="4486736" y="2633282"/>
                </a:cubicBezTo>
                <a:cubicBezTo>
                  <a:pt x="4478111" y="2633282"/>
                  <a:pt x="4469487" y="2633282"/>
                  <a:pt x="4453026" y="2633282"/>
                </a:cubicBezTo>
                <a:lnTo>
                  <a:pt x="2979984" y="2633282"/>
                </a:lnTo>
                <a:lnTo>
                  <a:pt x="3691026" y="364530"/>
                </a:lnTo>
                <a:lnTo>
                  <a:pt x="3699650" y="347282"/>
                </a:lnTo>
                <a:cubicBezTo>
                  <a:pt x="3750609" y="203038"/>
                  <a:pt x="3724736" y="101909"/>
                  <a:pt x="3614982" y="33701"/>
                </a:cubicBezTo>
                <a:cubicBezTo>
                  <a:pt x="3572656" y="8624"/>
                  <a:pt x="3530322" y="0"/>
                  <a:pt x="3487987" y="0"/>
                </a:cubicBezTo>
                <a:cubicBezTo>
                  <a:pt x="3378233" y="0"/>
                  <a:pt x="3318650" y="76044"/>
                  <a:pt x="3284940" y="109754"/>
                </a:cubicBezTo>
                <a:lnTo>
                  <a:pt x="3276316" y="127003"/>
                </a:lnTo>
                <a:cubicBezTo>
                  <a:pt x="2810656" y="634997"/>
                  <a:pt x="2344987" y="1143000"/>
                  <a:pt x="1879319" y="1659627"/>
                </a:cubicBezTo>
                <a:lnTo>
                  <a:pt x="1074984" y="2539997"/>
                </a:lnTo>
                <a:cubicBezTo>
                  <a:pt x="744943" y="2903748"/>
                  <a:pt x="406277" y="3268287"/>
                  <a:pt x="76228" y="3640663"/>
                </a:cubicBezTo>
                <a:cubicBezTo>
                  <a:pt x="16644" y="3700246"/>
                  <a:pt x="-17066" y="3818616"/>
                  <a:pt x="8808" y="3911909"/>
                </a:cubicBezTo>
                <a:cubicBezTo>
                  <a:pt x="42518" y="4005202"/>
                  <a:pt x="135811" y="4038912"/>
                  <a:pt x="195385" y="4056152"/>
                </a:cubicBezTo>
                <a:lnTo>
                  <a:pt x="212634" y="4064777"/>
                </a:lnTo>
                <a:cubicBezTo>
                  <a:pt x="237720" y="4073401"/>
                  <a:pt x="254968" y="4073401"/>
                  <a:pt x="288678" y="4073401"/>
                </a:cubicBezTo>
                <a:cubicBezTo>
                  <a:pt x="297303" y="4073401"/>
                  <a:pt x="305927" y="4073401"/>
                  <a:pt x="331013" y="4073401"/>
                </a:cubicBezTo>
                <a:lnTo>
                  <a:pt x="1677060" y="4073401"/>
                </a:lnTo>
                <a:lnTo>
                  <a:pt x="1135347" y="6172824"/>
                </a:lnTo>
                <a:cubicBezTo>
                  <a:pt x="1101637" y="6299827"/>
                  <a:pt x="1067927" y="6444070"/>
                  <a:pt x="1033429" y="6578909"/>
                </a:cubicBezTo>
                <a:cubicBezTo>
                  <a:pt x="1016180" y="6672202"/>
                  <a:pt x="1075764" y="6781956"/>
                  <a:pt x="1143183" y="6824282"/>
                </a:cubicBezTo>
                <a:cubicBezTo>
                  <a:pt x="1176893" y="6841531"/>
                  <a:pt x="1210603" y="6857992"/>
                  <a:pt x="1252937" y="6857992"/>
                </a:cubicBezTo>
                <a:lnTo>
                  <a:pt x="1252937" y="6857992"/>
                </a:lnTo>
                <a:cubicBezTo>
                  <a:pt x="1286647" y="6857992"/>
                  <a:pt x="1328982" y="6849367"/>
                  <a:pt x="1362691" y="6832906"/>
                </a:cubicBezTo>
                <a:cubicBezTo>
                  <a:pt x="1422275" y="6815657"/>
                  <a:pt x="1447360" y="6773323"/>
                  <a:pt x="1472445" y="6739613"/>
                </a:cubicBezTo>
                <a:lnTo>
                  <a:pt x="4326031" y="3488575"/>
                </a:lnTo>
                <a:cubicBezTo>
                  <a:pt x="4453035" y="3344331"/>
                  <a:pt x="4580029" y="3200868"/>
                  <a:pt x="4698407" y="3056616"/>
                </a:cubicBezTo>
                <a:cubicBezTo>
                  <a:pt x="4749366" y="2980580"/>
                  <a:pt x="4783076" y="2870826"/>
                  <a:pt x="4749366" y="2777534"/>
                </a:cubicBezTo>
                <a:close/>
                <a:moveTo>
                  <a:pt x="4088496" y="3268287"/>
                </a:moveTo>
                <a:lnTo>
                  <a:pt x="1405034" y="6324912"/>
                </a:lnTo>
                <a:cubicBezTo>
                  <a:pt x="1413659" y="6291202"/>
                  <a:pt x="1422283" y="6265329"/>
                  <a:pt x="1430120" y="6231619"/>
                </a:cubicBezTo>
                <a:lnTo>
                  <a:pt x="1971832" y="4123572"/>
                </a:lnTo>
                <a:cubicBezTo>
                  <a:pt x="2005542" y="3987944"/>
                  <a:pt x="1971832" y="3903285"/>
                  <a:pt x="1929498" y="3852326"/>
                </a:cubicBezTo>
                <a:cubicBezTo>
                  <a:pt x="1878539" y="3784906"/>
                  <a:pt x="1793871" y="3742572"/>
                  <a:pt x="1692741" y="3733947"/>
                </a:cubicBezTo>
                <a:lnTo>
                  <a:pt x="389028" y="3733947"/>
                </a:lnTo>
                <a:cubicBezTo>
                  <a:pt x="693984" y="3403906"/>
                  <a:pt x="998940" y="3073865"/>
                  <a:pt x="1295272" y="2735190"/>
                </a:cubicBezTo>
                <a:lnTo>
                  <a:pt x="2099606" y="1854812"/>
                </a:lnTo>
                <a:cubicBezTo>
                  <a:pt x="2497067" y="1414229"/>
                  <a:pt x="2903152" y="973654"/>
                  <a:pt x="3301401" y="542475"/>
                </a:cubicBezTo>
                <a:lnTo>
                  <a:pt x="2657780" y="2608188"/>
                </a:lnTo>
                <a:cubicBezTo>
                  <a:pt x="2657780" y="2608188"/>
                  <a:pt x="2657780" y="2616812"/>
                  <a:pt x="2657780" y="2625437"/>
                </a:cubicBezTo>
                <a:cubicBezTo>
                  <a:pt x="2640531" y="2710105"/>
                  <a:pt x="2657780" y="2786149"/>
                  <a:pt x="2700114" y="2854348"/>
                </a:cubicBezTo>
                <a:cubicBezTo>
                  <a:pt x="2733824" y="2896682"/>
                  <a:pt x="2802032" y="2947641"/>
                  <a:pt x="2929026" y="2947641"/>
                </a:cubicBezTo>
                <a:lnTo>
                  <a:pt x="4368357" y="2947641"/>
                </a:lnTo>
                <a:cubicBezTo>
                  <a:pt x="4275073" y="3056625"/>
                  <a:pt x="4181788" y="3158534"/>
                  <a:pt x="4088496" y="3268287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8" name="Forma libre 346">
            <a:extLst>
              <a:ext uri="{FF2B5EF4-FFF2-40B4-BE49-F238E27FC236}">
                <a16:creationId xmlns:a16="http://schemas.microsoft.com/office/drawing/2014/main" xmlns="" id="{F114F5CE-B6FA-B344-9DB3-65DBA2D524DD}"/>
              </a:ext>
            </a:extLst>
          </p:cNvPr>
          <p:cNvSpPr/>
          <p:nvPr/>
        </p:nvSpPr>
        <p:spPr>
          <a:xfrm>
            <a:off x="5027204" y="3364530"/>
            <a:ext cx="301831" cy="299858"/>
          </a:xfrm>
          <a:custGeom>
            <a:avLst/>
            <a:gdLst>
              <a:gd name="connsiteX0" fmla="*/ 5543474 w 5829300"/>
              <a:gd name="connsiteY0" fmla="*/ 3893668 h 5791200"/>
              <a:gd name="connsiteX1" fmla="*/ 5734250 w 5829300"/>
              <a:gd name="connsiteY1" fmla="*/ 2867120 h 5791200"/>
              <a:gd name="connsiteX2" fmla="*/ 2867130 w 5829300"/>
              <a:gd name="connsiteY2" fmla="*/ 0 h 5791200"/>
              <a:gd name="connsiteX3" fmla="*/ 0 w 5829300"/>
              <a:gd name="connsiteY3" fmla="*/ 2867120 h 5791200"/>
              <a:gd name="connsiteX4" fmla="*/ 1004821 w 5829300"/>
              <a:gd name="connsiteY4" fmla="*/ 5045126 h 5791200"/>
              <a:gd name="connsiteX5" fmla="*/ 1034015 w 5829300"/>
              <a:gd name="connsiteY5" fmla="*/ 5066852 h 5791200"/>
              <a:gd name="connsiteX6" fmla="*/ 2867130 w 5829300"/>
              <a:gd name="connsiteY6" fmla="*/ 5734241 h 5791200"/>
              <a:gd name="connsiteX7" fmla="*/ 3952066 w 5829300"/>
              <a:gd name="connsiteY7" fmla="*/ 5521738 h 5791200"/>
              <a:gd name="connsiteX8" fmla="*/ 4692777 w 5829300"/>
              <a:gd name="connsiteY8" fmla="*/ 5793315 h 5791200"/>
              <a:gd name="connsiteX9" fmla="*/ 5829300 w 5829300"/>
              <a:gd name="connsiteY9" fmla="*/ 4656782 h 5791200"/>
              <a:gd name="connsiteX10" fmla="*/ 5543474 w 5829300"/>
              <a:gd name="connsiteY10" fmla="*/ 3893668 h 5791200"/>
              <a:gd name="connsiteX11" fmla="*/ 264100 w 5829300"/>
              <a:gd name="connsiteY11" fmla="*/ 2867120 h 5791200"/>
              <a:gd name="connsiteX12" fmla="*/ 2867120 w 5829300"/>
              <a:gd name="connsiteY12" fmla="*/ 264100 h 5791200"/>
              <a:gd name="connsiteX13" fmla="*/ 5470141 w 5829300"/>
              <a:gd name="connsiteY13" fmla="*/ 2867120 h 5791200"/>
              <a:gd name="connsiteX14" fmla="*/ 5330962 w 5829300"/>
              <a:gd name="connsiteY14" fmla="*/ 3710350 h 5791200"/>
              <a:gd name="connsiteX15" fmla="*/ 5316026 w 5829300"/>
              <a:gd name="connsiteY15" fmla="*/ 3702882 h 5791200"/>
              <a:gd name="connsiteX16" fmla="*/ 5250170 w 5829300"/>
              <a:gd name="connsiteY16" fmla="*/ 3658753 h 5791200"/>
              <a:gd name="connsiteX17" fmla="*/ 5220976 w 5829300"/>
              <a:gd name="connsiteY17" fmla="*/ 3643817 h 5791200"/>
              <a:gd name="connsiteX18" fmla="*/ 5162589 w 5829300"/>
              <a:gd name="connsiteY18" fmla="*/ 3614623 h 5791200"/>
              <a:gd name="connsiteX19" fmla="*/ 5133394 w 5829300"/>
              <a:gd name="connsiteY19" fmla="*/ 3599688 h 5791200"/>
              <a:gd name="connsiteX20" fmla="*/ 5060071 w 5829300"/>
              <a:gd name="connsiteY20" fmla="*/ 3570494 h 5791200"/>
              <a:gd name="connsiteX21" fmla="*/ 5045135 w 5829300"/>
              <a:gd name="connsiteY21" fmla="*/ 3563026 h 5791200"/>
              <a:gd name="connsiteX22" fmla="*/ 4950085 w 5829300"/>
              <a:gd name="connsiteY22" fmla="*/ 3541300 h 5791200"/>
              <a:gd name="connsiteX23" fmla="*/ 4920892 w 5829300"/>
              <a:gd name="connsiteY23" fmla="*/ 3533832 h 5791200"/>
              <a:gd name="connsiteX24" fmla="*/ 4847568 w 5829300"/>
              <a:gd name="connsiteY24" fmla="*/ 3518897 h 5791200"/>
              <a:gd name="connsiteX25" fmla="*/ 4818374 w 5829300"/>
              <a:gd name="connsiteY25" fmla="*/ 3518897 h 5791200"/>
              <a:gd name="connsiteX26" fmla="*/ 4715856 w 5829300"/>
              <a:gd name="connsiteY26" fmla="*/ 3511429 h 5791200"/>
              <a:gd name="connsiteX27" fmla="*/ 4180856 w 5829300"/>
              <a:gd name="connsiteY27" fmla="*/ 3643141 h 5791200"/>
              <a:gd name="connsiteX28" fmla="*/ 3792512 w 5829300"/>
              <a:gd name="connsiteY28" fmla="*/ 3364783 h 5791200"/>
              <a:gd name="connsiteX29" fmla="*/ 4034209 w 5829300"/>
              <a:gd name="connsiteY29" fmla="*/ 2668200 h 5791200"/>
              <a:gd name="connsiteX30" fmla="*/ 2897676 w 5829300"/>
              <a:gd name="connsiteY30" fmla="*/ 1531668 h 5791200"/>
              <a:gd name="connsiteX31" fmla="*/ 1730597 w 5829300"/>
              <a:gd name="connsiteY31" fmla="*/ 2668877 h 5791200"/>
              <a:gd name="connsiteX32" fmla="*/ 1972294 w 5829300"/>
              <a:gd name="connsiteY32" fmla="*/ 3372927 h 5791200"/>
              <a:gd name="connsiteX33" fmla="*/ 1004135 w 5829300"/>
              <a:gd name="connsiteY33" fmla="*/ 4677833 h 5791200"/>
              <a:gd name="connsiteX34" fmla="*/ 264100 w 5829300"/>
              <a:gd name="connsiteY34" fmla="*/ 2867120 h 5791200"/>
              <a:gd name="connsiteX35" fmla="*/ 1994697 w 5829300"/>
              <a:gd name="connsiteY35" fmla="*/ 2668877 h 5791200"/>
              <a:gd name="connsiteX36" fmla="*/ 2867120 w 5829300"/>
              <a:gd name="connsiteY36" fmla="*/ 1796453 h 5791200"/>
              <a:gd name="connsiteX37" fmla="*/ 3739544 w 5829300"/>
              <a:gd name="connsiteY37" fmla="*/ 2668877 h 5791200"/>
              <a:gd name="connsiteX38" fmla="*/ 2867120 w 5829300"/>
              <a:gd name="connsiteY38" fmla="*/ 3541300 h 5791200"/>
              <a:gd name="connsiteX39" fmla="*/ 1994697 w 5829300"/>
              <a:gd name="connsiteY39" fmla="*/ 2668877 h 5791200"/>
              <a:gd name="connsiteX40" fmla="*/ 2867130 w 5829300"/>
              <a:gd name="connsiteY40" fmla="*/ 5462674 h 5791200"/>
              <a:gd name="connsiteX41" fmla="*/ 1239050 w 5829300"/>
              <a:gd name="connsiteY41" fmla="*/ 4891011 h 5791200"/>
              <a:gd name="connsiteX42" fmla="*/ 2163080 w 5829300"/>
              <a:gd name="connsiteY42" fmla="*/ 3563703 h 5791200"/>
              <a:gd name="connsiteX43" fmla="*/ 2867130 w 5829300"/>
              <a:gd name="connsiteY43" fmla="*/ 3805400 h 5791200"/>
              <a:gd name="connsiteX44" fmla="*/ 3571180 w 5829300"/>
              <a:gd name="connsiteY44" fmla="*/ 3563703 h 5791200"/>
              <a:gd name="connsiteX45" fmla="*/ 3937807 w 5829300"/>
              <a:gd name="connsiteY45" fmla="*/ 3805400 h 5791200"/>
              <a:gd name="connsiteX46" fmla="*/ 3556245 w 5829300"/>
              <a:gd name="connsiteY46" fmla="*/ 4648629 h 5791200"/>
              <a:gd name="connsiteX47" fmla="*/ 3563712 w 5829300"/>
              <a:gd name="connsiteY47" fmla="*/ 4751146 h 5791200"/>
              <a:gd name="connsiteX48" fmla="*/ 3563712 w 5829300"/>
              <a:gd name="connsiteY48" fmla="*/ 4780341 h 5791200"/>
              <a:gd name="connsiteX49" fmla="*/ 3578647 w 5829300"/>
              <a:gd name="connsiteY49" fmla="*/ 4861132 h 5791200"/>
              <a:gd name="connsiteX50" fmla="*/ 3586115 w 5829300"/>
              <a:gd name="connsiteY50" fmla="*/ 4882858 h 5791200"/>
              <a:gd name="connsiteX51" fmla="*/ 3651971 w 5829300"/>
              <a:gd name="connsiteY51" fmla="*/ 5087894 h 5791200"/>
              <a:gd name="connsiteX52" fmla="*/ 3651971 w 5829300"/>
              <a:gd name="connsiteY52" fmla="*/ 5087894 h 5791200"/>
              <a:gd name="connsiteX53" fmla="*/ 3696100 w 5829300"/>
              <a:gd name="connsiteY53" fmla="*/ 5182944 h 5791200"/>
              <a:gd name="connsiteX54" fmla="*/ 3703568 w 5829300"/>
              <a:gd name="connsiteY54" fmla="*/ 5190411 h 5791200"/>
              <a:gd name="connsiteX55" fmla="*/ 3755165 w 5829300"/>
              <a:gd name="connsiteY55" fmla="*/ 5278670 h 5791200"/>
              <a:gd name="connsiteX56" fmla="*/ 3755165 w 5829300"/>
              <a:gd name="connsiteY56" fmla="*/ 5286137 h 5791200"/>
              <a:gd name="connsiteX57" fmla="*/ 3770100 w 5829300"/>
              <a:gd name="connsiteY57" fmla="*/ 5301072 h 5791200"/>
              <a:gd name="connsiteX58" fmla="*/ 2867130 w 5829300"/>
              <a:gd name="connsiteY58" fmla="*/ 5462674 h 5791200"/>
              <a:gd name="connsiteX59" fmla="*/ 4692768 w 5829300"/>
              <a:gd name="connsiteY59" fmla="*/ 5528529 h 5791200"/>
              <a:gd name="connsiteX60" fmla="*/ 3842071 w 5829300"/>
              <a:gd name="connsiteY60" fmla="*/ 4839415 h 5791200"/>
              <a:gd name="connsiteX61" fmla="*/ 3842071 w 5829300"/>
              <a:gd name="connsiteY61" fmla="*/ 4831947 h 5791200"/>
              <a:gd name="connsiteX62" fmla="*/ 3834603 w 5829300"/>
              <a:gd name="connsiteY62" fmla="*/ 4758624 h 5791200"/>
              <a:gd name="connsiteX63" fmla="*/ 3834603 w 5829300"/>
              <a:gd name="connsiteY63" fmla="*/ 4743688 h 5791200"/>
              <a:gd name="connsiteX64" fmla="*/ 3827136 w 5829300"/>
              <a:gd name="connsiteY64" fmla="*/ 4655430 h 5791200"/>
              <a:gd name="connsiteX65" fmla="*/ 4699559 w 5829300"/>
              <a:gd name="connsiteY65" fmla="*/ 3783006 h 5791200"/>
              <a:gd name="connsiteX66" fmla="*/ 4787818 w 5829300"/>
              <a:gd name="connsiteY66" fmla="*/ 3790474 h 5791200"/>
              <a:gd name="connsiteX67" fmla="*/ 4824479 w 5829300"/>
              <a:gd name="connsiteY67" fmla="*/ 3797941 h 5791200"/>
              <a:gd name="connsiteX68" fmla="*/ 4876076 w 5829300"/>
              <a:gd name="connsiteY68" fmla="*/ 3805409 h 5791200"/>
              <a:gd name="connsiteX69" fmla="*/ 4920206 w 5829300"/>
              <a:gd name="connsiteY69" fmla="*/ 3812877 h 5791200"/>
              <a:gd name="connsiteX70" fmla="*/ 4956867 w 5829300"/>
              <a:gd name="connsiteY70" fmla="*/ 3820344 h 5791200"/>
              <a:gd name="connsiteX71" fmla="*/ 5000997 w 5829300"/>
              <a:gd name="connsiteY71" fmla="*/ 3835279 h 5791200"/>
              <a:gd name="connsiteX72" fmla="*/ 5037658 w 5829300"/>
              <a:gd name="connsiteY72" fmla="*/ 3850215 h 5791200"/>
              <a:gd name="connsiteX73" fmla="*/ 5081788 w 5829300"/>
              <a:gd name="connsiteY73" fmla="*/ 3871941 h 5791200"/>
              <a:gd name="connsiteX74" fmla="*/ 5110982 w 5829300"/>
              <a:gd name="connsiteY74" fmla="*/ 3886876 h 5791200"/>
              <a:gd name="connsiteX75" fmla="*/ 5162579 w 5829300"/>
              <a:gd name="connsiteY75" fmla="*/ 3916070 h 5791200"/>
              <a:gd name="connsiteX76" fmla="*/ 5184305 w 5829300"/>
              <a:gd name="connsiteY76" fmla="*/ 3931006 h 5791200"/>
              <a:gd name="connsiteX77" fmla="*/ 5235902 w 5829300"/>
              <a:gd name="connsiteY77" fmla="*/ 3967667 h 5791200"/>
              <a:gd name="connsiteX78" fmla="*/ 5250837 w 5829300"/>
              <a:gd name="connsiteY78" fmla="*/ 3982603 h 5791200"/>
              <a:gd name="connsiteX79" fmla="*/ 5302434 w 5829300"/>
              <a:gd name="connsiteY79" fmla="*/ 4026732 h 5791200"/>
              <a:gd name="connsiteX80" fmla="*/ 5580793 w 5829300"/>
              <a:gd name="connsiteY80" fmla="*/ 4664926 h 5791200"/>
              <a:gd name="connsiteX81" fmla="*/ 4692768 w 5829300"/>
              <a:gd name="connsiteY81" fmla="*/ 5528529 h 5791200"/>
              <a:gd name="connsiteX82" fmla="*/ 5191782 w 5829300"/>
              <a:gd name="connsiteY82" fmla="*/ 4648638 h 5791200"/>
              <a:gd name="connsiteX83" fmla="*/ 5060071 w 5829300"/>
              <a:gd name="connsiteY83" fmla="*/ 4780350 h 5791200"/>
              <a:gd name="connsiteX84" fmla="*/ 4825165 w 5829300"/>
              <a:gd name="connsiteY84" fmla="*/ 4780350 h 5791200"/>
              <a:gd name="connsiteX85" fmla="*/ 4825165 w 5829300"/>
              <a:gd name="connsiteY85" fmla="*/ 5015256 h 5791200"/>
              <a:gd name="connsiteX86" fmla="*/ 4693454 w 5829300"/>
              <a:gd name="connsiteY86" fmla="*/ 5146967 h 5791200"/>
              <a:gd name="connsiteX87" fmla="*/ 4561742 w 5829300"/>
              <a:gd name="connsiteY87" fmla="*/ 5015256 h 5791200"/>
              <a:gd name="connsiteX88" fmla="*/ 4561742 w 5829300"/>
              <a:gd name="connsiteY88" fmla="*/ 4780350 h 5791200"/>
              <a:gd name="connsiteX89" fmla="*/ 4326827 w 5829300"/>
              <a:gd name="connsiteY89" fmla="*/ 4780350 h 5791200"/>
              <a:gd name="connsiteX90" fmla="*/ 4195115 w 5829300"/>
              <a:gd name="connsiteY90" fmla="*/ 4648638 h 5791200"/>
              <a:gd name="connsiteX91" fmla="*/ 4326827 w 5829300"/>
              <a:gd name="connsiteY91" fmla="*/ 4516927 h 5791200"/>
              <a:gd name="connsiteX92" fmla="*/ 4561732 w 5829300"/>
              <a:gd name="connsiteY92" fmla="*/ 4516927 h 5791200"/>
              <a:gd name="connsiteX93" fmla="*/ 4561732 w 5829300"/>
              <a:gd name="connsiteY93" fmla="*/ 4282021 h 5791200"/>
              <a:gd name="connsiteX94" fmla="*/ 4693444 w 5829300"/>
              <a:gd name="connsiteY94" fmla="*/ 4150309 h 5791200"/>
              <a:gd name="connsiteX95" fmla="*/ 4825156 w 5829300"/>
              <a:gd name="connsiteY95" fmla="*/ 4282021 h 5791200"/>
              <a:gd name="connsiteX96" fmla="*/ 4825156 w 5829300"/>
              <a:gd name="connsiteY96" fmla="*/ 4516927 h 5791200"/>
              <a:gd name="connsiteX97" fmla="*/ 5060061 w 5829300"/>
              <a:gd name="connsiteY97" fmla="*/ 4516927 h 5791200"/>
              <a:gd name="connsiteX98" fmla="*/ 5191782 w 5829300"/>
              <a:gd name="connsiteY98" fmla="*/ 4648638 h 57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5829300" h="5791200">
                <a:moveTo>
                  <a:pt x="5543474" y="3893668"/>
                </a:moveTo>
                <a:cubicBezTo>
                  <a:pt x="5668394" y="3563703"/>
                  <a:pt x="5734250" y="3218812"/>
                  <a:pt x="5734250" y="2867120"/>
                </a:cubicBezTo>
                <a:cubicBezTo>
                  <a:pt x="5734250" y="1290647"/>
                  <a:pt x="4451071" y="0"/>
                  <a:pt x="2867130" y="0"/>
                </a:cubicBezTo>
                <a:cubicBezTo>
                  <a:pt x="1283189" y="0"/>
                  <a:pt x="0" y="1290647"/>
                  <a:pt x="0" y="2867120"/>
                </a:cubicBezTo>
                <a:cubicBezTo>
                  <a:pt x="0" y="3739544"/>
                  <a:pt x="388344" y="4516927"/>
                  <a:pt x="1004821" y="5045126"/>
                </a:cubicBezTo>
                <a:cubicBezTo>
                  <a:pt x="1012288" y="5052593"/>
                  <a:pt x="1019756" y="5060062"/>
                  <a:pt x="1034015" y="5066852"/>
                </a:cubicBezTo>
                <a:cubicBezTo>
                  <a:pt x="1532353" y="5477609"/>
                  <a:pt x="2170548" y="5734241"/>
                  <a:pt x="2867130" y="5734241"/>
                </a:cubicBezTo>
                <a:cubicBezTo>
                  <a:pt x="3241224" y="5734241"/>
                  <a:pt x="3607842" y="5660917"/>
                  <a:pt x="3952066" y="5521738"/>
                </a:cubicBezTo>
                <a:cubicBezTo>
                  <a:pt x="4150309" y="5690111"/>
                  <a:pt x="4406951" y="5793315"/>
                  <a:pt x="4692777" y="5793315"/>
                </a:cubicBezTo>
                <a:cubicBezTo>
                  <a:pt x="5323494" y="5793315"/>
                  <a:pt x="5829300" y="5280041"/>
                  <a:pt x="5829300" y="4656782"/>
                </a:cubicBezTo>
                <a:cubicBezTo>
                  <a:pt x="5829300" y="4362812"/>
                  <a:pt x="5719315" y="4091235"/>
                  <a:pt x="5543474" y="3893668"/>
                </a:cubicBezTo>
                <a:close/>
                <a:moveTo>
                  <a:pt x="264100" y="2867120"/>
                </a:moveTo>
                <a:cubicBezTo>
                  <a:pt x="264100" y="1429826"/>
                  <a:pt x="1437294" y="264100"/>
                  <a:pt x="2867120" y="264100"/>
                </a:cubicBezTo>
                <a:cubicBezTo>
                  <a:pt x="4296947" y="264100"/>
                  <a:pt x="5470141" y="1429826"/>
                  <a:pt x="5470141" y="2867120"/>
                </a:cubicBezTo>
                <a:cubicBezTo>
                  <a:pt x="5470141" y="3152947"/>
                  <a:pt x="5426011" y="3438782"/>
                  <a:pt x="5330962" y="3710350"/>
                </a:cubicBezTo>
                <a:cubicBezTo>
                  <a:pt x="5323494" y="3710350"/>
                  <a:pt x="5323494" y="3702882"/>
                  <a:pt x="5316026" y="3702882"/>
                </a:cubicBezTo>
                <a:cubicBezTo>
                  <a:pt x="5294300" y="3687947"/>
                  <a:pt x="5271897" y="3673688"/>
                  <a:pt x="5250170" y="3658753"/>
                </a:cubicBezTo>
                <a:cubicBezTo>
                  <a:pt x="5242703" y="3651285"/>
                  <a:pt x="5228444" y="3643817"/>
                  <a:pt x="5220976" y="3643817"/>
                </a:cubicBezTo>
                <a:cubicBezTo>
                  <a:pt x="5199250" y="3636350"/>
                  <a:pt x="5184315" y="3622091"/>
                  <a:pt x="5162589" y="3614623"/>
                </a:cubicBezTo>
                <a:cubicBezTo>
                  <a:pt x="5155120" y="3607156"/>
                  <a:pt x="5140862" y="3607156"/>
                  <a:pt x="5133394" y="3599688"/>
                </a:cubicBezTo>
                <a:cubicBezTo>
                  <a:pt x="5111668" y="3592220"/>
                  <a:pt x="5081797" y="3577962"/>
                  <a:pt x="5060071" y="3570494"/>
                </a:cubicBezTo>
                <a:cubicBezTo>
                  <a:pt x="5052603" y="3570494"/>
                  <a:pt x="5045135" y="3563026"/>
                  <a:pt x="5045135" y="3563026"/>
                </a:cubicBezTo>
                <a:cubicBezTo>
                  <a:pt x="5015941" y="3555559"/>
                  <a:pt x="4979279" y="3548091"/>
                  <a:pt x="4950085" y="3541300"/>
                </a:cubicBezTo>
                <a:cubicBezTo>
                  <a:pt x="4942618" y="3541300"/>
                  <a:pt x="4928359" y="3533832"/>
                  <a:pt x="4920892" y="3533832"/>
                </a:cubicBezTo>
                <a:cubicBezTo>
                  <a:pt x="4899165" y="3526365"/>
                  <a:pt x="4869295" y="3526365"/>
                  <a:pt x="4847568" y="3518897"/>
                </a:cubicBezTo>
                <a:cubicBezTo>
                  <a:pt x="4840100" y="3518897"/>
                  <a:pt x="4825841" y="3518897"/>
                  <a:pt x="4818374" y="3518897"/>
                </a:cubicBezTo>
                <a:cubicBezTo>
                  <a:pt x="4781712" y="3518897"/>
                  <a:pt x="4752518" y="3511429"/>
                  <a:pt x="4715856" y="3511429"/>
                </a:cubicBezTo>
                <a:cubicBezTo>
                  <a:pt x="4517613" y="3511429"/>
                  <a:pt x="4334294" y="3563026"/>
                  <a:pt x="4180856" y="3643141"/>
                </a:cubicBezTo>
                <a:cubicBezTo>
                  <a:pt x="4063403" y="3533156"/>
                  <a:pt x="3939159" y="3438106"/>
                  <a:pt x="3792512" y="3364783"/>
                </a:cubicBezTo>
                <a:cubicBezTo>
                  <a:pt x="3946627" y="3174006"/>
                  <a:pt x="4034209" y="2932300"/>
                  <a:pt x="4034209" y="2668200"/>
                </a:cubicBezTo>
                <a:cubicBezTo>
                  <a:pt x="4034209" y="2037474"/>
                  <a:pt x="3520936" y="1531668"/>
                  <a:pt x="2897676" y="1531668"/>
                </a:cubicBezTo>
                <a:cubicBezTo>
                  <a:pt x="2274418" y="1531668"/>
                  <a:pt x="1730597" y="2038150"/>
                  <a:pt x="1730597" y="2668877"/>
                </a:cubicBezTo>
                <a:cubicBezTo>
                  <a:pt x="1730597" y="2932976"/>
                  <a:pt x="1818856" y="3174683"/>
                  <a:pt x="1972294" y="3372927"/>
                </a:cubicBezTo>
                <a:cubicBezTo>
                  <a:pt x="1290647" y="3747021"/>
                  <a:pt x="1077468" y="4333618"/>
                  <a:pt x="1004135" y="4677833"/>
                </a:cubicBezTo>
                <a:cubicBezTo>
                  <a:pt x="549935" y="4208688"/>
                  <a:pt x="264100" y="3570494"/>
                  <a:pt x="264100" y="2867120"/>
                </a:cubicBezTo>
                <a:close/>
                <a:moveTo>
                  <a:pt x="1994697" y="2668877"/>
                </a:moveTo>
                <a:cubicBezTo>
                  <a:pt x="1994697" y="2184797"/>
                  <a:pt x="2390518" y="1796453"/>
                  <a:pt x="2867120" y="1796453"/>
                </a:cubicBezTo>
                <a:cubicBezTo>
                  <a:pt x="3343723" y="1796453"/>
                  <a:pt x="3739544" y="2192274"/>
                  <a:pt x="3739544" y="2668877"/>
                </a:cubicBezTo>
                <a:cubicBezTo>
                  <a:pt x="3739544" y="3145479"/>
                  <a:pt x="3343723" y="3541300"/>
                  <a:pt x="2867120" y="3541300"/>
                </a:cubicBezTo>
                <a:cubicBezTo>
                  <a:pt x="2390518" y="3541300"/>
                  <a:pt x="1994697" y="3152956"/>
                  <a:pt x="1994697" y="2668877"/>
                </a:cubicBezTo>
                <a:close/>
                <a:moveTo>
                  <a:pt x="2867130" y="5462674"/>
                </a:moveTo>
                <a:cubicBezTo>
                  <a:pt x="2251339" y="5462674"/>
                  <a:pt x="1686468" y="5250171"/>
                  <a:pt x="1239050" y="4891011"/>
                </a:cubicBezTo>
                <a:cubicBezTo>
                  <a:pt x="1253985" y="4678509"/>
                  <a:pt x="1370762" y="3966991"/>
                  <a:pt x="2163080" y="3563703"/>
                </a:cubicBezTo>
                <a:cubicBezTo>
                  <a:pt x="2353856" y="3717817"/>
                  <a:pt x="2603030" y="3805400"/>
                  <a:pt x="2867130" y="3805400"/>
                </a:cubicBezTo>
                <a:cubicBezTo>
                  <a:pt x="3131230" y="3805400"/>
                  <a:pt x="3380404" y="3710350"/>
                  <a:pt x="3571180" y="3563703"/>
                </a:cubicBezTo>
                <a:cubicBezTo>
                  <a:pt x="3702892" y="3629559"/>
                  <a:pt x="3827812" y="3710350"/>
                  <a:pt x="3937807" y="3805400"/>
                </a:cubicBezTo>
                <a:cubicBezTo>
                  <a:pt x="3702901" y="4010435"/>
                  <a:pt x="3556245" y="4318673"/>
                  <a:pt x="3556245" y="4648629"/>
                </a:cubicBezTo>
                <a:cubicBezTo>
                  <a:pt x="3556245" y="4685290"/>
                  <a:pt x="3556245" y="4721952"/>
                  <a:pt x="3563712" y="4751146"/>
                </a:cubicBezTo>
                <a:cubicBezTo>
                  <a:pt x="3563712" y="4758614"/>
                  <a:pt x="3563712" y="4772873"/>
                  <a:pt x="3563712" y="4780341"/>
                </a:cubicBezTo>
                <a:cubicBezTo>
                  <a:pt x="3563712" y="4809535"/>
                  <a:pt x="3571180" y="4831937"/>
                  <a:pt x="3578647" y="4861132"/>
                </a:cubicBezTo>
                <a:cubicBezTo>
                  <a:pt x="3578647" y="4868599"/>
                  <a:pt x="3578647" y="4876067"/>
                  <a:pt x="3586115" y="4882858"/>
                </a:cubicBezTo>
                <a:cubicBezTo>
                  <a:pt x="3601050" y="4956182"/>
                  <a:pt x="3622777" y="5022038"/>
                  <a:pt x="3651971" y="5087894"/>
                </a:cubicBezTo>
                <a:lnTo>
                  <a:pt x="3651971" y="5087894"/>
                </a:lnTo>
                <a:cubicBezTo>
                  <a:pt x="3666906" y="5117088"/>
                  <a:pt x="3681165" y="5153749"/>
                  <a:pt x="3696100" y="5182944"/>
                </a:cubicBezTo>
                <a:cubicBezTo>
                  <a:pt x="3696100" y="5182944"/>
                  <a:pt x="3696100" y="5190411"/>
                  <a:pt x="3703568" y="5190411"/>
                </a:cubicBezTo>
                <a:cubicBezTo>
                  <a:pt x="3718503" y="5219605"/>
                  <a:pt x="3740229" y="5248799"/>
                  <a:pt x="3755165" y="5278670"/>
                </a:cubicBezTo>
                <a:cubicBezTo>
                  <a:pt x="3755165" y="5278670"/>
                  <a:pt x="3755165" y="5278670"/>
                  <a:pt x="3755165" y="5286137"/>
                </a:cubicBezTo>
                <a:cubicBezTo>
                  <a:pt x="3762632" y="5293605"/>
                  <a:pt x="3762632" y="5301072"/>
                  <a:pt x="3770100" y="5301072"/>
                </a:cubicBezTo>
                <a:cubicBezTo>
                  <a:pt x="3475444" y="5411077"/>
                  <a:pt x="3175359" y="5462674"/>
                  <a:pt x="2867130" y="5462674"/>
                </a:cubicBezTo>
                <a:close/>
                <a:moveTo>
                  <a:pt x="4692768" y="5528529"/>
                </a:moveTo>
                <a:cubicBezTo>
                  <a:pt x="4274544" y="5528529"/>
                  <a:pt x="3922862" y="5235236"/>
                  <a:pt x="3842071" y="4839415"/>
                </a:cubicBezTo>
                <a:lnTo>
                  <a:pt x="3842071" y="4831947"/>
                </a:lnTo>
                <a:cubicBezTo>
                  <a:pt x="3834603" y="4810220"/>
                  <a:pt x="3834603" y="4787818"/>
                  <a:pt x="3834603" y="4758624"/>
                </a:cubicBezTo>
                <a:cubicBezTo>
                  <a:pt x="3834603" y="4751156"/>
                  <a:pt x="3834603" y="4751156"/>
                  <a:pt x="3834603" y="4743688"/>
                </a:cubicBezTo>
                <a:cubicBezTo>
                  <a:pt x="3834603" y="4714494"/>
                  <a:pt x="3827136" y="4685300"/>
                  <a:pt x="3827136" y="4655430"/>
                </a:cubicBezTo>
                <a:cubicBezTo>
                  <a:pt x="3827136" y="4171350"/>
                  <a:pt x="4215480" y="3783006"/>
                  <a:pt x="4699559" y="3783006"/>
                </a:cubicBezTo>
                <a:cubicBezTo>
                  <a:pt x="4728753" y="3783006"/>
                  <a:pt x="4757947" y="3783006"/>
                  <a:pt x="4787818" y="3790474"/>
                </a:cubicBezTo>
                <a:cubicBezTo>
                  <a:pt x="4802753" y="3790474"/>
                  <a:pt x="4809544" y="3790474"/>
                  <a:pt x="4824479" y="3797941"/>
                </a:cubicBezTo>
                <a:cubicBezTo>
                  <a:pt x="4839415" y="3797941"/>
                  <a:pt x="4861141" y="3805409"/>
                  <a:pt x="4876076" y="3805409"/>
                </a:cubicBezTo>
                <a:cubicBezTo>
                  <a:pt x="4891012" y="3805409"/>
                  <a:pt x="4905271" y="3812877"/>
                  <a:pt x="4920206" y="3812877"/>
                </a:cubicBezTo>
                <a:cubicBezTo>
                  <a:pt x="4935141" y="3812877"/>
                  <a:pt x="4949400" y="3820344"/>
                  <a:pt x="4956867" y="3820344"/>
                </a:cubicBezTo>
                <a:cubicBezTo>
                  <a:pt x="4971803" y="3827812"/>
                  <a:pt x="4986062" y="3827812"/>
                  <a:pt x="5000997" y="3835279"/>
                </a:cubicBezTo>
                <a:cubicBezTo>
                  <a:pt x="5015932" y="3842747"/>
                  <a:pt x="5022723" y="3842747"/>
                  <a:pt x="5037658" y="3850215"/>
                </a:cubicBezTo>
                <a:cubicBezTo>
                  <a:pt x="5052594" y="3857682"/>
                  <a:pt x="5066853" y="3865150"/>
                  <a:pt x="5081788" y="3871941"/>
                </a:cubicBezTo>
                <a:cubicBezTo>
                  <a:pt x="5089255" y="3879409"/>
                  <a:pt x="5103514" y="3879409"/>
                  <a:pt x="5110982" y="3886876"/>
                </a:cubicBezTo>
                <a:cubicBezTo>
                  <a:pt x="5125917" y="3894344"/>
                  <a:pt x="5140176" y="3908603"/>
                  <a:pt x="5162579" y="3916070"/>
                </a:cubicBezTo>
                <a:cubicBezTo>
                  <a:pt x="5170046" y="3923538"/>
                  <a:pt x="5177514" y="3923538"/>
                  <a:pt x="5184305" y="3931006"/>
                </a:cubicBezTo>
                <a:cubicBezTo>
                  <a:pt x="5199240" y="3945941"/>
                  <a:pt x="5220967" y="3952732"/>
                  <a:pt x="5235902" y="3967667"/>
                </a:cubicBezTo>
                <a:cubicBezTo>
                  <a:pt x="5243370" y="3975135"/>
                  <a:pt x="5243370" y="3975135"/>
                  <a:pt x="5250837" y="3982603"/>
                </a:cubicBezTo>
                <a:cubicBezTo>
                  <a:pt x="5265772" y="3997538"/>
                  <a:pt x="5287499" y="4011797"/>
                  <a:pt x="5302434" y="4026732"/>
                </a:cubicBezTo>
                <a:cubicBezTo>
                  <a:pt x="5478275" y="4188314"/>
                  <a:pt x="5580793" y="4415085"/>
                  <a:pt x="5580793" y="4664926"/>
                </a:cubicBezTo>
                <a:cubicBezTo>
                  <a:pt x="5565201" y="5132718"/>
                  <a:pt x="5176847" y="5528529"/>
                  <a:pt x="4692768" y="5528529"/>
                </a:cubicBezTo>
                <a:close/>
                <a:moveTo>
                  <a:pt x="5191782" y="4648638"/>
                </a:moveTo>
                <a:cubicBezTo>
                  <a:pt x="5191782" y="4721962"/>
                  <a:pt x="5133394" y="4780350"/>
                  <a:pt x="5060071" y="4780350"/>
                </a:cubicBezTo>
                <a:lnTo>
                  <a:pt x="4825165" y="4780350"/>
                </a:lnTo>
                <a:lnTo>
                  <a:pt x="4825165" y="5015256"/>
                </a:lnTo>
                <a:cubicBezTo>
                  <a:pt x="4825165" y="5088579"/>
                  <a:pt x="4766777" y="5146967"/>
                  <a:pt x="4693454" y="5146967"/>
                </a:cubicBezTo>
                <a:cubicBezTo>
                  <a:pt x="4620130" y="5146967"/>
                  <a:pt x="4561742" y="5088579"/>
                  <a:pt x="4561742" y="5015256"/>
                </a:cubicBezTo>
                <a:lnTo>
                  <a:pt x="4561742" y="4780350"/>
                </a:lnTo>
                <a:lnTo>
                  <a:pt x="4326827" y="4780350"/>
                </a:lnTo>
                <a:cubicBezTo>
                  <a:pt x="4253503" y="4780350"/>
                  <a:pt x="4195115" y="4721962"/>
                  <a:pt x="4195115" y="4648638"/>
                </a:cubicBezTo>
                <a:cubicBezTo>
                  <a:pt x="4195115" y="4575315"/>
                  <a:pt x="4253503" y="4516927"/>
                  <a:pt x="4326827" y="4516927"/>
                </a:cubicBezTo>
                <a:lnTo>
                  <a:pt x="4561732" y="4516927"/>
                </a:lnTo>
                <a:lnTo>
                  <a:pt x="4561732" y="4282021"/>
                </a:lnTo>
                <a:cubicBezTo>
                  <a:pt x="4561732" y="4208698"/>
                  <a:pt x="4620121" y="4150309"/>
                  <a:pt x="4693444" y="4150309"/>
                </a:cubicBezTo>
                <a:cubicBezTo>
                  <a:pt x="4766767" y="4150309"/>
                  <a:pt x="4825156" y="4208698"/>
                  <a:pt x="4825156" y="4282021"/>
                </a:cubicBezTo>
                <a:lnTo>
                  <a:pt x="4825156" y="4516927"/>
                </a:lnTo>
                <a:lnTo>
                  <a:pt x="5060061" y="4516927"/>
                </a:lnTo>
                <a:cubicBezTo>
                  <a:pt x="5132718" y="4516927"/>
                  <a:pt x="5191782" y="4575315"/>
                  <a:pt x="5191782" y="464863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49" name="Forma libre 348">
            <a:extLst>
              <a:ext uri="{FF2B5EF4-FFF2-40B4-BE49-F238E27FC236}">
                <a16:creationId xmlns:a16="http://schemas.microsoft.com/office/drawing/2014/main" xmlns="" id="{DCE1E936-BDCA-E64A-B3E7-8460EBF25F3B}"/>
              </a:ext>
            </a:extLst>
          </p:cNvPr>
          <p:cNvSpPr/>
          <p:nvPr/>
        </p:nvSpPr>
        <p:spPr>
          <a:xfrm>
            <a:off x="5725565" y="4017513"/>
            <a:ext cx="301191" cy="334218"/>
          </a:xfrm>
          <a:custGeom>
            <a:avLst/>
            <a:gdLst>
              <a:gd name="connsiteX0" fmla="*/ 5799305 w 5816917"/>
              <a:gd name="connsiteY0" fmla="*/ 4843227 h 6454779"/>
              <a:gd name="connsiteX1" fmla="*/ 5243795 w 5816917"/>
              <a:gd name="connsiteY1" fmla="*/ 3578690 h 6454779"/>
              <a:gd name="connsiteX2" fmla="*/ 5767888 w 5816917"/>
              <a:gd name="connsiteY2" fmla="*/ 2275596 h 6454779"/>
              <a:gd name="connsiteX3" fmla="*/ 5752180 w 5816917"/>
              <a:gd name="connsiteY3" fmla="*/ 2036397 h 6454779"/>
              <a:gd name="connsiteX4" fmla="*/ 5536545 w 5816917"/>
              <a:gd name="connsiteY4" fmla="*/ 1928580 h 6454779"/>
              <a:gd name="connsiteX5" fmla="*/ 4241305 w 5816917"/>
              <a:gd name="connsiteY5" fmla="*/ 1928580 h 6454779"/>
              <a:gd name="connsiteX6" fmla="*/ 4241305 w 5816917"/>
              <a:gd name="connsiteY6" fmla="*/ 1180282 h 6454779"/>
              <a:gd name="connsiteX7" fmla="*/ 3924992 w 5816917"/>
              <a:gd name="connsiteY7" fmla="*/ 863969 h 6454779"/>
              <a:gd name="connsiteX8" fmla="*/ 1635116 w 5816917"/>
              <a:gd name="connsiteY8" fmla="*/ 863969 h 6454779"/>
              <a:gd name="connsiteX9" fmla="*/ 1635116 w 5816917"/>
              <a:gd name="connsiteY9" fmla="*/ 817558 h 6454779"/>
              <a:gd name="connsiteX10" fmla="*/ 817558 w 5816917"/>
              <a:gd name="connsiteY10" fmla="*/ 0 h 6454779"/>
              <a:gd name="connsiteX11" fmla="*/ 0 w 5816917"/>
              <a:gd name="connsiteY11" fmla="*/ 817558 h 6454779"/>
              <a:gd name="connsiteX12" fmla="*/ 231344 w 5816917"/>
              <a:gd name="connsiteY12" fmla="*/ 1388063 h 6454779"/>
              <a:gd name="connsiteX13" fmla="*/ 223490 w 5816917"/>
              <a:gd name="connsiteY13" fmla="*/ 1473032 h 6454779"/>
              <a:gd name="connsiteX14" fmla="*/ 223490 w 5816917"/>
              <a:gd name="connsiteY14" fmla="*/ 5868566 h 6454779"/>
              <a:gd name="connsiteX15" fmla="*/ 817558 w 5816917"/>
              <a:gd name="connsiteY15" fmla="*/ 6462634 h 6454779"/>
              <a:gd name="connsiteX16" fmla="*/ 1411626 w 5816917"/>
              <a:gd name="connsiteY16" fmla="*/ 5868566 h 6454779"/>
              <a:gd name="connsiteX17" fmla="*/ 1411626 w 5816917"/>
              <a:gd name="connsiteY17" fmla="*/ 4172758 h 6454779"/>
              <a:gd name="connsiteX18" fmla="*/ 2876090 w 5816917"/>
              <a:gd name="connsiteY18" fmla="*/ 4172758 h 6454779"/>
              <a:gd name="connsiteX19" fmla="*/ 2876090 w 5816917"/>
              <a:gd name="connsiteY19" fmla="*/ 4882498 h 6454779"/>
              <a:gd name="connsiteX20" fmla="*/ 2876090 w 5816917"/>
              <a:gd name="connsiteY20" fmla="*/ 4921056 h 6454779"/>
              <a:gd name="connsiteX21" fmla="*/ 3192403 w 5816917"/>
              <a:gd name="connsiteY21" fmla="*/ 5237368 h 6454779"/>
              <a:gd name="connsiteX22" fmla="*/ 5567962 w 5816917"/>
              <a:gd name="connsiteY22" fmla="*/ 5237368 h 6454779"/>
              <a:gd name="connsiteX23" fmla="*/ 5598665 w 5816917"/>
              <a:gd name="connsiteY23" fmla="*/ 5237368 h 6454779"/>
              <a:gd name="connsiteX24" fmla="*/ 5807160 w 5816917"/>
              <a:gd name="connsiteY24" fmla="*/ 5090994 h 6454779"/>
              <a:gd name="connsiteX25" fmla="*/ 5799305 w 5816917"/>
              <a:gd name="connsiteY25" fmla="*/ 4843227 h 6454779"/>
              <a:gd name="connsiteX26" fmla="*/ 825412 w 5816917"/>
              <a:gd name="connsiteY26" fmla="*/ 286324 h 6454779"/>
              <a:gd name="connsiteX27" fmla="*/ 1357360 w 5816917"/>
              <a:gd name="connsiteY27" fmla="*/ 818272 h 6454779"/>
              <a:gd name="connsiteX28" fmla="*/ 1334511 w 5816917"/>
              <a:gd name="connsiteY28" fmla="*/ 972501 h 6454779"/>
              <a:gd name="connsiteX29" fmla="*/ 1303808 w 5816917"/>
              <a:gd name="connsiteY29" fmla="*/ 1049616 h 6454779"/>
              <a:gd name="connsiteX30" fmla="*/ 1303808 w 5816917"/>
              <a:gd name="connsiteY30" fmla="*/ 1057470 h 6454779"/>
              <a:gd name="connsiteX31" fmla="*/ 1210985 w 5816917"/>
              <a:gd name="connsiteY31" fmla="*/ 1188851 h 6454779"/>
              <a:gd name="connsiteX32" fmla="*/ 1210985 w 5816917"/>
              <a:gd name="connsiteY32" fmla="*/ 1188851 h 6454779"/>
              <a:gd name="connsiteX33" fmla="*/ 1156720 w 5816917"/>
              <a:gd name="connsiteY33" fmla="*/ 1243116 h 6454779"/>
              <a:gd name="connsiteX34" fmla="*/ 1102454 w 5816917"/>
              <a:gd name="connsiteY34" fmla="*/ 1281674 h 6454779"/>
              <a:gd name="connsiteX35" fmla="*/ 1086745 w 5816917"/>
              <a:gd name="connsiteY35" fmla="*/ 1289528 h 6454779"/>
              <a:gd name="connsiteX36" fmla="*/ 492677 w 5816917"/>
              <a:gd name="connsiteY36" fmla="*/ 1243116 h 6454779"/>
              <a:gd name="connsiteX37" fmla="*/ 292036 w 5816917"/>
              <a:gd name="connsiteY37" fmla="*/ 826840 h 6454779"/>
              <a:gd name="connsiteX38" fmla="*/ 825412 w 5816917"/>
              <a:gd name="connsiteY38" fmla="*/ 286324 h 6454779"/>
              <a:gd name="connsiteX39" fmla="*/ 1133871 w 5816917"/>
              <a:gd name="connsiteY39" fmla="*/ 5869280 h 6454779"/>
              <a:gd name="connsiteX40" fmla="*/ 825412 w 5816917"/>
              <a:gd name="connsiteY40" fmla="*/ 6177739 h 6454779"/>
              <a:gd name="connsiteX41" fmla="*/ 516954 w 5816917"/>
              <a:gd name="connsiteY41" fmla="*/ 5869280 h 6454779"/>
              <a:gd name="connsiteX42" fmla="*/ 516954 w 5816917"/>
              <a:gd name="connsiteY42" fmla="*/ 1573710 h 6454779"/>
              <a:gd name="connsiteX43" fmla="*/ 539802 w 5816917"/>
              <a:gd name="connsiteY43" fmla="*/ 1581564 h 6454779"/>
              <a:gd name="connsiteX44" fmla="*/ 594068 w 5816917"/>
              <a:gd name="connsiteY44" fmla="*/ 1597272 h 6454779"/>
              <a:gd name="connsiteX45" fmla="*/ 601923 w 5816917"/>
              <a:gd name="connsiteY45" fmla="*/ 1597272 h 6454779"/>
              <a:gd name="connsiteX46" fmla="*/ 601923 w 5816917"/>
              <a:gd name="connsiteY46" fmla="*/ 1597272 h 6454779"/>
              <a:gd name="connsiteX47" fmla="*/ 601923 w 5816917"/>
              <a:gd name="connsiteY47" fmla="*/ 1597272 h 6454779"/>
              <a:gd name="connsiteX48" fmla="*/ 701886 w 5816917"/>
              <a:gd name="connsiteY48" fmla="*/ 1620121 h 6454779"/>
              <a:gd name="connsiteX49" fmla="*/ 709740 w 5816917"/>
              <a:gd name="connsiteY49" fmla="*/ 1620121 h 6454779"/>
              <a:gd name="connsiteX50" fmla="*/ 717594 w 5816917"/>
              <a:gd name="connsiteY50" fmla="*/ 1620121 h 6454779"/>
              <a:gd name="connsiteX51" fmla="*/ 717594 w 5816917"/>
              <a:gd name="connsiteY51" fmla="*/ 1620121 h 6454779"/>
              <a:gd name="connsiteX52" fmla="*/ 717594 w 5816917"/>
              <a:gd name="connsiteY52" fmla="*/ 1620121 h 6454779"/>
              <a:gd name="connsiteX53" fmla="*/ 725449 w 5816917"/>
              <a:gd name="connsiteY53" fmla="*/ 1620121 h 6454779"/>
              <a:gd name="connsiteX54" fmla="*/ 764006 w 5816917"/>
              <a:gd name="connsiteY54" fmla="*/ 1627975 h 6454779"/>
              <a:gd name="connsiteX55" fmla="*/ 833266 w 5816917"/>
              <a:gd name="connsiteY55" fmla="*/ 1627975 h 6454779"/>
              <a:gd name="connsiteX56" fmla="*/ 833266 w 5816917"/>
              <a:gd name="connsiteY56" fmla="*/ 1627975 h 6454779"/>
              <a:gd name="connsiteX57" fmla="*/ 833266 w 5816917"/>
              <a:gd name="connsiteY57" fmla="*/ 1627975 h 6454779"/>
              <a:gd name="connsiteX58" fmla="*/ 902527 w 5816917"/>
              <a:gd name="connsiteY58" fmla="*/ 1627975 h 6454779"/>
              <a:gd name="connsiteX59" fmla="*/ 941084 w 5816917"/>
              <a:gd name="connsiteY59" fmla="*/ 1620121 h 6454779"/>
              <a:gd name="connsiteX60" fmla="*/ 963933 w 5816917"/>
              <a:gd name="connsiteY60" fmla="*/ 1620121 h 6454779"/>
              <a:gd name="connsiteX61" fmla="*/ 963933 w 5816917"/>
              <a:gd name="connsiteY61" fmla="*/ 1620121 h 6454779"/>
              <a:gd name="connsiteX62" fmla="*/ 971787 w 5816917"/>
              <a:gd name="connsiteY62" fmla="*/ 1620121 h 6454779"/>
              <a:gd name="connsiteX63" fmla="*/ 987496 w 5816917"/>
              <a:gd name="connsiteY63" fmla="*/ 1620121 h 6454779"/>
              <a:gd name="connsiteX64" fmla="*/ 1018199 w 5816917"/>
              <a:gd name="connsiteY64" fmla="*/ 1612267 h 6454779"/>
              <a:gd name="connsiteX65" fmla="*/ 1048902 w 5816917"/>
              <a:gd name="connsiteY65" fmla="*/ 1604413 h 6454779"/>
              <a:gd name="connsiteX66" fmla="*/ 1064610 w 5816917"/>
              <a:gd name="connsiteY66" fmla="*/ 1596558 h 6454779"/>
              <a:gd name="connsiteX67" fmla="*/ 1064610 w 5816917"/>
              <a:gd name="connsiteY67" fmla="*/ 1596558 h 6454779"/>
              <a:gd name="connsiteX68" fmla="*/ 1087459 w 5816917"/>
              <a:gd name="connsiteY68" fmla="*/ 1588704 h 6454779"/>
              <a:gd name="connsiteX69" fmla="*/ 1087459 w 5816917"/>
              <a:gd name="connsiteY69" fmla="*/ 1588704 h 6454779"/>
              <a:gd name="connsiteX70" fmla="*/ 1087459 w 5816917"/>
              <a:gd name="connsiteY70" fmla="*/ 1588704 h 6454779"/>
              <a:gd name="connsiteX71" fmla="*/ 1095313 w 5816917"/>
              <a:gd name="connsiteY71" fmla="*/ 1588704 h 6454779"/>
              <a:gd name="connsiteX72" fmla="*/ 1103168 w 5816917"/>
              <a:gd name="connsiteY72" fmla="*/ 1588704 h 6454779"/>
              <a:gd name="connsiteX73" fmla="*/ 1126016 w 5816917"/>
              <a:gd name="connsiteY73" fmla="*/ 1580850 h 6454779"/>
              <a:gd name="connsiteX74" fmla="*/ 1141725 w 5816917"/>
              <a:gd name="connsiteY74" fmla="*/ 1572996 h 6454779"/>
              <a:gd name="connsiteX75" fmla="*/ 1141725 w 5816917"/>
              <a:gd name="connsiteY75" fmla="*/ 4024955 h 6454779"/>
              <a:gd name="connsiteX76" fmla="*/ 1141725 w 5816917"/>
              <a:gd name="connsiteY76" fmla="*/ 5867852 h 6454779"/>
              <a:gd name="connsiteX77" fmla="*/ 1133871 w 5816917"/>
              <a:gd name="connsiteY77" fmla="*/ 5867852 h 6454779"/>
              <a:gd name="connsiteX78" fmla="*/ 1133871 w 5816917"/>
              <a:gd name="connsiteY78" fmla="*/ 5869280 h 6454779"/>
              <a:gd name="connsiteX79" fmla="*/ 1418766 w 5816917"/>
              <a:gd name="connsiteY79" fmla="*/ 1473746 h 6454779"/>
              <a:gd name="connsiteX80" fmla="*/ 1410912 w 5816917"/>
              <a:gd name="connsiteY80" fmla="*/ 1388777 h 6454779"/>
              <a:gd name="connsiteX81" fmla="*/ 1433761 w 5816917"/>
              <a:gd name="connsiteY81" fmla="*/ 1358074 h 6454779"/>
              <a:gd name="connsiteX82" fmla="*/ 1449469 w 5816917"/>
              <a:gd name="connsiteY82" fmla="*/ 1335226 h 6454779"/>
              <a:gd name="connsiteX83" fmla="*/ 1534438 w 5816917"/>
              <a:gd name="connsiteY83" fmla="*/ 1211699 h 6454779"/>
              <a:gd name="connsiteX84" fmla="*/ 1550147 w 5816917"/>
              <a:gd name="connsiteY84" fmla="*/ 1188851 h 6454779"/>
              <a:gd name="connsiteX85" fmla="*/ 1565855 w 5816917"/>
              <a:gd name="connsiteY85" fmla="*/ 1158147 h 6454779"/>
              <a:gd name="connsiteX86" fmla="*/ 3925706 w 5816917"/>
              <a:gd name="connsiteY86" fmla="*/ 1158147 h 6454779"/>
              <a:gd name="connsiteX87" fmla="*/ 3956409 w 5816917"/>
              <a:gd name="connsiteY87" fmla="*/ 1188851 h 6454779"/>
              <a:gd name="connsiteX88" fmla="*/ 3956409 w 5816917"/>
              <a:gd name="connsiteY88" fmla="*/ 2075669 h 6454779"/>
              <a:gd name="connsiteX89" fmla="*/ 3956409 w 5816917"/>
              <a:gd name="connsiteY89" fmla="*/ 3865014 h 6454779"/>
              <a:gd name="connsiteX90" fmla="*/ 3925706 w 5816917"/>
              <a:gd name="connsiteY90" fmla="*/ 3895717 h 6454779"/>
              <a:gd name="connsiteX91" fmla="*/ 3023179 w 5816917"/>
              <a:gd name="connsiteY91" fmla="*/ 3895717 h 6454779"/>
              <a:gd name="connsiteX92" fmla="*/ 1418766 w 5816917"/>
              <a:gd name="connsiteY92" fmla="*/ 3895717 h 6454779"/>
              <a:gd name="connsiteX93" fmla="*/ 1418766 w 5816917"/>
              <a:gd name="connsiteY93" fmla="*/ 1473746 h 6454779"/>
              <a:gd name="connsiteX94" fmla="*/ 3678653 w 5816917"/>
              <a:gd name="connsiteY94" fmla="*/ 4172758 h 6454779"/>
              <a:gd name="connsiteX95" fmla="*/ 3169554 w 5816917"/>
              <a:gd name="connsiteY95" fmla="*/ 4728269 h 6454779"/>
              <a:gd name="connsiteX96" fmla="*/ 3169554 w 5816917"/>
              <a:gd name="connsiteY96" fmla="*/ 4172758 h 6454779"/>
              <a:gd name="connsiteX97" fmla="*/ 3678653 w 5816917"/>
              <a:gd name="connsiteY97" fmla="*/ 4172758 h 6454779"/>
              <a:gd name="connsiteX98" fmla="*/ 3678653 w 5816917"/>
              <a:gd name="connsiteY98" fmla="*/ 4172758 h 6454779"/>
              <a:gd name="connsiteX99" fmla="*/ 3346632 w 5816917"/>
              <a:gd name="connsiteY99" fmla="*/ 4943904 h 6454779"/>
              <a:gd name="connsiteX100" fmla="*/ 4102070 w 5816917"/>
              <a:gd name="connsiteY100" fmla="*/ 4126346 h 6454779"/>
              <a:gd name="connsiteX101" fmla="*/ 4117778 w 5816917"/>
              <a:gd name="connsiteY101" fmla="*/ 4103498 h 6454779"/>
              <a:gd name="connsiteX102" fmla="*/ 4241305 w 5816917"/>
              <a:gd name="connsiteY102" fmla="*/ 3856445 h 6454779"/>
              <a:gd name="connsiteX103" fmla="*/ 4241305 w 5816917"/>
              <a:gd name="connsiteY103" fmla="*/ 2214189 h 6454779"/>
              <a:gd name="connsiteX104" fmla="*/ 5490847 w 5816917"/>
              <a:gd name="connsiteY104" fmla="*/ 2214189 h 6454779"/>
              <a:gd name="connsiteX105" fmla="*/ 4958899 w 5816917"/>
              <a:gd name="connsiteY105" fmla="*/ 3525138 h 6454779"/>
              <a:gd name="connsiteX106" fmla="*/ 4958899 w 5816917"/>
              <a:gd name="connsiteY106" fmla="*/ 3632956 h 6454779"/>
              <a:gd name="connsiteX107" fmla="*/ 5529404 w 5816917"/>
              <a:gd name="connsiteY107" fmla="*/ 4943904 h 6454779"/>
              <a:gd name="connsiteX108" fmla="*/ 3346632 w 5816917"/>
              <a:gd name="connsiteY108" fmla="*/ 4943904 h 6454779"/>
              <a:gd name="connsiteX109" fmla="*/ 3346632 w 5816917"/>
              <a:gd name="connsiteY109" fmla="*/ 4943904 h 645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5816917" h="6454779">
                <a:moveTo>
                  <a:pt x="5799305" y="4843227"/>
                </a:moveTo>
                <a:lnTo>
                  <a:pt x="5243795" y="3578690"/>
                </a:lnTo>
                <a:lnTo>
                  <a:pt x="5767888" y="2275596"/>
                </a:lnTo>
                <a:cubicBezTo>
                  <a:pt x="5814300" y="2159924"/>
                  <a:pt x="5790737" y="2082809"/>
                  <a:pt x="5752180" y="2036397"/>
                </a:cubicBezTo>
                <a:cubicBezTo>
                  <a:pt x="5682920" y="1936434"/>
                  <a:pt x="5567247" y="1928580"/>
                  <a:pt x="5536545" y="1928580"/>
                </a:cubicBezTo>
                <a:lnTo>
                  <a:pt x="4241305" y="1928580"/>
                </a:lnTo>
                <a:lnTo>
                  <a:pt x="4241305" y="1180282"/>
                </a:lnTo>
                <a:cubicBezTo>
                  <a:pt x="4241305" y="1010344"/>
                  <a:pt x="4102784" y="863969"/>
                  <a:pt x="3924992" y="863969"/>
                </a:cubicBezTo>
                <a:lnTo>
                  <a:pt x="1635116" y="863969"/>
                </a:lnTo>
                <a:cubicBezTo>
                  <a:pt x="1635116" y="848261"/>
                  <a:pt x="1635116" y="833266"/>
                  <a:pt x="1635116" y="817558"/>
                </a:cubicBezTo>
                <a:cubicBezTo>
                  <a:pt x="1635116" y="370579"/>
                  <a:pt x="1265251" y="0"/>
                  <a:pt x="817558" y="0"/>
                </a:cubicBezTo>
                <a:cubicBezTo>
                  <a:pt x="369865" y="0"/>
                  <a:pt x="0" y="369865"/>
                  <a:pt x="0" y="817558"/>
                </a:cubicBezTo>
                <a:cubicBezTo>
                  <a:pt x="0" y="1041047"/>
                  <a:pt x="84969" y="1241688"/>
                  <a:pt x="231344" y="1388063"/>
                </a:cubicBezTo>
                <a:cubicBezTo>
                  <a:pt x="223490" y="1418766"/>
                  <a:pt x="223490" y="1449469"/>
                  <a:pt x="223490" y="1473032"/>
                </a:cubicBezTo>
                <a:lnTo>
                  <a:pt x="223490" y="5868566"/>
                </a:lnTo>
                <a:cubicBezTo>
                  <a:pt x="223490" y="6192733"/>
                  <a:pt x="493391" y="6462634"/>
                  <a:pt x="817558" y="6462634"/>
                </a:cubicBezTo>
                <a:cubicBezTo>
                  <a:pt x="1141725" y="6462634"/>
                  <a:pt x="1411626" y="6192733"/>
                  <a:pt x="1411626" y="5868566"/>
                </a:cubicBezTo>
                <a:lnTo>
                  <a:pt x="1411626" y="4172758"/>
                </a:lnTo>
                <a:lnTo>
                  <a:pt x="2876090" y="4172758"/>
                </a:lnTo>
                <a:lnTo>
                  <a:pt x="2876090" y="4882498"/>
                </a:lnTo>
                <a:lnTo>
                  <a:pt x="2876090" y="4921056"/>
                </a:lnTo>
                <a:cubicBezTo>
                  <a:pt x="2876090" y="5090994"/>
                  <a:pt x="3014611" y="5237368"/>
                  <a:pt x="3192403" y="5237368"/>
                </a:cubicBezTo>
                <a:lnTo>
                  <a:pt x="5567962" y="5237368"/>
                </a:lnTo>
                <a:cubicBezTo>
                  <a:pt x="5575816" y="5237368"/>
                  <a:pt x="5583670" y="5237368"/>
                  <a:pt x="5598665" y="5237368"/>
                </a:cubicBezTo>
                <a:cubicBezTo>
                  <a:pt x="5621513" y="5229514"/>
                  <a:pt x="5745040" y="5206666"/>
                  <a:pt x="5807160" y="5090994"/>
                </a:cubicBezTo>
                <a:cubicBezTo>
                  <a:pt x="5822154" y="5028873"/>
                  <a:pt x="5845003" y="4951759"/>
                  <a:pt x="5799305" y="4843227"/>
                </a:cubicBezTo>
                <a:close/>
                <a:moveTo>
                  <a:pt x="825412" y="286324"/>
                </a:moveTo>
                <a:cubicBezTo>
                  <a:pt x="1118162" y="286324"/>
                  <a:pt x="1357360" y="525522"/>
                  <a:pt x="1357360" y="818272"/>
                </a:cubicBezTo>
                <a:cubicBezTo>
                  <a:pt x="1357360" y="872538"/>
                  <a:pt x="1349506" y="918235"/>
                  <a:pt x="1334511" y="972501"/>
                </a:cubicBezTo>
                <a:cubicBezTo>
                  <a:pt x="1326657" y="995350"/>
                  <a:pt x="1318803" y="1026767"/>
                  <a:pt x="1303808" y="1049616"/>
                </a:cubicBezTo>
                <a:cubicBezTo>
                  <a:pt x="1303808" y="1049616"/>
                  <a:pt x="1303808" y="1049616"/>
                  <a:pt x="1303808" y="1057470"/>
                </a:cubicBezTo>
                <a:cubicBezTo>
                  <a:pt x="1280960" y="1103882"/>
                  <a:pt x="1249543" y="1150293"/>
                  <a:pt x="1210985" y="1188851"/>
                </a:cubicBezTo>
                <a:lnTo>
                  <a:pt x="1210985" y="1188851"/>
                </a:lnTo>
                <a:cubicBezTo>
                  <a:pt x="1195277" y="1204559"/>
                  <a:pt x="1172428" y="1227408"/>
                  <a:pt x="1156720" y="1243116"/>
                </a:cubicBezTo>
                <a:cubicBezTo>
                  <a:pt x="1141011" y="1258825"/>
                  <a:pt x="1126016" y="1265965"/>
                  <a:pt x="1102454" y="1281674"/>
                </a:cubicBezTo>
                <a:cubicBezTo>
                  <a:pt x="1094599" y="1281674"/>
                  <a:pt x="1094599" y="1289528"/>
                  <a:pt x="1086745" y="1289528"/>
                </a:cubicBezTo>
                <a:cubicBezTo>
                  <a:pt x="901813" y="1389491"/>
                  <a:pt x="654760" y="1374497"/>
                  <a:pt x="492677" y="1243116"/>
                </a:cubicBezTo>
                <a:cubicBezTo>
                  <a:pt x="369151" y="1143153"/>
                  <a:pt x="292036" y="996064"/>
                  <a:pt x="292036" y="826840"/>
                </a:cubicBezTo>
                <a:cubicBezTo>
                  <a:pt x="292750" y="524808"/>
                  <a:pt x="531948" y="286324"/>
                  <a:pt x="825412" y="286324"/>
                </a:cubicBezTo>
                <a:close/>
                <a:moveTo>
                  <a:pt x="1133871" y="5869280"/>
                </a:moveTo>
                <a:cubicBezTo>
                  <a:pt x="1133871" y="6039218"/>
                  <a:pt x="995350" y="6177739"/>
                  <a:pt x="825412" y="6177739"/>
                </a:cubicBezTo>
                <a:cubicBezTo>
                  <a:pt x="655474" y="6177739"/>
                  <a:pt x="516954" y="6039218"/>
                  <a:pt x="516954" y="5869280"/>
                </a:cubicBezTo>
                <a:lnTo>
                  <a:pt x="516954" y="1573710"/>
                </a:lnTo>
                <a:cubicBezTo>
                  <a:pt x="524808" y="1573710"/>
                  <a:pt x="532662" y="1581564"/>
                  <a:pt x="539802" y="1581564"/>
                </a:cubicBezTo>
                <a:cubicBezTo>
                  <a:pt x="555511" y="1589418"/>
                  <a:pt x="570505" y="1597272"/>
                  <a:pt x="594068" y="1597272"/>
                </a:cubicBezTo>
                <a:cubicBezTo>
                  <a:pt x="594068" y="1597272"/>
                  <a:pt x="594068" y="1597272"/>
                  <a:pt x="601923" y="1597272"/>
                </a:cubicBezTo>
                <a:lnTo>
                  <a:pt x="601923" y="1597272"/>
                </a:lnTo>
                <a:lnTo>
                  <a:pt x="601923" y="1597272"/>
                </a:lnTo>
                <a:cubicBezTo>
                  <a:pt x="632626" y="1605127"/>
                  <a:pt x="663329" y="1612981"/>
                  <a:pt x="701886" y="1620121"/>
                </a:cubicBezTo>
                <a:lnTo>
                  <a:pt x="709740" y="1620121"/>
                </a:lnTo>
                <a:lnTo>
                  <a:pt x="717594" y="1620121"/>
                </a:lnTo>
                <a:lnTo>
                  <a:pt x="717594" y="1620121"/>
                </a:lnTo>
                <a:lnTo>
                  <a:pt x="717594" y="1620121"/>
                </a:lnTo>
                <a:lnTo>
                  <a:pt x="725449" y="1620121"/>
                </a:lnTo>
                <a:cubicBezTo>
                  <a:pt x="741157" y="1620121"/>
                  <a:pt x="748297" y="1620121"/>
                  <a:pt x="764006" y="1627975"/>
                </a:cubicBezTo>
                <a:cubicBezTo>
                  <a:pt x="786855" y="1627975"/>
                  <a:pt x="810418" y="1627975"/>
                  <a:pt x="833266" y="1627975"/>
                </a:cubicBezTo>
                <a:lnTo>
                  <a:pt x="833266" y="1627975"/>
                </a:lnTo>
                <a:lnTo>
                  <a:pt x="833266" y="1627975"/>
                </a:lnTo>
                <a:cubicBezTo>
                  <a:pt x="856115" y="1627975"/>
                  <a:pt x="879678" y="1627975"/>
                  <a:pt x="902527" y="1627975"/>
                </a:cubicBezTo>
                <a:cubicBezTo>
                  <a:pt x="918235" y="1627975"/>
                  <a:pt x="925376" y="1627975"/>
                  <a:pt x="941084" y="1620121"/>
                </a:cubicBezTo>
                <a:cubicBezTo>
                  <a:pt x="948938" y="1620121"/>
                  <a:pt x="956793" y="1620121"/>
                  <a:pt x="963933" y="1620121"/>
                </a:cubicBezTo>
                <a:lnTo>
                  <a:pt x="963933" y="1620121"/>
                </a:lnTo>
                <a:lnTo>
                  <a:pt x="971787" y="1620121"/>
                </a:lnTo>
                <a:cubicBezTo>
                  <a:pt x="979641" y="1620121"/>
                  <a:pt x="979641" y="1620121"/>
                  <a:pt x="987496" y="1620121"/>
                </a:cubicBezTo>
                <a:cubicBezTo>
                  <a:pt x="995350" y="1620121"/>
                  <a:pt x="1010344" y="1612267"/>
                  <a:pt x="1018199" y="1612267"/>
                </a:cubicBezTo>
                <a:cubicBezTo>
                  <a:pt x="1026053" y="1612267"/>
                  <a:pt x="1041047" y="1604413"/>
                  <a:pt x="1048902" y="1604413"/>
                </a:cubicBezTo>
                <a:cubicBezTo>
                  <a:pt x="1056756" y="1604413"/>
                  <a:pt x="1056756" y="1604413"/>
                  <a:pt x="1064610" y="1596558"/>
                </a:cubicBezTo>
                <a:lnTo>
                  <a:pt x="1064610" y="1596558"/>
                </a:lnTo>
                <a:cubicBezTo>
                  <a:pt x="1072465" y="1596558"/>
                  <a:pt x="1080319" y="1588704"/>
                  <a:pt x="1087459" y="1588704"/>
                </a:cubicBezTo>
                <a:lnTo>
                  <a:pt x="1087459" y="1588704"/>
                </a:lnTo>
                <a:lnTo>
                  <a:pt x="1087459" y="1588704"/>
                </a:lnTo>
                <a:cubicBezTo>
                  <a:pt x="1087459" y="1588704"/>
                  <a:pt x="1087459" y="1588704"/>
                  <a:pt x="1095313" y="1588704"/>
                </a:cubicBezTo>
                <a:lnTo>
                  <a:pt x="1103168" y="1588704"/>
                </a:lnTo>
                <a:cubicBezTo>
                  <a:pt x="1111022" y="1588704"/>
                  <a:pt x="1118876" y="1580850"/>
                  <a:pt x="1126016" y="1580850"/>
                </a:cubicBezTo>
                <a:cubicBezTo>
                  <a:pt x="1133871" y="1580850"/>
                  <a:pt x="1133871" y="1580850"/>
                  <a:pt x="1141725" y="1572996"/>
                </a:cubicBezTo>
                <a:lnTo>
                  <a:pt x="1141725" y="4024955"/>
                </a:lnTo>
                <a:lnTo>
                  <a:pt x="1141725" y="5867852"/>
                </a:lnTo>
                <a:lnTo>
                  <a:pt x="1133871" y="5867852"/>
                </a:lnTo>
                <a:lnTo>
                  <a:pt x="1133871" y="5869280"/>
                </a:lnTo>
                <a:close/>
                <a:moveTo>
                  <a:pt x="1418766" y="1473746"/>
                </a:moveTo>
                <a:cubicBezTo>
                  <a:pt x="1418766" y="1443043"/>
                  <a:pt x="1418766" y="1419480"/>
                  <a:pt x="1410912" y="1388777"/>
                </a:cubicBezTo>
                <a:cubicBezTo>
                  <a:pt x="1418766" y="1380923"/>
                  <a:pt x="1426621" y="1365929"/>
                  <a:pt x="1433761" y="1358074"/>
                </a:cubicBezTo>
                <a:cubicBezTo>
                  <a:pt x="1441615" y="1350220"/>
                  <a:pt x="1449469" y="1342366"/>
                  <a:pt x="1449469" y="1335226"/>
                </a:cubicBezTo>
                <a:cubicBezTo>
                  <a:pt x="1480172" y="1296668"/>
                  <a:pt x="1510876" y="1258111"/>
                  <a:pt x="1534438" y="1211699"/>
                </a:cubicBezTo>
                <a:cubicBezTo>
                  <a:pt x="1542293" y="1203845"/>
                  <a:pt x="1542293" y="1195991"/>
                  <a:pt x="1550147" y="1188851"/>
                </a:cubicBezTo>
                <a:cubicBezTo>
                  <a:pt x="1558001" y="1180996"/>
                  <a:pt x="1565855" y="1166002"/>
                  <a:pt x="1565855" y="1158147"/>
                </a:cubicBezTo>
                <a:lnTo>
                  <a:pt x="3925706" y="1158147"/>
                </a:lnTo>
                <a:cubicBezTo>
                  <a:pt x="3941414" y="1158147"/>
                  <a:pt x="3956409" y="1173856"/>
                  <a:pt x="3956409" y="1188851"/>
                </a:cubicBezTo>
                <a:lnTo>
                  <a:pt x="3956409" y="2075669"/>
                </a:lnTo>
                <a:lnTo>
                  <a:pt x="3956409" y="3865014"/>
                </a:lnTo>
                <a:cubicBezTo>
                  <a:pt x="3956409" y="3880722"/>
                  <a:pt x="3940700" y="3895717"/>
                  <a:pt x="3925706" y="3895717"/>
                </a:cubicBezTo>
                <a:lnTo>
                  <a:pt x="3023179" y="3895717"/>
                </a:lnTo>
                <a:lnTo>
                  <a:pt x="1418766" y="3895717"/>
                </a:lnTo>
                <a:lnTo>
                  <a:pt x="1418766" y="1473746"/>
                </a:lnTo>
                <a:close/>
                <a:moveTo>
                  <a:pt x="3678653" y="4172758"/>
                </a:moveTo>
                <a:lnTo>
                  <a:pt x="3169554" y="4728269"/>
                </a:lnTo>
                <a:lnTo>
                  <a:pt x="3169554" y="4172758"/>
                </a:lnTo>
                <a:lnTo>
                  <a:pt x="3678653" y="4172758"/>
                </a:lnTo>
                <a:lnTo>
                  <a:pt x="3678653" y="4172758"/>
                </a:lnTo>
                <a:close/>
                <a:moveTo>
                  <a:pt x="3346632" y="4943904"/>
                </a:moveTo>
                <a:lnTo>
                  <a:pt x="4102070" y="4126346"/>
                </a:lnTo>
                <a:cubicBezTo>
                  <a:pt x="4109924" y="4118492"/>
                  <a:pt x="4109924" y="4110638"/>
                  <a:pt x="4117778" y="4103498"/>
                </a:cubicBezTo>
                <a:cubicBezTo>
                  <a:pt x="4194893" y="4049232"/>
                  <a:pt x="4241305" y="3957123"/>
                  <a:pt x="4241305" y="3856445"/>
                </a:cubicBezTo>
                <a:lnTo>
                  <a:pt x="4241305" y="2214189"/>
                </a:lnTo>
                <a:lnTo>
                  <a:pt x="5490847" y="2214189"/>
                </a:lnTo>
                <a:lnTo>
                  <a:pt x="4958899" y="3525138"/>
                </a:lnTo>
                <a:cubicBezTo>
                  <a:pt x="4943190" y="3563696"/>
                  <a:pt x="4943190" y="3602253"/>
                  <a:pt x="4958899" y="3632956"/>
                </a:cubicBezTo>
                <a:lnTo>
                  <a:pt x="5529404" y="4943904"/>
                </a:lnTo>
                <a:lnTo>
                  <a:pt x="3346632" y="4943904"/>
                </a:lnTo>
                <a:lnTo>
                  <a:pt x="3346632" y="4943904"/>
                </a:lnTo>
                <a:close/>
              </a:path>
            </a:pathLst>
          </a:custGeom>
          <a:solidFill>
            <a:schemeClr val="bg1"/>
          </a:solidFill>
          <a:ln w="9511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0" name="Forma libre 350">
            <a:extLst>
              <a:ext uri="{FF2B5EF4-FFF2-40B4-BE49-F238E27FC236}">
                <a16:creationId xmlns:a16="http://schemas.microsoft.com/office/drawing/2014/main" xmlns="" id="{EB64B331-F2A9-6940-B199-27F7E14EFDDE}"/>
              </a:ext>
            </a:extLst>
          </p:cNvPr>
          <p:cNvSpPr/>
          <p:nvPr/>
        </p:nvSpPr>
        <p:spPr>
          <a:xfrm>
            <a:off x="1270707" y="5340268"/>
            <a:ext cx="301338" cy="266321"/>
          </a:xfrm>
          <a:custGeom>
            <a:avLst/>
            <a:gdLst>
              <a:gd name="connsiteX0" fmla="*/ 5633105 w 5819775"/>
              <a:gd name="connsiteY0" fmla="*/ 0 h 5143500"/>
              <a:gd name="connsiteX1" fmla="*/ 5577394 w 5819775"/>
              <a:gd name="connsiteY1" fmla="*/ 7125 h 5143500"/>
              <a:gd name="connsiteX2" fmla="*/ 5563144 w 5819775"/>
              <a:gd name="connsiteY2" fmla="*/ 14249 h 5143500"/>
              <a:gd name="connsiteX3" fmla="*/ 3841815 w 5819775"/>
              <a:gd name="connsiteY3" fmla="*/ 686067 h 5143500"/>
              <a:gd name="connsiteX4" fmla="*/ 2162605 w 5819775"/>
              <a:gd name="connsiteY4" fmla="*/ 34985 h 5143500"/>
              <a:gd name="connsiteX5" fmla="*/ 2148356 w 5819775"/>
              <a:gd name="connsiteY5" fmla="*/ 27861 h 5143500"/>
              <a:gd name="connsiteX6" fmla="*/ 1994165 w 5819775"/>
              <a:gd name="connsiteY6" fmla="*/ 7134 h 5143500"/>
              <a:gd name="connsiteX7" fmla="*/ 1980563 w 5819775"/>
              <a:gd name="connsiteY7" fmla="*/ 7134 h 5143500"/>
              <a:gd name="connsiteX8" fmla="*/ 1980563 w 5819775"/>
              <a:gd name="connsiteY8" fmla="*/ 7134 h 5143500"/>
              <a:gd name="connsiteX9" fmla="*/ 1763536 w 5819775"/>
              <a:gd name="connsiteY9" fmla="*/ 49244 h 5143500"/>
              <a:gd name="connsiteX10" fmla="*/ 1735675 w 5819775"/>
              <a:gd name="connsiteY10" fmla="*/ 56369 h 5143500"/>
              <a:gd name="connsiteX11" fmla="*/ 210647 w 5819775"/>
              <a:gd name="connsiteY11" fmla="*/ 651081 h 5143500"/>
              <a:gd name="connsiteX12" fmla="*/ 744 w 5819775"/>
              <a:gd name="connsiteY12" fmla="*/ 958806 h 5143500"/>
              <a:gd name="connsiteX13" fmla="*/ 744 w 5819775"/>
              <a:gd name="connsiteY13" fmla="*/ 4926206 h 5143500"/>
              <a:gd name="connsiteX14" fmla="*/ 63581 w 5819775"/>
              <a:gd name="connsiteY14" fmla="*/ 5093999 h 5143500"/>
              <a:gd name="connsiteX15" fmla="*/ 196388 w 5819775"/>
              <a:gd name="connsiteY15" fmla="*/ 5149711 h 5143500"/>
              <a:gd name="connsiteX16" fmla="*/ 287085 w 5819775"/>
              <a:gd name="connsiteY16" fmla="*/ 5128975 h 5143500"/>
              <a:gd name="connsiteX17" fmla="*/ 1987031 w 5819775"/>
              <a:gd name="connsiteY17" fmla="*/ 4464292 h 5143500"/>
              <a:gd name="connsiteX18" fmla="*/ 3610529 w 5819775"/>
              <a:gd name="connsiteY18" fmla="*/ 5093999 h 5143500"/>
              <a:gd name="connsiteX19" fmla="*/ 3652639 w 5819775"/>
              <a:gd name="connsiteY19" fmla="*/ 5108248 h 5143500"/>
              <a:gd name="connsiteX20" fmla="*/ 3841805 w 5819775"/>
              <a:gd name="connsiteY20" fmla="*/ 5136109 h 5143500"/>
              <a:gd name="connsiteX21" fmla="*/ 3848930 w 5819775"/>
              <a:gd name="connsiteY21" fmla="*/ 5136109 h 5143500"/>
              <a:gd name="connsiteX22" fmla="*/ 3848930 w 5819775"/>
              <a:gd name="connsiteY22" fmla="*/ 5136109 h 5143500"/>
              <a:gd name="connsiteX23" fmla="*/ 4079559 w 5819775"/>
              <a:gd name="connsiteY23" fmla="*/ 5093999 h 5143500"/>
              <a:gd name="connsiteX24" fmla="*/ 5660947 w 5819775"/>
              <a:gd name="connsiteY24" fmla="*/ 4478551 h 5143500"/>
              <a:gd name="connsiteX25" fmla="*/ 5668072 w 5819775"/>
              <a:gd name="connsiteY25" fmla="*/ 4471426 h 5143500"/>
              <a:gd name="connsiteX26" fmla="*/ 5828739 w 5819775"/>
              <a:gd name="connsiteY26" fmla="*/ 4205812 h 5143500"/>
              <a:gd name="connsiteX27" fmla="*/ 5828739 w 5819775"/>
              <a:gd name="connsiteY27" fmla="*/ 217027 h 5143500"/>
              <a:gd name="connsiteX28" fmla="*/ 5633105 w 5819775"/>
              <a:gd name="connsiteY28" fmla="*/ 0 h 5143500"/>
              <a:gd name="connsiteX29" fmla="*/ 252757 w 5819775"/>
              <a:gd name="connsiteY29" fmla="*/ 4862713 h 5143500"/>
              <a:gd name="connsiteX30" fmla="*/ 252757 w 5819775"/>
              <a:gd name="connsiteY30" fmla="*/ 958806 h 5143500"/>
              <a:gd name="connsiteX31" fmla="*/ 301991 w 5819775"/>
              <a:gd name="connsiteY31" fmla="*/ 895969 h 5143500"/>
              <a:gd name="connsiteX32" fmla="*/ 1813409 w 5819775"/>
              <a:gd name="connsiteY32" fmla="*/ 308372 h 5143500"/>
              <a:gd name="connsiteX33" fmla="*/ 1848394 w 5819775"/>
              <a:gd name="connsiteY33" fmla="*/ 301247 h 5143500"/>
              <a:gd name="connsiteX34" fmla="*/ 1848394 w 5819775"/>
              <a:gd name="connsiteY34" fmla="*/ 301247 h 5143500"/>
              <a:gd name="connsiteX35" fmla="*/ 1848394 w 5819775"/>
              <a:gd name="connsiteY35" fmla="*/ 4247264 h 5143500"/>
              <a:gd name="connsiteX36" fmla="*/ 252757 w 5819775"/>
              <a:gd name="connsiteY36" fmla="*/ 4862713 h 5143500"/>
              <a:gd name="connsiteX37" fmla="*/ 2106884 w 5819775"/>
              <a:gd name="connsiteY37" fmla="*/ 4240140 h 5143500"/>
              <a:gd name="connsiteX38" fmla="*/ 2106884 w 5819775"/>
              <a:gd name="connsiteY38" fmla="*/ 286998 h 5143500"/>
              <a:gd name="connsiteX39" fmla="*/ 3708998 w 5819775"/>
              <a:gd name="connsiteY39" fmla="*/ 909580 h 5143500"/>
              <a:gd name="connsiteX40" fmla="*/ 3708998 w 5819775"/>
              <a:gd name="connsiteY40" fmla="*/ 4862722 h 5143500"/>
              <a:gd name="connsiteX41" fmla="*/ 2106884 w 5819775"/>
              <a:gd name="connsiteY41" fmla="*/ 4240140 h 5143500"/>
              <a:gd name="connsiteX42" fmla="*/ 5563135 w 5819775"/>
              <a:gd name="connsiteY42" fmla="*/ 4212279 h 5143500"/>
              <a:gd name="connsiteX43" fmla="*/ 5548885 w 5819775"/>
              <a:gd name="connsiteY43" fmla="*/ 4240140 h 5143500"/>
              <a:gd name="connsiteX44" fmla="*/ 3974622 w 5819775"/>
              <a:gd name="connsiteY44" fmla="*/ 4855588 h 5143500"/>
              <a:gd name="connsiteX45" fmla="*/ 3967497 w 5819775"/>
              <a:gd name="connsiteY45" fmla="*/ 4862713 h 5143500"/>
              <a:gd name="connsiteX46" fmla="*/ 3967497 w 5819775"/>
              <a:gd name="connsiteY46" fmla="*/ 909571 h 5143500"/>
              <a:gd name="connsiteX47" fmla="*/ 5562487 w 5819775"/>
              <a:gd name="connsiteY47" fmla="*/ 286988 h 5143500"/>
              <a:gd name="connsiteX48" fmla="*/ 5562487 w 5819775"/>
              <a:gd name="connsiteY48" fmla="*/ 4212279 h 5143500"/>
              <a:gd name="connsiteX49" fmla="*/ 5563135 w 5819775"/>
              <a:gd name="connsiteY49" fmla="*/ 4212279 h 5143500"/>
              <a:gd name="connsiteX50" fmla="*/ 4338706 w 5819775"/>
              <a:gd name="connsiteY50" fmla="*/ 3288459 h 5143500"/>
              <a:gd name="connsiteX51" fmla="*/ 4513623 w 5819775"/>
              <a:gd name="connsiteY51" fmla="*/ 3246349 h 5143500"/>
              <a:gd name="connsiteX52" fmla="*/ 4716401 w 5819775"/>
              <a:gd name="connsiteY52" fmla="*/ 3365554 h 5143500"/>
              <a:gd name="connsiteX53" fmla="*/ 4898442 w 5819775"/>
              <a:gd name="connsiteY53" fmla="*/ 3078556 h 5143500"/>
              <a:gd name="connsiteX54" fmla="*/ 5080484 w 5819775"/>
              <a:gd name="connsiteY54" fmla="*/ 3036446 h 5143500"/>
              <a:gd name="connsiteX55" fmla="*/ 5122594 w 5819775"/>
              <a:gd name="connsiteY55" fmla="*/ 3218488 h 5143500"/>
              <a:gd name="connsiteX56" fmla="*/ 4940552 w 5819775"/>
              <a:gd name="connsiteY56" fmla="*/ 3498361 h 5143500"/>
              <a:gd name="connsiteX57" fmla="*/ 5136205 w 5819775"/>
              <a:gd name="connsiteY57" fmla="*/ 3617566 h 5143500"/>
              <a:gd name="connsiteX58" fmla="*/ 5178316 w 5819775"/>
              <a:gd name="connsiteY58" fmla="*/ 3792484 h 5143500"/>
              <a:gd name="connsiteX59" fmla="*/ 5066235 w 5819775"/>
              <a:gd name="connsiteY59" fmla="*/ 3855320 h 5143500"/>
              <a:gd name="connsiteX60" fmla="*/ 5003398 w 5819775"/>
              <a:gd name="connsiteY60" fmla="*/ 3834594 h 5143500"/>
              <a:gd name="connsiteX61" fmla="*/ 4800621 w 5819775"/>
              <a:gd name="connsiteY61" fmla="*/ 3715388 h 5143500"/>
              <a:gd name="connsiteX62" fmla="*/ 4618579 w 5819775"/>
              <a:gd name="connsiteY62" fmla="*/ 4002386 h 5143500"/>
              <a:gd name="connsiteX63" fmla="*/ 4506498 w 5819775"/>
              <a:gd name="connsiteY63" fmla="*/ 4065223 h 5143500"/>
              <a:gd name="connsiteX64" fmla="*/ 4436528 w 5819775"/>
              <a:gd name="connsiteY64" fmla="*/ 4044496 h 5143500"/>
              <a:gd name="connsiteX65" fmla="*/ 4394417 w 5819775"/>
              <a:gd name="connsiteY65" fmla="*/ 3862454 h 5143500"/>
              <a:gd name="connsiteX66" fmla="*/ 4576459 w 5819775"/>
              <a:gd name="connsiteY66" fmla="*/ 3582581 h 5143500"/>
              <a:gd name="connsiteX67" fmla="*/ 4380806 w 5819775"/>
              <a:gd name="connsiteY67" fmla="*/ 3463376 h 5143500"/>
              <a:gd name="connsiteX68" fmla="*/ 4338706 w 5819775"/>
              <a:gd name="connsiteY68" fmla="*/ 3288459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819775" h="5143500">
                <a:moveTo>
                  <a:pt x="5633105" y="0"/>
                </a:moveTo>
                <a:cubicBezTo>
                  <a:pt x="5612379" y="0"/>
                  <a:pt x="5598120" y="0"/>
                  <a:pt x="5577394" y="7125"/>
                </a:cubicBezTo>
                <a:cubicBezTo>
                  <a:pt x="5570269" y="7125"/>
                  <a:pt x="5563144" y="7125"/>
                  <a:pt x="5563144" y="14249"/>
                </a:cubicBezTo>
                <a:lnTo>
                  <a:pt x="3841815" y="686067"/>
                </a:lnTo>
                <a:lnTo>
                  <a:pt x="2162605" y="34985"/>
                </a:lnTo>
                <a:cubicBezTo>
                  <a:pt x="2155480" y="34985"/>
                  <a:pt x="2155480" y="34985"/>
                  <a:pt x="2148356" y="27861"/>
                </a:cubicBezTo>
                <a:cubicBezTo>
                  <a:pt x="2113370" y="20736"/>
                  <a:pt x="2064135" y="7134"/>
                  <a:pt x="1994165" y="7134"/>
                </a:cubicBezTo>
                <a:lnTo>
                  <a:pt x="1980563" y="7134"/>
                </a:lnTo>
                <a:lnTo>
                  <a:pt x="1980563" y="7134"/>
                </a:lnTo>
                <a:cubicBezTo>
                  <a:pt x="1903468" y="7134"/>
                  <a:pt x="1833507" y="21384"/>
                  <a:pt x="1763536" y="49244"/>
                </a:cubicBezTo>
                <a:cubicBezTo>
                  <a:pt x="1756411" y="49244"/>
                  <a:pt x="1742810" y="56369"/>
                  <a:pt x="1735675" y="56369"/>
                </a:cubicBezTo>
                <a:lnTo>
                  <a:pt x="210647" y="651081"/>
                </a:lnTo>
                <a:cubicBezTo>
                  <a:pt x="35730" y="721052"/>
                  <a:pt x="-6380" y="875233"/>
                  <a:pt x="744" y="958806"/>
                </a:cubicBezTo>
                <a:lnTo>
                  <a:pt x="744" y="4926206"/>
                </a:lnTo>
                <a:cubicBezTo>
                  <a:pt x="744" y="4946933"/>
                  <a:pt x="744" y="5031153"/>
                  <a:pt x="63581" y="5093999"/>
                </a:cubicBezTo>
                <a:cubicBezTo>
                  <a:pt x="98566" y="5128984"/>
                  <a:pt x="147801" y="5149711"/>
                  <a:pt x="196388" y="5149711"/>
                </a:cubicBezTo>
                <a:cubicBezTo>
                  <a:pt x="224248" y="5149711"/>
                  <a:pt x="259224" y="5142586"/>
                  <a:pt x="287085" y="5128975"/>
                </a:cubicBezTo>
                <a:lnTo>
                  <a:pt x="1987031" y="4464292"/>
                </a:lnTo>
                <a:lnTo>
                  <a:pt x="3610529" y="5093999"/>
                </a:lnTo>
                <a:lnTo>
                  <a:pt x="3652639" y="5108248"/>
                </a:lnTo>
                <a:cubicBezTo>
                  <a:pt x="3687624" y="5122498"/>
                  <a:pt x="3750461" y="5136109"/>
                  <a:pt x="3841805" y="5136109"/>
                </a:cubicBezTo>
                <a:cubicBezTo>
                  <a:pt x="3841805" y="5136109"/>
                  <a:pt x="3841805" y="5136109"/>
                  <a:pt x="3848930" y="5136109"/>
                </a:cubicBezTo>
                <a:lnTo>
                  <a:pt x="3848930" y="5136109"/>
                </a:lnTo>
                <a:cubicBezTo>
                  <a:pt x="3933150" y="5136109"/>
                  <a:pt x="4003121" y="5121859"/>
                  <a:pt x="4079559" y="5093999"/>
                </a:cubicBezTo>
                <a:lnTo>
                  <a:pt x="5660947" y="4478551"/>
                </a:lnTo>
                <a:cubicBezTo>
                  <a:pt x="5660947" y="4478551"/>
                  <a:pt x="5668072" y="4478551"/>
                  <a:pt x="5668072" y="4471426"/>
                </a:cubicBezTo>
                <a:cubicBezTo>
                  <a:pt x="5773018" y="4422191"/>
                  <a:pt x="5828739" y="4324369"/>
                  <a:pt x="5828739" y="4205812"/>
                </a:cubicBezTo>
                <a:lnTo>
                  <a:pt x="5828739" y="217027"/>
                </a:lnTo>
                <a:cubicBezTo>
                  <a:pt x="5822272" y="69971"/>
                  <a:pt x="5723803" y="0"/>
                  <a:pt x="5633105" y="0"/>
                </a:cubicBezTo>
                <a:close/>
                <a:moveTo>
                  <a:pt x="252757" y="4862713"/>
                </a:moveTo>
                <a:lnTo>
                  <a:pt x="252757" y="958806"/>
                </a:lnTo>
                <a:cubicBezTo>
                  <a:pt x="252757" y="944556"/>
                  <a:pt x="259881" y="909571"/>
                  <a:pt x="301991" y="895969"/>
                </a:cubicBezTo>
                <a:lnTo>
                  <a:pt x="1813409" y="308372"/>
                </a:lnTo>
                <a:cubicBezTo>
                  <a:pt x="1827658" y="308372"/>
                  <a:pt x="1834135" y="301247"/>
                  <a:pt x="1848394" y="301247"/>
                </a:cubicBezTo>
                <a:lnTo>
                  <a:pt x="1848394" y="301247"/>
                </a:lnTo>
                <a:lnTo>
                  <a:pt x="1848394" y="4247264"/>
                </a:lnTo>
                <a:lnTo>
                  <a:pt x="252757" y="4862713"/>
                </a:lnTo>
                <a:close/>
                <a:moveTo>
                  <a:pt x="2106884" y="4240140"/>
                </a:moveTo>
                <a:lnTo>
                  <a:pt x="2106884" y="286998"/>
                </a:lnTo>
                <a:lnTo>
                  <a:pt x="3708998" y="909580"/>
                </a:lnTo>
                <a:lnTo>
                  <a:pt x="3708998" y="4862722"/>
                </a:lnTo>
                <a:lnTo>
                  <a:pt x="2106884" y="4240140"/>
                </a:lnTo>
                <a:close/>
                <a:moveTo>
                  <a:pt x="5563135" y="4212279"/>
                </a:moveTo>
                <a:cubicBezTo>
                  <a:pt x="5563135" y="4233015"/>
                  <a:pt x="5556010" y="4240140"/>
                  <a:pt x="5548885" y="4240140"/>
                </a:cubicBezTo>
                <a:lnTo>
                  <a:pt x="3974622" y="4855588"/>
                </a:lnTo>
                <a:cubicBezTo>
                  <a:pt x="3974622" y="4855588"/>
                  <a:pt x="3967497" y="4855588"/>
                  <a:pt x="3967497" y="4862713"/>
                </a:cubicBezTo>
                <a:lnTo>
                  <a:pt x="3967497" y="909571"/>
                </a:lnTo>
                <a:lnTo>
                  <a:pt x="5562487" y="286988"/>
                </a:lnTo>
                <a:lnTo>
                  <a:pt x="5562487" y="4212279"/>
                </a:lnTo>
                <a:lnTo>
                  <a:pt x="5563135" y="4212279"/>
                </a:lnTo>
                <a:close/>
                <a:moveTo>
                  <a:pt x="4338706" y="3288459"/>
                </a:moveTo>
                <a:cubicBezTo>
                  <a:pt x="4373691" y="3225622"/>
                  <a:pt x="4457911" y="3204239"/>
                  <a:pt x="4513623" y="3246349"/>
                </a:cubicBezTo>
                <a:lnTo>
                  <a:pt x="4716401" y="3365554"/>
                </a:lnTo>
                <a:lnTo>
                  <a:pt x="4898442" y="3078556"/>
                </a:lnTo>
                <a:cubicBezTo>
                  <a:pt x="4933428" y="3015720"/>
                  <a:pt x="5017648" y="3001461"/>
                  <a:pt x="5080484" y="3036446"/>
                </a:cubicBezTo>
                <a:cubicBezTo>
                  <a:pt x="5143321" y="3071432"/>
                  <a:pt x="5157580" y="3155652"/>
                  <a:pt x="5122594" y="3218488"/>
                </a:cubicBezTo>
                <a:lnTo>
                  <a:pt x="4940552" y="3498361"/>
                </a:lnTo>
                <a:lnTo>
                  <a:pt x="5136205" y="3617566"/>
                </a:lnTo>
                <a:cubicBezTo>
                  <a:pt x="5199042" y="3652552"/>
                  <a:pt x="5220425" y="3736772"/>
                  <a:pt x="5178316" y="3792484"/>
                </a:cubicBezTo>
                <a:cubicBezTo>
                  <a:pt x="5157589" y="3834594"/>
                  <a:pt x="5108345" y="3855320"/>
                  <a:pt x="5066235" y="3855320"/>
                </a:cubicBezTo>
                <a:cubicBezTo>
                  <a:pt x="5045508" y="3855320"/>
                  <a:pt x="5024124" y="3848195"/>
                  <a:pt x="5003398" y="3834594"/>
                </a:cubicBezTo>
                <a:lnTo>
                  <a:pt x="4800621" y="3715388"/>
                </a:lnTo>
                <a:lnTo>
                  <a:pt x="4618579" y="4002386"/>
                </a:lnTo>
                <a:cubicBezTo>
                  <a:pt x="4590718" y="4044496"/>
                  <a:pt x="4548608" y="4065223"/>
                  <a:pt x="4506498" y="4065223"/>
                </a:cubicBezTo>
                <a:cubicBezTo>
                  <a:pt x="4485772" y="4065223"/>
                  <a:pt x="4457263" y="4058098"/>
                  <a:pt x="4436528" y="4044496"/>
                </a:cubicBezTo>
                <a:cubicBezTo>
                  <a:pt x="4373691" y="4009511"/>
                  <a:pt x="4359432" y="3925291"/>
                  <a:pt x="4394417" y="3862454"/>
                </a:cubicBezTo>
                <a:lnTo>
                  <a:pt x="4576459" y="3582581"/>
                </a:lnTo>
                <a:lnTo>
                  <a:pt x="4380806" y="3463376"/>
                </a:lnTo>
                <a:cubicBezTo>
                  <a:pt x="4324456" y="3428390"/>
                  <a:pt x="4303730" y="3351295"/>
                  <a:pt x="4338706" y="328845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1" name="Forma libre 352">
            <a:extLst>
              <a:ext uri="{FF2B5EF4-FFF2-40B4-BE49-F238E27FC236}">
                <a16:creationId xmlns:a16="http://schemas.microsoft.com/office/drawing/2014/main" xmlns="" id="{9CDDA339-AD50-F74E-893C-C41D425C52DB}"/>
              </a:ext>
            </a:extLst>
          </p:cNvPr>
          <p:cNvSpPr/>
          <p:nvPr/>
        </p:nvSpPr>
        <p:spPr>
          <a:xfrm>
            <a:off x="481232" y="4813951"/>
            <a:ext cx="301338" cy="151409"/>
          </a:xfrm>
          <a:custGeom>
            <a:avLst/>
            <a:gdLst>
              <a:gd name="connsiteX0" fmla="*/ 5511470 w 5819775"/>
              <a:gd name="connsiteY0" fmla="*/ 803386 h 2924175"/>
              <a:gd name="connsiteX1" fmla="*/ 5215176 w 5819775"/>
              <a:gd name="connsiteY1" fmla="*/ 803386 h 2924175"/>
              <a:gd name="connsiteX2" fmla="*/ 5215176 w 5819775"/>
              <a:gd name="connsiteY2" fmla="*/ 338061 h 2924175"/>
              <a:gd name="connsiteX3" fmla="*/ 4877115 w 5819775"/>
              <a:gd name="connsiteY3" fmla="*/ 0 h 2924175"/>
              <a:gd name="connsiteX4" fmla="*/ 338061 w 5819775"/>
              <a:gd name="connsiteY4" fmla="*/ 0 h 2924175"/>
              <a:gd name="connsiteX5" fmla="*/ 0 w 5819775"/>
              <a:gd name="connsiteY5" fmla="*/ 338061 h 2924175"/>
              <a:gd name="connsiteX6" fmla="*/ 0 w 5819775"/>
              <a:gd name="connsiteY6" fmla="*/ 2586371 h 2924175"/>
              <a:gd name="connsiteX7" fmla="*/ 338061 w 5819775"/>
              <a:gd name="connsiteY7" fmla="*/ 2924432 h 2924175"/>
              <a:gd name="connsiteX8" fmla="*/ 4884287 w 5819775"/>
              <a:gd name="connsiteY8" fmla="*/ 2924432 h 2924175"/>
              <a:gd name="connsiteX9" fmla="*/ 5222348 w 5819775"/>
              <a:gd name="connsiteY9" fmla="*/ 2586371 h 2924175"/>
              <a:gd name="connsiteX10" fmla="*/ 5222348 w 5819775"/>
              <a:gd name="connsiteY10" fmla="*/ 2036855 h 2924175"/>
              <a:gd name="connsiteX11" fmla="*/ 5518642 w 5819775"/>
              <a:gd name="connsiteY11" fmla="*/ 2036855 h 2924175"/>
              <a:gd name="connsiteX12" fmla="*/ 5828643 w 5819775"/>
              <a:gd name="connsiteY12" fmla="*/ 1726854 h 2924175"/>
              <a:gd name="connsiteX13" fmla="*/ 5828643 w 5819775"/>
              <a:gd name="connsiteY13" fmla="*/ 1113377 h 2924175"/>
              <a:gd name="connsiteX14" fmla="*/ 5511470 w 5819775"/>
              <a:gd name="connsiteY14" fmla="*/ 803386 h 2924175"/>
              <a:gd name="connsiteX15" fmla="*/ 4954772 w 5819775"/>
              <a:gd name="connsiteY15" fmla="*/ 2587028 h 2924175"/>
              <a:gd name="connsiteX16" fmla="*/ 4877105 w 5819775"/>
              <a:gd name="connsiteY16" fmla="*/ 2664695 h 2924175"/>
              <a:gd name="connsiteX17" fmla="*/ 338061 w 5819775"/>
              <a:gd name="connsiteY17" fmla="*/ 2664695 h 2924175"/>
              <a:gd name="connsiteX18" fmla="*/ 260394 w 5819775"/>
              <a:gd name="connsiteY18" fmla="*/ 2587028 h 2924175"/>
              <a:gd name="connsiteX19" fmla="*/ 260394 w 5819775"/>
              <a:gd name="connsiteY19" fmla="*/ 338719 h 2924175"/>
              <a:gd name="connsiteX20" fmla="*/ 338061 w 5819775"/>
              <a:gd name="connsiteY20" fmla="*/ 261052 h 2924175"/>
              <a:gd name="connsiteX21" fmla="*/ 4884287 w 5819775"/>
              <a:gd name="connsiteY21" fmla="*/ 261052 h 2924175"/>
              <a:gd name="connsiteX22" fmla="*/ 4961954 w 5819775"/>
              <a:gd name="connsiteY22" fmla="*/ 338719 h 2924175"/>
              <a:gd name="connsiteX23" fmla="*/ 4961954 w 5819775"/>
              <a:gd name="connsiteY23" fmla="*/ 952195 h 2924175"/>
              <a:gd name="connsiteX24" fmla="*/ 4961954 w 5819775"/>
              <a:gd name="connsiteY24" fmla="*/ 1903733 h 2924175"/>
              <a:gd name="connsiteX25" fmla="*/ 4961954 w 5819775"/>
              <a:gd name="connsiteY25" fmla="*/ 2587695 h 2924175"/>
              <a:gd name="connsiteX26" fmla="*/ 4954772 w 5819775"/>
              <a:gd name="connsiteY26" fmla="*/ 2587695 h 2924175"/>
              <a:gd name="connsiteX27" fmla="*/ 4954772 w 5819775"/>
              <a:gd name="connsiteY27" fmla="*/ 2587028 h 2924175"/>
              <a:gd name="connsiteX28" fmla="*/ 5561067 w 5819775"/>
              <a:gd name="connsiteY28" fmla="*/ 1726864 h 2924175"/>
              <a:gd name="connsiteX29" fmla="*/ 5511470 w 5819775"/>
              <a:gd name="connsiteY29" fmla="*/ 1776460 h 2924175"/>
              <a:gd name="connsiteX30" fmla="*/ 5215176 w 5819775"/>
              <a:gd name="connsiteY30" fmla="*/ 1776460 h 2924175"/>
              <a:gd name="connsiteX31" fmla="*/ 5215176 w 5819775"/>
              <a:gd name="connsiteY31" fmla="*/ 1064438 h 2924175"/>
              <a:gd name="connsiteX32" fmla="*/ 5511470 w 5819775"/>
              <a:gd name="connsiteY32" fmla="*/ 1064438 h 2924175"/>
              <a:gd name="connsiteX33" fmla="*/ 5561067 w 5819775"/>
              <a:gd name="connsiteY33" fmla="*/ 1114035 h 2924175"/>
              <a:gd name="connsiteX34" fmla="*/ 5561067 w 5819775"/>
              <a:gd name="connsiteY34" fmla="*/ 1726864 h 2924175"/>
              <a:gd name="connsiteX35" fmla="*/ 1211932 w 5819775"/>
              <a:gd name="connsiteY35" fmla="*/ 895407 h 2924175"/>
              <a:gd name="connsiteX36" fmla="*/ 1211932 w 5819775"/>
              <a:gd name="connsiteY36" fmla="*/ 2030330 h 2924175"/>
              <a:gd name="connsiteX37" fmla="*/ 1085326 w 5819775"/>
              <a:gd name="connsiteY37" fmla="*/ 2156936 h 2924175"/>
              <a:gd name="connsiteX38" fmla="*/ 958720 w 5819775"/>
              <a:gd name="connsiteY38" fmla="*/ 2030330 h 2924175"/>
              <a:gd name="connsiteX39" fmla="*/ 958720 w 5819775"/>
              <a:gd name="connsiteY39" fmla="*/ 895407 h 2924175"/>
              <a:gd name="connsiteX40" fmla="*/ 1085326 w 5819775"/>
              <a:gd name="connsiteY40" fmla="*/ 768801 h 2924175"/>
              <a:gd name="connsiteX41" fmla="*/ 1211932 w 5819775"/>
              <a:gd name="connsiteY41" fmla="*/ 895407 h 2924175"/>
              <a:gd name="connsiteX42" fmla="*/ 2233955 w 5819775"/>
              <a:gd name="connsiteY42" fmla="*/ 895407 h 2924175"/>
              <a:gd name="connsiteX43" fmla="*/ 2233955 w 5819775"/>
              <a:gd name="connsiteY43" fmla="*/ 2030330 h 2924175"/>
              <a:gd name="connsiteX44" fmla="*/ 2107349 w 5819775"/>
              <a:gd name="connsiteY44" fmla="*/ 2156936 h 2924175"/>
              <a:gd name="connsiteX45" fmla="*/ 1980743 w 5819775"/>
              <a:gd name="connsiteY45" fmla="*/ 2030330 h 2924175"/>
              <a:gd name="connsiteX46" fmla="*/ 1980743 w 5819775"/>
              <a:gd name="connsiteY46" fmla="*/ 895407 h 2924175"/>
              <a:gd name="connsiteX47" fmla="*/ 2107349 w 5819775"/>
              <a:gd name="connsiteY47" fmla="*/ 768801 h 2924175"/>
              <a:gd name="connsiteX48" fmla="*/ 2233955 w 5819775"/>
              <a:gd name="connsiteY48" fmla="*/ 895407 h 2924175"/>
              <a:gd name="connsiteX49" fmla="*/ 3248797 w 5819775"/>
              <a:gd name="connsiteY49" fmla="*/ 895407 h 2924175"/>
              <a:gd name="connsiteX50" fmla="*/ 3248797 w 5819775"/>
              <a:gd name="connsiteY50" fmla="*/ 2030330 h 2924175"/>
              <a:gd name="connsiteX51" fmla="*/ 3122190 w 5819775"/>
              <a:gd name="connsiteY51" fmla="*/ 2156936 h 2924175"/>
              <a:gd name="connsiteX52" fmla="*/ 2995584 w 5819775"/>
              <a:gd name="connsiteY52" fmla="*/ 2030330 h 2924175"/>
              <a:gd name="connsiteX53" fmla="*/ 2995584 w 5819775"/>
              <a:gd name="connsiteY53" fmla="*/ 895407 h 2924175"/>
              <a:gd name="connsiteX54" fmla="*/ 3122190 w 5819775"/>
              <a:gd name="connsiteY54" fmla="*/ 768801 h 2924175"/>
              <a:gd name="connsiteX55" fmla="*/ 3248797 w 5819775"/>
              <a:gd name="connsiteY55" fmla="*/ 895407 h 2924175"/>
              <a:gd name="connsiteX56" fmla="*/ 4270820 w 5819775"/>
              <a:gd name="connsiteY56" fmla="*/ 895407 h 2924175"/>
              <a:gd name="connsiteX57" fmla="*/ 4270820 w 5819775"/>
              <a:gd name="connsiteY57" fmla="*/ 2030330 h 2924175"/>
              <a:gd name="connsiteX58" fmla="*/ 4144213 w 5819775"/>
              <a:gd name="connsiteY58" fmla="*/ 2156936 h 2924175"/>
              <a:gd name="connsiteX59" fmla="*/ 4017607 w 5819775"/>
              <a:gd name="connsiteY59" fmla="*/ 2030330 h 2924175"/>
              <a:gd name="connsiteX60" fmla="*/ 4017607 w 5819775"/>
              <a:gd name="connsiteY60" fmla="*/ 895407 h 2924175"/>
              <a:gd name="connsiteX61" fmla="*/ 4144213 w 5819775"/>
              <a:gd name="connsiteY61" fmla="*/ 768801 h 2924175"/>
              <a:gd name="connsiteX62" fmla="*/ 4270820 w 5819775"/>
              <a:gd name="connsiteY62" fmla="*/ 895407 h 292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5819775" h="2924175">
                <a:moveTo>
                  <a:pt x="5511470" y="803386"/>
                </a:moveTo>
                <a:lnTo>
                  <a:pt x="5215176" y="803386"/>
                </a:lnTo>
                <a:lnTo>
                  <a:pt x="5215176" y="338061"/>
                </a:lnTo>
                <a:cubicBezTo>
                  <a:pt x="5215176" y="154676"/>
                  <a:pt x="5067033" y="0"/>
                  <a:pt x="4877115" y="0"/>
                </a:cubicBezTo>
                <a:lnTo>
                  <a:pt x="338061" y="0"/>
                </a:lnTo>
                <a:cubicBezTo>
                  <a:pt x="154676" y="0"/>
                  <a:pt x="0" y="148142"/>
                  <a:pt x="0" y="338061"/>
                </a:cubicBezTo>
                <a:lnTo>
                  <a:pt x="0" y="2586371"/>
                </a:lnTo>
                <a:cubicBezTo>
                  <a:pt x="0" y="2769756"/>
                  <a:pt x="148152" y="2924432"/>
                  <a:pt x="338061" y="2924432"/>
                </a:cubicBezTo>
                <a:lnTo>
                  <a:pt x="4884287" y="2924432"/>
                </a:lnTo>
                <a:cubicBezTo>
                  <a:pt x="5067672" y="2924432"/>
                  <a:pt x="5222348" y="2776280"/>
                  <a:pt x="5222348" y="2586371"/>
                </a:cubicBezTo>
                <a:lnTo>
                  <a:pt x="5222348" y="2036855"/>
                </a:lnTo>
                <a:lnTo>
                  <a:pt x="5518642" y="2036855"/>
                </a:lnTo>
                <a:cubicBezTo>
                  <a:pt x="5687673" y="2036855"/>
                  <a:pt x="5828643" y="1895885"/>
                  <a:pt x="5828643" y="1726854"/>
                </a:cubicBezTo>
                <a:lnTo>
                  <a:pt x="5828643" y="1113377"/>
                </a:lnTo>
                <a:cubicBezTo>
                  <a:pt x="5821470" y="944356"/>
                  <a:pt x="5680501" y="803386"/>
                  <a:pt x="5511470" y="803386"/>
                </a:cubicBezTo>
                <a:close/>
                <a:moveTo>
                  <a:pt x="4954772" y="2587028"/>
                </a:moveTo>
                <a:cubicBezTo>
                  <a:pt x="4954772" y="2629453"/>
                  <a:pt x="4919530" y="2664695"/>
                  <a:pt x="4877105" y="2664695"/>
                </a:cubicBezTo>
                <a:lnTo>
                  <a:pt x="338061" y="2664695"/>
                </a:lnTo>
                <a:cubicBezTo>
                  <a:pt x="295637" y="2664695"/>
                  <a:pt x="260394" y="2629453"/>
                  <a:pt x="260394" y="2587028"/>
                </a:cubicBezTo>
                <a:lnTo>
                  <a:pt x="260394" y="338719"/>
                </a:lnTo>
                <a:cubicBezTo>
                  <a:pt x="260394" y="296294"/>
                  <a:pt x="295637" y="261052"/>
                  <a:pt x="338061" y="261052"/>
                </a:cubicBezTo>
                <a:lnTo>
                  <a:pt x="4884287" y="261052"/>
                </a:lnTo>
                <a:cubicBezTo>
                  <a:pt x="4926711" y="261052"/>
                  <a:pt x="4961954" y="296294"/>
                  <a:pt x="4961954" y="338719"/>
                </a:cubicBezTo>
                <a:lnTo>
                  <a:pt x="4961954" y="952195"/>
                </a:lnTo>
                <a:lnTo>
                  <a:pt x="4961954" y="1903733"/>
                </a:lnTo>
                <a:lnTo>
                  <a:pt x="4961954" y="2587695"/>
                </a:lnTo>
                <a:lnTo>
                  <a:pt x="4954772" y="2587695"/>
                </a:lnTo>
                <a:lnTo>
                  <a:pt x="4954772" y="2587028"/>
                </a:lnTo>
                <a:close/>
                <a:moveTo>
                  <a:pt x="5561067" y="1726864"/>
                </a:moveTo>
                <a:cubicBezTo>
                  <a:pt x="5561067" y="1754924"/>
                  <a:pt x="5540178" y="1776460"/>
                  <a:pt x="5511470" y="1776460"/>
                </a:cubicBezTo>
                <a:lnTo>
                  <a:pt x="5215176" y="1776460"/>
                </a:lnTo>
                <a:lnTo>
                  <a:pt x="5215176" y="1064438"/>
                </a:lnTo>
                <a:lnTo>
                  <a:pt x="5511470" y="1064438"/>
                </a:lnTo>
                <a:cubicBezTo>
                  <a:pt x="5539531" y="1064438"/>
                  <a:pt x="5561067" y="1085326"/>
                  <a:pt x="5561067" y="1114035"/>
                </a:cubicBezTo>
                <a:lnTo>
                  <a:pt x="5561067" y="1726864"/>
                </a:lnTo>
                <a:close/>
                <a:moveTo>
                  <a:pt x="1211932" y="895407"/>
                </a:moveTo>
                <a:lnTo>
                  <a:pt x="1211932" y="2030330"/>
                </a:lnTo>
                <a:cubicBezTo>
                  <a:pt x="1211932" y="2100815"/>
                  <a:pt x="1155802" y="2156936"/>
                  <a:pt x="1085326" y="2156936"/>
                </a:cubicBezTo>
                <a:cubicBezTo>
                  <a:pt x="1014841" y="2156936"/>
                  <a:pt x="958720" y="2100806"/>
                  <a:pt x="958720" y="2030330"/>
                </a:cubicBezTo>
                <a:lnTo>
                  <a:pt x="958720" y="895407"/>
                </a:lnTo>
                <a:cubicBezTo>
                  <a:pt x="958720" y="824922"/>
                  <a:pt x="1014851" y="768801"/>
                  <a:pt x="1085326" y="768801"/>
                </a:cubicBezTo>
                <a:cubicBezTo>
                  <a:pt x="1155811" y="768801"/>
                  <a:pt x="1211932" y="817750"/>
                  <a:pt x="1211932" y="895407"/>
                </a:cubicBezTo>
                <a:close/>
                <a:moveTo>
                  <a:pt x="2233955" y="895407"/>
                </a:moveTo>
                <a:lnTo>
                  <a:pt x="2233955" y="2030330"/>
                </a:lnTo>
                <a:cubicBezTo>
                  <a:pt x="2233955" y="2100815"/>
                  <a:pt x="2177825" y="2156936"/>
                  <a:pt x="2107349" y="2156936"/>
                </a:cubicBezTo>
                <a:cubicBezTo>
                  <a:pt x="2036864" y="2156936"/>
                  <a:pt x="1980743" y="2100806"/>
                  <a:pt x="1980743" y="2030330"/>
                </a:cubicBezTo>
                <a:lnTo>
                  <a:pt x="1980743" y="895407"/>
                </a:lnTo>
                <a:cubicBezTo>
                  <a:pt x="1980743" y="824922"/>
                  <a:pt x="2036874" y="768801"/>
                  <a:pt x="2107349" y="768801"/>
                </a:cubicBezTo>
                <a:cubicBezTo>
                  <a:pt x="2170652" y="761619"/>
                  <a:pt x="2233955" y="817750"/>
                  <a:pt x="2233955" y="895407"/>
                </a:cubicBezTo>
                <a:close/>
                <a:moveTo>
                  <a:pt x="3248797" y="895407"/>
                </a:moveTo>
                <a:lnTo>
                  <a:pt x="3248797" y="2030330"/>
                </a:lnTo>
                <a:cubicBezTo>
                  <a:pt x="3248797" y="2100815"/>
                  <a:pt x="3192666" y="2156936"/>
                  <a:pt x="3122190" y="2156936"/>
                </a:cubicBezTo>
                <a:cubicBezTo>
                  <a:pt x="3051715" y="2156936"/>
                  <a:pt x="2995584" y="2100806"/>
                  <a:pt x="2995584" y="2030330"/>
                </a:cubicBezTo>
                <a:lnTo>
                  <a:pt x="2995584" y="895407"/>
                </a:lnTo>
                <a:cubicBezTo>
                  <a:pt x="2995584" y="824922"/>
                  <a:pt x="3051705" y="768801"/>
                  <a:pt x="3122190" y="768801"/>
                </a:cubicBezTo>
                <a:cubicBezTo>
                  <a:pt x="3192675" y="761619"/>
                  <a:pt x="3248797" y="817750"/>
                  <a:pt x="3248797" y="895407"/>
                </a:cubicBezTo>
                <a:close/>
                <a:moveTo>
                  <a:pt x="4270820" y="895407"/>
                </a:moveTo>
                <a:lnTo>
                  <a:pt x="4270820" y="2030330"/>
                </a:lnTo>
                <a:cubicBezTo>
                  <a:pt x="4270820" y="2100815"/>
                  <a:pt x="4214689" y="2156936"/>
                  <a:pt x="4144213" y="2156936"/>
                </a:cubicBezTo>
                <a:cubicBezTo>
                  <a:pt x="4073728" y="2156936"/>
                  <a:pt x="4017607" y="2100806"/>
                  <a:pt x="4017607" y="2030330"/>
                </a:cubicBezTo>
                <a:lnTo>
                  <a:pt x="4017607" y="895407"/>
                </a:lnTo>
                <a:cubicBezTo>
                  <a:pt x="4017607" y="824922"/>
                  <a:pt x="4073728" y="768801"/>
                  <a:pt x="4144213" y="768801"/>
                </a:cubicBezTo>
                <a:cubicBezTo>
                  <a:pt x="4214689" y="761619"/>
                  <a:pt x="4270820" y="817750"/>
                  <a:pt x="4270820" y="89540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2" name="Forma libre 354">
            <a:extLst>
              <a:ext uri="{FF2B5EF4-FFF2-40B4-BE49-F238E27FC236}">
                <a16:creationId xmlns:a16="http://schemas.microsoft.com/office/drawing/2014/main" xmlns="" id="{0B97DB57-BEE0-1D41-B25F-497000B5B239}"/>
              </a:ext>
            </a:extLst>
          </p:cNvPr>
          <p:cNvSpPr/>
          <p:nvPr/>
        </p:nvSpPr>
        <p:spPr>
          <a:xfrm>
            <a:off x="4276895" y="3377616"/>
            <a:ext cx="301338" cy="301338"/>
          </a:xfrm>
          <a:custGeom>
            <a:avLst/>
            <a:gdLst>
              <a:gd name="connsiteX0" fmla="*/ 2918403 w 5819775"/>
              <a:gd name="connsiteY0" fmla="*/ 2011566 h 5819775"/>
              <a:gd name="connsiteX1" fmla="*/ 2012242 w 5819775"/>
              <a:gd name="connsiteY1" fmla="*/ 2917727 h 5819775"/>
              <a:gd name="connsiteX2" fmla="*/ 2918403 w 5819775"/>
              <a:gd name="connsiteY2" fmla="*/ 3823888 h 5819775"/>
              <a:gd name="connsiteX3" fmla="*/ 3832069 w 5819775"/>
              <a:gd name="connsiteY3" fmla="*/ 2917727 h 5819775"/>
              <a:gd name="connsiteX4" fmla="*/ 2918403 w 5819775"/>
              <a:gd name="connsiteY4" fmla="*/ 2011566 h 5819775"/>
              <a:gd name="connsiteX5" fmla="*/ 2918403 w 5819775"/>
              <a:gd name="connsiteY5" fmla="*/ 3559131 h 5819775"/>
              <a:gd name="connsiteX6" fmla="*/ 2276999 w 5819775"/>
              <a:gd name="connsiteY6" fmla="*/ 2917727 h 5819775"/>
              <a:gd name="connsiteX7" fmla="*/ 2918403 w 5819775"/>
              <a:gd name="connsiteY7" fmla="*/ 2276323 h 5819775"/>
              <a:gd name="connsiteX8" fmla="*/ 3559807 w 5819775"/>
              <a:gd name="connsiteY8" fmla="*/ 2917727 h 5819775"/>
              <a:gd name="connsiteX9" fmla="*/ 2918403 w 5819775"/>
              <a:gd name="connsiteY9" fmla="*/ 3559131 h 5819775"/>
              <a:gd name="connsiteX10" fmla="*/ 5696246 w 5819775"/>
              <a:gd name="connsiteY10" fmla="*/ 2785348 h 5819775"/>
              <a:gd name="connsiteX11" fmla="*/ 5290928 w 5819775"/>
              <a:gd name="connsiteY11" fmla="*/ 2785348 h 5819775"/>
              <a:gd name="connsiteX12" fmla="*/ 3050781 w 5819775"/>
              <a:gd name="connsiteY12" fmla="*/ 545201 h 5819775"/>
              <a:gd name="connsiteX13" fmla="*/ 3050781 w 5819775"/>
              <a:gd name="connsiteY13" fmla="*/ 132378 h 5819775"/>
              <a:gd name="connsiteX14" fmla="*/ 2918403 w 5819775"/>
              <a:gd name="connsiteY14" fmla="*/ 0 h 5819775"/>
              <a:gd name="connsiteX15" fmla="*/ 2786025 w 5819775"/>
              <a:gd name="connsiteY15" fmla="*/ 132378 h 5819775"/>
              <a:gd name="connsiteX16" fmla="*/ 2786025 w 5819775"/>
              <a:gd name="connsiteY16" fmla="*/ 545201 h 5819775"/>
              <a:gd name="connsiteX17" fmla="*/ 552698 w 5819775"/>
              <a:gd name="connsiteY17" fmla="*/ 2777843 h 5819775"/>
              <a:gd name="connsiteX18" fmla="*/ 132378 w 5819775"/>
              <a:gd name="connsiteY18" fmla="*/ 2777843 h 5819775"/>
              <a:gd name="connsiteX19" fmla="*/ 0 w 5819775"/>
              <a:gd name="connsiteY19" fmla="*/ 2910221 h 5819775"/>
              <a:gd name="connsiteX20" fmla="*/ 132378 w 5819775"/>
              <a:gd name="connsiteY20" fmla="*/ 3042599 h 5819775"/>
              <a:gd name="connsiteX21" fmla="*/ 552707 w 5819775"/>
              <a:gd name="connsiteY21" fmla="*/ 3042599 h 5819775"/>
              <a:gd name="connsiteX22" fmla="*/ 2785348 w 5819775"/>
              <a:gd name="connsiteY22" fmla="*/ 5275241 h 5819775"/>
              <a:gd name="connsiteX23" fmla="*/ 2785348 w 5819775"/>
              <a:gd name="connsiteY23" fmla="*/ 5688064 h 5819775"/>
              <a:gd name="connsiteX24" fmla="*/ 2917727 w 5819775"/>
              <a:gd name="connsiteY24" fmla="*/ 5820442 h 5819775"/>
              <a:gd name="connsiteX25" fmla="*/ 3050105 w 5819775"/>
              <a:gd name="connsiteY25" fmla="*/ 5688064 h 5819775"/>
              <a:gd name="connsiteX26" fmla="*/ 3050105 w 5819775"/>
              <a:gd name="connsiteY26" fmla="*/ 5275241 h 5819775"/>
              <a:gd name="connsiteX27" fmla="*/ 5290252 w 5819775"/>
              <a:gd name="connsiteY27" fmla="*/ 3035094 h 5819775"/>
              <a:gd name="connsiteX28" fmla="*/ 5695569 w 5819775"/>
              <a:gd name="connsiteY28" fmla="*/ 3035094 h 5819775"/>
              <a:gd name="connsiteX29" fmla="*/ 5827947 w 5819775"/>
              <a:gd name="connsiteY29" fmla="*/ 2902715 h 5819775"/>
              <a:gd name="connsiteX30" fmla="*/ 5696246 w 5819775"/>
              <a:gd name="connsiteY30" fmla="*/ 2785348 h 5819775"/>
              <a:gd name="connsiteX31" fmla="*/ 3050781 w 5819775"/>
              <a:gd name="connsiteY31" fmla="*/ 5017989 h 5819775"/>
              <a:gd name="connsiteX32" fmla="*/ 3050781 w 5819775"/>
              <a:gd name="connsiteY32" fmla="*/ 4605166 h 5819775"/>
              <a:gd name="connsiteX33" fmla="*/ 2918403 w 5819775"/>
              <a:gd name="connsiteY33" fmla="*/ 4472788 h 5819775"/>
              <a:gd name="connsiteX34" fmla="*/ 2786025 w 5819775"/>
              <a:gd name="connsiteY34" fmla="*/ 4605166 h 5819775"/>
              <a:gd name="connsiteX35" fmla="*/ 2786025 w 5819775"/>
              <a:gd name="connsiteY35" fmla="*/ 5017989 h 5819775"/>
              <a:gd name="connsiteX36" fmla="*/ 825637 w 5819775"/>
              <a:gd name="connsiteY36" fmla="*/ 3057601 h 5819775"/>
              <a:gd name="connsiteX37" fmla="*/ 1230954 w 5819775"/>
              <a:gd name="connsiteY37" fmla="*/ 3057601 h 5819775"/>
              <a:gd name="connsiteX38" fmla="*/ 1363332 w 5819775"/>
              <a:gd name="connsiteY38" fmla="*/ 2925223 h 5819775"/>
              <a:gd name="connsiteX39" fmla="*/ 1230954 w 5819775"/>
              <a:gd name="connsiteY39" fmla="*/ 2792844 h 5819775"/>
              <a:gd name="connsiteX40" fmla="*/ 825637 w 5819775"/>
              <a:gd name="connsiteY40" fmla="*/ 2792844 h 5819775"/>
              <a:gd name="connsiteX41" fmla="*/ 2786025 w 5819775"/>
              <a:gd name="connsiteY41" fmla="*/ 832466 h 5819775"/>
              <a:gd name="connsiteX42" fmla="*/ 2786025 w 5819775"/>
              <a:gd name="connsiteY42" fmla="*/ 1245289 h 5819775"/>
              <a:gd name="connsiteX43" fmla="*/ 2918403 w 5819775"/>
              <a:gd name="connsiteY43" fmla="*/ 1377667 h 5819775"/>
              <a:gd name="connsiteX44" fmla="*/ 3050781 w 5819775"/>
              <a:gd name="connsiteY44" fmla="*/ 1245289 h 5819775"/>
              <a:gd name="connsiteX45" fmla="*/ 3050781 w 5819775"/>
              <a:gd name="connsiteY45" fmla="*/ 832466 h 5819775"/>
              <a:gd name="connsiteX46" fmla="*/ 5018675 w 5819775"/>
              <a:gd name="connsiteY46" fmla="*/ 2792854 h 5819775"/>
              <a:gd name="connsiteX47" fmla="*/ 4598346 w 5819775"/>
              <a:gd name="connsiteY47" fmla="*/ 2792854 h 5819775"/>
              <a:gd name="connsiteX48" fmla="*/ 4465968 w 5819775"/>
              <a:gd name="connsiteY48" fmla="*/ 2925233 h 5819775"/>
              <a:gd name="connsiteX49" fmla="*/ 4598346 w 5819775"/>
              <a:gd name="connsiteY49" fmla="*/ 3057611 h 5819775"/>
              <a:gd name="connsiteX50" fmla="*/ 5018675 w 5819775"/>
              <a:gd name="connsiteY50" fmla="*/ 3057611 h 5819775"/>
              <a:gd name="connsiteX51" fmla="*/ 3050781 w 5819775"/>
              <a:gd name="connsiteY51" fmla="*/ 5017989 h 581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819775" h="5819775">
                <a:moveTo>
                  <a:pt x="2918403" y="2011566"/>
                </a:moveTo>
                <a:cubicBezTo>
                  <a:pt x="2417559" y="2011566"/>
                  <a:pt x="2012242" y="2416883"/>
                  <a:pt x="2012242" y="2917727"/>
                </a:cubicBezTo>
                <a:cubicBezTo>
                  <a:pt x="2012242" y="3418570"/>
                  <a:pt x="2417559" y="3823888"/>
                  <a:pt x="2918403" y="3823888"/>
                </a:cubicBezTo>
                <a:cubicBezTo>
                  <a:pt x="3419247" y="3823888"/>
                  <a:pt x="3832069" y="3418570"/>
                  <a:pt x="3832069" y="2917727"/>
                </a:cubicBezTo>
                <a:cubicBezTo>
                  <a:pt x="3832069" y="2416883"/>
                  <a:pt x="3419247" y="2011566"/>
                  <a:pt x="2918403" y="2011566"/>
                </a:cubicBezTo>
                <a:close/>
                <a:moveTo>
                  <a:pt x="2918403" y="3559131"/>
                </a:moveTo>
                <a:cubicBezTo>
                  <a:pt x="2564949" y="3559131"/>
                  <a:pt x="2276999" y="3271866"/>
                  <a:pt x="2276999" y="2917727"/>
                </a:cubicBezTo>
                <a:cubicBezTo>
                  <a:pt x="2276999" y="2563587"/>
                  <a:pt x="2564263" y="2276323"/>
                  <a:pt x="2918403" y="2276323"/>
                </a:cubicBezTo>
                <a:cubicBezTo>
                  <a:pt x="3271857" y="2276323"/>
                  <a:pt x="3559807" y="2563587"/>
                  <a:pt x="3559807" y="2917727"/>
                </a:cubicBezTo>
                <a:cubicBezTo>
                  <a:pt x="3559807" y="3271866"/>
                  <a:pt x="3271857" y="3559131"/>
                  <a:pt x="2918403" y="3559131"/>
                </a:cubicBezTo>
                <a:close/>
                <a:moveTo>
                  <a:pt x="5696246" y="2785348"/>
                </a:moveTo>
                <a:lnTo>
                  <a:pt x="5290928" y="2785348"/>
                </a:lnTo>
                <a:cubicBezTo>
                  <a:pt x="5224739" y="1584417"/>
                  <a:pt x="4251713" y="611381"/>
                  <a:pt x="3050781" y="545201"/>
                </a:cubicBezTo>
                <a:lnTo>
                  <a:pt x="3050781" y="132378"/>
                </a:lnTo>
                <a:cubicBezTo>
                  <a:pt x="3050781" y="58684"/>
                  <a:pt x="2992098" y="0"/>
                  <a:pt x="2918403" y="0"/>
                </a:cubicBezTo>
                <a:cubicBezTo>
                  <a:pt x="2844708" y="0"/>
                  <a:pt x="2786025" y="58684"/>
                  <a:pt x="2786025" y="132378"/>
                </a:cubicBezTo>
                <a:lnTo>
                  <a:pt x="2786025" y="545201"/>
                </a:lnTo>
                <a:cubicBezTo>
                  <a:pt x="1584417" y="618211"/>
                  <a:pt x="626393" y="1583731"/>
                  <a:pt x="552698" y="2777843"/>
                </a:cubicBezTo>
                <a:lnTo>
                  <a:pt x="132378" y="2777843"/>
                </a:lnTo>
                <a:cubicBezTo>
                  <a:pt x="58684" y="2777843"/>
                  <a:pt x="0" y="2836526"/>
                  <a:pt x="0" y="2910221"/>
                </a:cubicBezTo>
                <a:cubicBezTo>
                  <a:pt x="0" y="2983916"/>
                  <a:pt x="58684" y="3042599"/>
                  <a:pt x="132378" y="3042599"/>
                </a:cubicBezTo>
                <a:lnTo>
                  <a:pt x="552707" y="3042599"/>
                </a:lnTo>
                <a:cubicBezTo>
                  <a:pt x="618896" y="4243531"/>
                  <a:pt x="1584417" y="5209051"/>
                  <a:pt x="2785348" y="5275241"/>
                </a:cubicBezTo>
                <a:lnTo>
                  <a:pt x="2785348" y="5688064"/>
                </a:lnTo>
                <a:cubicBezTo>
                  <a:pt x="2785348" y="5761759"/>
                  <a:pt x="2844032" y="5820442"/>
                  <a:pt x="2917727" y="5820442"/>
                </a:cubicBezTo>
                <a:cubicBezTo>
                  <a:pt x="2991422" y="5820442"/>
                  <a:pt x="3050105" y="5761759"/>
                  <a:pt x="3050105" y="5688064"/>
                </a:cubicBezTo>
                <a:lnTo>
                  <a:pt x="3050105" y="5275241"/>
                </a:lnTo>
                <a:cubicBezTo>
                  <a:pt x="4258542" y="5209051"/>
                  <a:pt x="5224063" y="4243531"/>
                  <a:pt x="5290252" y="3035094"/>
                </a:cubicBezTo>
                <a:lnTo>
                  <a:pt x="5695569" y="3035094"/>
                </a:lnTo>
                <a:cubicBezTo>
                  <a:pt x="5769264" y="3035094"/>
                  <a:pt x="5827947" y="2976410"/>
                  <a:pt x="5827947" y="2902715"/>
                </a:cubicBezTo>
                <a:cubicBezTo>
                  <a:pt x="5829300" y="2829020"/>
                  <a:pt x="5769941" y="2785348"/>
                  <a:pt x="5696246" y="2785348"/>
                </a:cubicBezTo>
                <a:close/>
                <a:moveTo>
                  <a:pt x="3050781" y="5017989"/>
                </a:moveTo>
                <a:lnTo>
                  <a:pt x="3050781" y="4605166"/>
                </a:lnTo>
                <a:cubicBezTo>
                  <a:pt x="3050781" y="4531472"/>
                  <a:pt x="2992098" y="4472788"/>
                  <a:pt x="2918403" y="4472788"/>
                </a:cubicBezTo>
                <a:cubicBezTo>
                  <a:pt x="2844708" y="4472788"/>
                  <a:pt x="2786025" y="4531472"/>
                  <a:pt x="2786025" y="4605166"/>
                </a:cubicBezTo>
                <a:lnTo>
                  <a:pt x="2786025" y="5017989"/>
                </a:lnTo>
                <a:cubicBezTo>
                  <a:pt x="1739303" y="4944295"/>
                  <a:pt x="899331" y="4104323"/>
                  <a:pt x="825637" y="3057601"/>
                </a:cubicBezTo>
                <a:lnTo>
                  <a:pt x="1230954" y="3057601"/>
                </a:lnTo>
                <a:cubicBezTo>
                  <a:pt x="1304649" y="3057601"/>
                  <a:pt x="1363332" y="2998918"/>
                  <a:pt x="1363332" y="2925223"/>
                </a:cubicBezTo>
                <a:cubicBezTo>
                  <a:pt x="1363332" y="2851528"/>
                  <a:pt x="1304649" y="2792844"/>
                  <a:pt x="1230954" y="2792844"/>
                </a:cubicBezTo>
                <a:lnTo>
                  <a:pt x="825637" y="2792844"/>
                </a:lnTo>
                <a:cubicBezTo>
                  <a:pt x="891826" y="1746133"/>
                  <a:pt x="1731797" y="898655"/>
                  <a:pt x="2786025" y="832466"/>
                </a:cubicBezTo>
                <a:lnTo>
                  <a:pt x="2786025" y="1245289"/>
                </a:lnTo>
                <a:cubicBezTo>
                  <a:pt x="2786025" y="1318984"/>
                  <a:pt x="2844708" y="1377667"/>
                  <a:pt x="2918403" y="1377667"/>
                </a:cubicBezTo>
                <a:cubicBezTo>
                  <a:pt x="2992098" y="1377667"/>
                  <a:pt x="3050781" y="1318984"/>
                  <a:pt x="3050781" y="1245289"/>
                </a:cubicBezTo>
                <a:lnTo>
                  <a:pt x="3050781" y="832466"/>
                </a:lnTo>
                <a:cubicBezTo>
                  <a:pt x="4104323" y="898655"/>
                  <a:pt x="4951800" y="1738627"/>
                  <a:pt x="5018675" y="2792854"/>
                </a:cubicBezTo>
                <a:lnTo>
                  <a:pt x="4598346" y="2792854"/>
                </a:lnTo>
                <a:cubicBezTo>
                  <a:pt x="4524651" y="2792854"/>
                  <a:pt x="4465968" y="2851538"/>
                  <a:pt x="4465968" y="2925233"/>
                </a:cubicBezTo>
                <a:cubicBezTo>
                  <a:pt x="4465968" y="2998927"/>
                  <a:pt x="4524651" y="3057611"/>
                  <a:pt x="4598346" y="3057611"/>
                </a:cubicBezTo>
                <a:lnTo>
                  <a:pt x="5018675" y="3057611"/>
                </a:lnTo>
                <a:cubicBezTo>
                  <a:pt x="4952486" y="4111828"/>
                  <a:pt x="4105008" y="4951800"/>
                  <a:pt x="3050781" y="501798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3" name="Forma libre 356">
            <a:extLst>
              <a:ext uri="{FF2B5EF4-FFF2-40B4-BE49-F238E27FC236}">
                <a16:creationId xmlns:a16="http://schemas.microsoft.com/office/drawing/2014/main" xmlns="" id="{287B0EE7-4CE9-8942-A187-710AEFEADD45}"/>
              </a:ext>
            </a:extLst>
          </p:cNvPr>
          <p:cNvSpPr/>
          <p:nvPr/>
        </p:nvSpPr>
        <p:spPr>
          <a:xfrm>
            <a:off x="6449143" y="3394892"/>
            <a:ext cx="301503" cy="301995"/>
          </a:xfrm>
          <a:custGeom>
            <a:avLst/>
            <a:gdLst>
              <a:gd name="connsiteX0" fmla="*/ 5680427 w 5822970"/>
              <a:gd name="connsiteY0" fmla="*/ 921523 h 5832485"/>
              <a:gd name="connsiteX1" fmla="*/ 4902841 w 5822970"/>
              <a:gd name="connsiteY1" fmla="*/ 143938 h 5832485"/>
              <a:gd name="connsiteX2" fmla="*/ 4558572 w 5822970"/>
              <a:gd name="connsiteY2" fmla="*/ 0 h 5832485"/>
              <a:gd name="connsiteX3" fmla="*/ 4214294 w 5822970"/>
              <a:gd name="connsiteY3" fmla="*/ 143938 h 5832485"/>
              <a:gd name="connsiteX4" fmla="*/ 3693433 w 5822970"/>
              <a:gd name="connsiteY4" fmla="*/ 664799 h 5832485"/>
              <a:gd name="connsiteX5" fmla="*/ 3389231 w 5822970"/>
              <a:gd name="connsiteY5" fmla="*/ 728604 h 5832485"/>
              <a:gd name="connsiteX6" fmla="*/ 3165160 w 5822970"/>
              <a:gd name="connsiteY6" fmla="*/ 952674 h 5832485"/>
              <a:gd name="connsiteX7" fmla="*/ 3108767 w 5822970"/>
              <a:gd name="connsiteY7" fmla="*/ 1289531 h 5832485"/>
              <a:gd name="connsiteX8" fmla="*/ 592007 w 5822970"/>
              <a:gd name="connsiteY8" fmla="*/ 3806301 h 5832485"/>
              <a:gd name="connsiteX9" fmla="*/ 575679 w 5822970"/>
              <a:gd name="connsiteY9" fmla="*/ 3830040 h 5832485"/>
              <a:gd name="connsiteX10" fmla="*/ 575679 w 5822970"/>
              <a:gd name="connsiteY10" fmla="*/ 3838204 h 5832485"/>
              <a:gd name="connsiteX11" fmla="*/ 559352 w 5822970"/>
              <a:gd name="connsiteY11" fmla="*/ 3861943 h 5832485"/>
              <a:gd name="connsiteX12" fmla="*/ 559352 w 5822970"/>
              <a:gd name="connsiteY12" fmla="*/ 3861943 h 5832485"/>
              <a:gd name="connsiteX13" fmla="*/ 111212 w 5822970"/>
              <a:gd name="connsiteY13" fmla="*/ 5224946 h 5832485"/>
              <a:gd name="connsiteX14" fmla="*/ 111212 w 5822970"/>
              <a:gd name="connsiteY14" fmla="*/ 5224946 h 5832485"/>
              <a:gd name="connsiteX15" fmla="*/ 62982 w 5822970"/>
              <a:gd name="connsiteY15" fmla="*/ 5368884 h 5832485"/>
              <a:gd name="connsiteX16" fmla="*/ 14752 w 5822970"/>
              <a:gd name="connsiteY16" fmla="*/ 5512822 h 5832485"/>
              <a:gd name="connsiteX17" fmla="*/ 6589 w 5822970"/>
              <a:gd name="connsiteY17" fmla="*/ 5529149 h 5832485"/>
              <a:gd name="connsiteX18" fmla="*/ 30328 w 5822970"/>
              <a:gd name="connsiteY18" fmla="*/ 5713153 h 5832485"/>
              <a:gd name="connsiteX19" fmla="*/ 54067 w 5822970"/>
              <a:gd name="connsiteY19" fmla="*/ 5753219 h 5832485"/>
              <a:gd name="connsiteX20" fmla="*/ 254398 w 5822970"/>
              <a:gd name="connsiteY20" fmla="*/ 5841515 h 5832485"/>
              <a:gd name="connsiteX21" fmla="*/ 254398 w 5822970"/>
              <a:gd name="connsiteY21" fmla="*/ 5841515 h 5832485"/>
              <a:gd name="connsiteX22" fmla="*/ 278137 w 5822970"/>
              <a:gd name="connsiteY22" fmla="*/ 5841515 h 5832485"/>
              <a:gd name="connsiteX23" fmla="*/ 310040 w 5822970"/>
              <a:gd name="connsiteY23" fmla="*/ 5841515 h 5832485"/>
              <a:gd name="connsiteX24" fmla="*/ 310040 w 5822970"/>
              <a:gd name="connsiteY24" fmla="*/ 5841515 h 5832485"/>
              <a:gd name="connsiteX25" fmla="*/ 310040 w 5822970"/>
              <a:gd name="connsiteY25" fmla="*/ 5841515 h 5832485"/>
              <a:gd name="connsiteX26" fmla="*/ 326367 w 5822970"/>
              <a:gd name="connsiteY26" fmla="*/ 5833351 h 5832485"/>
              <a:gd name="connsiteX27" fmla="*/ 526698 w 5822970"/>
              <a:gd name="connsiteY27" fmla="*/ 5769546 h 5832485"/>
              <a:gd name="connsiteX28" fmla="*/ 1969082 w 5822970"/>
              <a:gd name="connsiteY28" fmla="*/ 5296915 h 5832485"/>
              <a:gd name="connsiteX29" fmla="*/ 1969082 w 5822970"/>
              <a:gd name="connsiteY29" fmla="*/ 5296915 h 5832485"/>
              <a:gd name="connsiteX30" fmla="*/ 2025475 w 5822970"/>
              <a:gd name="connsiteY30" fmla="*/ 5265012 h 5832485"/>
              <a:gd name="connsiteX31" fmla="*/ 4549657 w 5822970"/>
              <a:gd name="connsiteY31" fmla="*/ 2740831 h 5832485"/>
              <a:gd name="connsiteX32" fmla="*/ 4653529 w 5822970"/>
              <a:gd name="connsiteY32" fmla="*/ 2757158 h 5832485"/>
              <a:gd name="connsiteX33" fmla="*/ 4862024 w 5822970"/>
              <a:gd name="connsiteY33" fmla="*/ 2668862 h 5832485"/>
              <a:gd name="connsiteX34" fmla="*/ 5086094 w 5822970"/>
              <a:gd name="connsiteY34" fmla="*/ 2444792 h 5832485"/>
              <a:gd name="connsiteX35" fmla="*/ 5149899 w 5822970"/>
              <a:gd name="connsiteY35" fmla="*/ 2132425 h 5832485"/>
              <a:gd name="connsiteX36" fmla="*/ 5670760 w 5822970"/>
              <a:gd name="connsiteY36" fmla="*/ 1611564 h 5832485"/>
              <a:gd name="connsiteX37" fmla="*/ 5680427 w 5822970"/>
              <a:gd name="connsiteY37" fmla="*/ 921523 h 5832485"/>
              <a:gd name="connsiteX38" fmla="*/ 1937941 w 5822970"/>
              <a:gd name="connsiteY38" fmla="*/ 4944482 h 5832485"/>
              <a:gd name="connsiteX39" fmla="*/ 1529857 w 5822970"/>
              <a:gd name="connsiteY39" fmla="*/ 4535657 h 5832485"/>
              <a:gd name="connsiteX40" fmla="*/ 3925676 w 5822970"/>
              <a:gd name="connsiteY40" fmla="*/ 2131674 h 5832485"/>
              <a:gd name="connsiteX41" fmla="*/ 4334502 w 5822970"/>
              <a:gd name="connsiteY41" fmla="*/ 2540499 h 5832485"/>
              <a:gd name="connsiteX42" fmla="*/ 1937941 w 5822970"/>
              <a:gd name="connsiteY42" fmla="*/ 4944482 h 5832485"/>
              <a:gd name="connsiteX43" fmla="*/ 3717182 w 5822970"/>
              <a:gd name="connsiteY43" fmla="*/ 1923179 h 5832485"/>
              <a:gd name="connsiteX44" fmla="*/ 1321362 w 5822970"/>
              <a:gd name="connsiteY44" fmla="*/ 4327162 h 5832485"/>
              <a:gd name="connsiteX45" fmla="*/ 912536 w 5822970"/>
              <a:gd name="connsiteY45" fmla="*/ 3910915 h 5832485"/>
              <a:gd name="connsiteX46" fmla="*/ 3308356 w 5822970"/>
              <a:gd name="connsiteY46" fmla="*/ 1515095 h 5832485"/>
              <a:gd name="connsiteX47" fmla="*/ 3717182 w 5822970"/>
              <a:gd name="connsiteY47" fmla="*/ 1923179 h 5832485"/>
              <a:gd name="connsiteX48" fmla="*/ 623909 w 5822970"/>
              <a:gd name="connsiteY48" fmla="*/ 5425278 h 5832485"/>
              <a:gd name="connsiteX49" fmla="*/ 423578 w 5822970"/>
              <a:gd name="connsiteY49" fmla="*/ 5224946 h 5832485"/>
              <a:gd name="connsiteX50" fmla="*/ 767856 w 5822970"/>
              <a:gd name="connsiteY50" fmla="*/ 4183224 h 5832485"/>
              <a:gd name="connsiteX51" fmla="*/ 1216749 w 5822970"/>
              <a:gd name="connsiteY51" fmla="*/ 4632116 h 5832485"/>
              <a:gd name="connsiteX52" fmla="*/ 1216749 w 5822970"/>
              <a:gd name="connsiteY52" fmla="*/ 4632116 h 5832485"/>
              <a:gd name="connsiteX53" fmla="*/ 1216749 w 5822970"/>
              <a:gd name="connsiteY53" fmla="*/ 4632116 h 5832485"/>
              <a:gd name="connsiteX54" fmla="*/ 1665641 w 5822970"/>
              <a:gd name="connsiteY54" fmla="*/ 5081008 h 5832485"/>
              <a:gd name="connsiteX55" fmla="*/ 623909 w 5822970"/>
              <a:gd name="connsiteY55" fmla="*/ 5425278 h 5832485"/>
              <a:gd name="connsiteX56" fmla="*/ 4710674 w 5822970"/>
              <a:gd name="connsiteY56" fmla="*/ 2420301 h 5832485"/>
              <a:gd name="connsiteX57" fmla="*/ 4694347 w 5822970"/>
              <a:gd name="connsiteY57" fmla="*/ 2403974 h 5832485"/>
              <a:gd name="connsiteX58" fmla="*/ 3452294 w 5822970"/>
              <a:gd name="connsiteY58" fmla="*/ 1153757 h 5832485"/>
              <a:gd name="connsiteX59" fmla="*/ 3412227 w 5822970"/>
              <a:gd name="connsiteY59" fmla="*/ 1121854 h 5832485"/>
              <a:gd name="connsiteX60" fmla="*/ 3588819 w 5822970"/>
              <a:gd name="connsiteY60" fmla="*/ 937850 h 5832485"/>
              <a:gd name="connsiteX61" fmla="*/ 3605147 w 5822970"/>
              <a:gd name="connsiteY61" fmla="*/ 954178 h 5832485"/>
              <a:gd name="connsiteX62" fmla="*/ 3605147 w 5822970"/>
              <a:gd name="connsiteY62" fmla="*/ 954178 h 5832485"/>
              <a:gd name="connsiteX63" fmla="*/ 4863527 w 5822970"/>
              <a:gd name="connsiteY63" fmla="*/ 2212558 h 5832485"/>
              <a:gd name="connsiteX64" fmla="*/ 4887266 w 5822970"/>
              <a:gd name="connsiteY64" fmla="*/ 2228885 h 5832485"/>
              <a:gd name="connsiteX65" fmla="*/ 4710674 w 5822970"/>
              <a:gd name="connsiteY65" fmla="*/ 2420301 h 5832485"/>
              <a:gd name="connsiteX66" fmla="*/ 5471932 w 5822970"/>
              <a:gd name="connsiteY66" fmla="*/ 1410481 h 5832485"/>
              <a:gd name="connsiteX67" fmla="*/ 4967389 w 5822970"/>
              <a:gd name="connsiteY67" fmla="*/ 1915025 h 5832485"/>
              <a:gd name="connsiteX68" fmla="*/ 3917513 w 5822970"/>
              <a:gd name="connsiteY68" fmla="*/ 857718 h 5832485"/>
              <a:gd name="connsiteX69" fmla="*/ 4422056 w 5822970"/>
              <a:gd name="connsiteY69" fmla="*/ 353175 h 5832485"/>
              <a:gd name="connsiteX70" fmla="*/ 4694356 w 5822970"/>
              <a:gd name="connsiteY70" fmla="*/ 353175 h 5832485"/>
              <a:gd name="connsiteX71" fmla="*/ 5471942 w 5822970"/>
              <a:gd name="connsiteY71" fmla="*/ 1130018 h 5832485"/>
              <a:gd name="connsiteX72" fmla="*/ 5471932 w 5822970"/>
              <a:gd name="connsiteY72" fmla="*/ 1410481 h 5832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5822970" h="5832485">
                <a:moveTo>
                  <a:pt x="5680427" y="921523"/>
                </a:moveTo>
                <a:lnTo>
                  <a:pt x="4902841" y="143938"/>
                </a:lnTo>
                <a:cubicBezTo>
                  <a:pt x="4806391" y="47488"/>
                  <a:pt x="4686193" y="0"/>
                  <a:pt x="4558572" y="0"/>
                </a:cubicBezTo>
                <a:cubicBezTo>
                  <a:pt x="4430952" y="0"/>
                  <a:pt x="4301848" y="48230"/>
                  <a:pt x="4214294" y="143938"/>
                </a:cubicBezTo>
                <a:lnTo>
                  <a:pt x="3693433" y="664799"/>
                </a:lnTo>
                <a:cubicBezTo>
                  <a:pt x="3589562" y="632896"/>
                  <a:pt x="3469363" y="656635"/>
                  <a:pt x="3389231" y="728604"/>
                </a:cubicBezTo>
                <a:lnTo>
                  <a:pt x="3165160" y="952674"/>
                </a:lnTo>
                <a:cubicBezTo>
                  <a:pt x="3076864" y="1040970"/>
                  <a:pt x="3061289" y="1176744"/>
                  <a:pt x="3108767" y="1289531"/>
                </a:cubicBezTo>
                <a:lnTo>
                  <a:pt x="592007" y="3806301"/>
                </a:lnTo>
                <a:cubicBezTo>
                  <a:pt x="583843" y="3814464"/>
                  <a:pt x="575679" y="3822628"/>
                  <a:pt x="575679" y="3830040"/>
                </a:cubicBezTo>
                <a:cubicBezTo>
                  <a:pt x="575679" y="3830040"/>
                  <a:pt x="575679" y="3830040"/>
                  <a:pt x="575679" y="3838204"/>
                </a:cubicBezTo>
                <a:cubicBezTo>
                  <a:pt x="567516" y="3846367"/>
                  <a:pt x="567516" y="3854531"/>
                  <a:pt x="559352" y="3861943"/>
                </a:cubicBezTo>
                <a:lnTo>
                  <a:pt x="559352" y="3861943"/>
                </a:lnTo>
                <a:lnTo>
                  <a:pt x="111212" y="5224946"/>
                </a:lnTo>
                <a:lnTo>
                  <a:pt x="111212" y="5224946"/>
                </a:lnTo>
                <a:lnTo>
                  <a:pt x="62982" y="5368884"/>
                </a:lnTo>
                <a:lnTo>
                  <a:pt x="14752" y="5512822"/>
                </a:lnTo>
                <a:cubicBezTo>
                  <a:pt x="14752" y="5520985"/>
                  <a:pt x="14752" y="5529149"/>
                  <a:pt x="6589" y="5529149"/>
                </a:cubicBezTo>
                <a:cubicBezTo>
                  <a:pt x="-9739" y="5609281"/>
                  <a:pt x="6589" y="5673087"/>
                  <a:pt x="30328" y="5713153"/>
                </a:cubicBezTo>
                <a:cubicBezTo>
                  <a:pt x="38491" y="5729480"/>
                  <a:pt x="46655" y="5745055"/>
                  <a:pt x="54067" y="5753219"/>
                </a:cubicBezTo>
                <a:cubicBezTo>
                  <a:pt x="102297" y="5809612"/>
                  <a:pt x="174265" y="5841515"/>
                  <a:pt x="254398" y="5841515"/>
                </a:cubicBezTo>
                <a:lnTo>
                  <a:pt x="254398" y="5841515"/>
                </a:lnTo>
                <a:cubicBezTo>
                  <a:pt x="262562" y="5841515"/>
                  <a:pt x="270725" y="5841515"/>
                  <a:pt x="278137" y="5841515"/>
                </a:cubicBezTo>
                <a:cubicBezTo>
                  <a:pt x="294464" y="5841515"/>
                  <a:pt x="301876" y="5841515"/>
                  <a:pt x="310040" y="5841515"/>
                </a:cubicBezTo>
                <a:lnTo>
                  <a:pt x="310040" y="5841515"/>
                </a:lnTo>
                <a:lnTo>
                  <a:pt x="310040" y="5841515"/>
                </a:lnTo>
                <a:cubicBezTo>
                  <a:pt x="318203" y="5841515"/>
                  <a:pt x="326367" y="5841515"/>
                  <a:pt x="326367" y="5833351"/>
                </a:cubicBezTo>
                <a:lnTo>
                  <a:pt x="526698" y="5769546"/>
                </a:lnTo>
                <a:lnTo>
                  <a:pt x="1969082" y="5296915"/>
                </a:lnTo>
                <a:lnTo>
                  <a:pt x="1969082" y="5296915"/>
                </a:lnTo>
                <a:cubicBezTo>
                  <a:pt x="1992821" y="5288752"/>
                  <a:pt x="2009148" y="5280588"/>
                  <a:pt x="2025475" y="5265012"/>
                </a:cubicBezTo>
                <a:lnTo>
                  <a:pt x="4549657" y="2740831"/>
                </a:lnTo>
                <a:cubicBezTo>
                  <a:pt x="4581560" y="2757158"/>
                  <a:pt x="4613463" y="2757158"/>
                  <a:pt x="4653529" y="2757158"/>
                </a:cubicBezTo>
                <a:cubicBezTo>
                  <a:pt x="4733661" y="2757158"/>
                  <a:pt x="4805630" y="2725255"/>
                  <a:pt x="4862024" y="2668862"/>
                </a:cubicBezTo>
                <a:lnTo>
                  <a:pt x="5086094" y="2444792"/>
                </a:lnTo>
                <a:cubicBezTo>
                  <a:pt x="5174390" y="2356495"/>
                  <a:pt x="5189965" y="2236297"/>
                  <a:pt x="5149899" y="2132425"/>
                </a:cubicBezTo>
                <a:lnTo>
                  <a:pt x="5670760" y="1611564"/>
                </a:lnTo>
                <a:cubicBezTo>
                  <a:pt x="5872594" y="1426809"/>
                  <a:pt x="5872594" y="1113691"/>
                  <a:pt x="5680427" y="921523"/>
                </a:cubicBezTo>
                <a:close/>
                <a:moveTo>
                  <a:pt x="1937941" y="4944482"/>
                </a:moveTo>
                <a:lnTo>
                  <a:pt x="1529857" y="4535657"/>
                </a:lnTo>
                <a:lnTo>
                  <a:pt x="3925676" y="2131674"/>
                </a:lnTo>
                <a:lnTo>
                  <a:pt x="4334502" y="2540499"/>
                </a:lnTo>
                <a:lnTo>
                  <a:pt x="1937941" y="4944482"/>
                </a:lnTo>
                <a:close/>
                <a:moveTo>
                  <a:pt x="3717182" y="1923179"/>
                </a:moveTo>
                <a:lnTo>
                  <a:pt x="1321362" y="4327162"/>
                </a:lnTo>
                <a:lnTo>
                  <a:pt x="912536" y="3910915"/>
                </a:lnTo>
                <a:lnTo>
                  <a:pt x="3308356" y="1515095"/>
                </a:lnTo>
                <a:lnTo>
                  <a:pt x="3717182" y="1923179"/>
                </a:lnTo>
                <a:close/>
                <a:moveTo>
                  <a:pt x="623909" y="5425278"/>
                </a:moveTo>
                <a:lnTo>
                  <a:pt x="423578" y="5224946"/>
                </a:lnTo>
                <a:lnTo>
                  <a:pt x="767856" y="4183224"/>
                </a:lnTo>
                <a:lnTo>
                  <a:pt x="1216749" y="4632116"/>
                </a:lnTo>
                <a:lnTo>
                  <a:pt x="1216749" y="4632116"/>
                </a:lnTo>
                <a:lnTo>
                  <a:pt x="1216749" y="4632116"/>
                </a:lnTo>
                <a:lnTo>
                  <a:pt x="1665641" y="5081008"/>
                </a:lnTo>
                <a:lnTo>
                  <a:pt x="623909" y="5425278"/>
                </a:lnTo>
                <a:close/>
                <a:moveTo>
                  <a:pt x="4710674" y="2420301"/>
                </a:moveTo>
                <a:cubicBezTo>
                  <a:pt x="4702510" y="2412137"/>
                  <a:pt x="4702510" y="2403974"/>
                  <a:pt x="4694347" y="2403974"/>
                </a:cubicBezTo>
                <a:lnTo>
                  <a:pt x="3452294" y="1153757"/>
                </a:lnTo>
                <a:cubicBezTo>
                  <a:pt x="3435966" y="1137430"/>
                  <a:pt x="3428555" y="1130018"/>
                  <a:pt x="3412227" y="1121854"/>
                </a:cubicBezTo>
                <a:lnTo>
                  <a:pt x="3588819" y="937850"/>
                </a:lnTo>
                <a:lnTo>
                  <a:pt x="3605147" y="954178"/>
                </a:lnTo>
                <a:lnTo>
                  <a:pt x="3605147" y="954178"/>
                </a:lnTo>
                <a:lnTo>
                  <a:pt x="4863527" y="2212558"/>
                </a:lnTo>
                <a:cubicBezTo>
                  <a:pt x="4871691" y="2220721"/>
                  <a:pt x="4879854" y="2228885"/>
                  <a:pt x="4887266" y="2228885"/>
                </a:cubicBezTo>
                <a:lnTo>
                  <a:pt x="4710674" y="2420301"/>
                </a:lnTo>
                <a:close/>
                <a:moveTo>
                  <a:pt x="5471932" y="1410481"/>
                </a:moveTo>
                <a:lnTo>
                  <a:pt x="4967389" y="1915025"/>
                </a:lnTo>
                <a:lnTo>
                  <a:pt x="3917513" y="857718"/>
                </a:lnTo>
                <a:lnTo>
                  <a:pt x="4422056" y="353175"/>
                </a:lnTo>
                <a:cubicBezTo>
                  <a:pt x="4494025" y="281206"/>
                  <a:pt x="4622387" y="281206"/>
                  <a:pt x="4694356" y="353175"/>
                </a:cubicBezTo>
                <a:lnTo>
                  <a:pt x="5471942" y="1130018"/>
                </a:lnTo>
                <a:cubicBezTo>
                  <a:pt x="5543901" y="1210150"/>
                  <a:pt x="5543901" y="1330349"/>
                  <a:pt x="5471932" y="1410481"/>
                </a:cubicBez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4" name="Forma libre 358">
            <a:extLst>
              <a:ext uri="{FF2B5EF4-FFF2-40B4-BE49-F238E27FC236}">
                <a16:creationId xmlns:a16="http://schemas.microsoft.com/office/drawing/2014/main" xmlns="" id="{8158D925-0D4C-B94E-B782-14619CB30EF2}"/>
              </a:ext>
            </a:extLst>
          </p:cNvPr>
          <p:cNvSpPr/>
          <p:nvPr/>
        </p:nvSpPr>
        <p:spPr>
          <a:xfrm>
            <a:off x="3541322" y="4017543"/>
            <a:ext cx="301831" cy="299858"/>
          </a:xfrm>
          <a:custGeom>
            <a:avLst/>
            <a:gdLst>
              <a:gd name="connsiteX0" fmla="*/ 5741975 w 5829300"/>
              <a:gd name="connsiteY0" fmla="*/ 1712986 h 5791200"/>
              <a:gd name="connsiteX1" fmla="*/ 4116572 w 5829300"/>
              <a:gd name="connsiteY1" fmla="*/ 87582 h 5791200"/>
              <a:gd name="connsiteX2" fmla="*/ 3686595 w 5829300"/>
              <a:gd name="connsiteY2" fmla="*/ 87582 h 5791200"/>
              <a:gd name="connsiteX3" fmla="*/ 3424019 w 5829300"/>
              <a:gd name="connsiteY3" fmla="*/ 350158 h 5791200"/>
              <a:gd name="connsiteX4" fmla="*/ 3424019 w 5829300"/>
              <a:gd name="connsiteY4" fmla="*/ 780136 h 5791200"/>
              <a:gd name="connsiteX5" fmla="*/ 3460471 w 5829300"/>
              <a:gd name="connsiteY5" fmla="*/ 816588 h 5791200"/>
              <a:gd name="connsiteX6" fmla="*/ 1841821 w 5829300"/>
              <a:gd name="connsiteY6" fmla="*/ 2012013 h 5791200"/>
              <a:gd name="connsiteX7" fmla="*/ 1586675 w 5829300"/>
              <a:gd name="connsiteY7" fmla="*/ 1756867 h 5791200"/>
              <a:gd name="connsiteX8" fmla="*/ 1097976 w 5829300"/>
              <a:gd name="connsiteY8" fmla="*/ 1756867 h 5791200"/>
              <a:gd name="connsiteX9" fmla="*/ 843497 w 5829300"/>
              <a:gd name="connsiteY9" fmla="*/ 2012013 h 5791200"/>
              <a:gd name="connsiteX10" fmla="*/ 741570 w 5829300"/>
              <a:gd name="connsiteY10" fmla="*/ 2252310 h 5791200"/>
              <a:gd name="connsiteX11" fmla="*/ 843497 w 5829300"/>
              <a:gd name="connsiteY11" fmla="*/ 2492607 h 5791200"/>
              <a:gd name="connsiteX12" fmla="*/ 1739894 w 5829300"/>
              <a:gd name="connsiteY12" fmla="*/ 3389005 h 5791200"/>
              <a:gd name="connsiteX13" fmla="*/ 208998 w 5829300"/>
              <a:gd name="connsiteY13" fmla="*/ 4920587 h 5791200"/>
              <a:gd name="connsiteX14" fmla="*/ 172546 w 5829300"/>
              <a:gd name="connsiteY14" fmla="*/ 4978632 h 5791200"/>
              <a:gd name="connsiteX15" fmla="*/ 11897 w 5829300"/>
              <a:gd name="connsiteY15" fmla="*/ 5496364 h 5791200"/>
              <a:gd name="connsiteX16" fmla="*/ 40920 w 5829300"/>
              <a:gd name="connsiteY16" fmla="*/ 5715067 h 5791200"/>
              <a:gd name="connsiteX17" fmla="*/ 208322 w 5829300"/>
              <a:gd name="connsiteY17" fmla="*/ 5795391 h 5791200"/>
              <a:gd name="connsiteX18" fmla="*/ 325098 w 5829300"/>
              <a:gd name="connsiteY18" fmla="*/ 5773789 h 5791200"/>
              <a:gd name="connsiteX19" fmla="*/ 813798 w 5829300"/>
              <a:gd name="connsiteY19" fmla="*/ 5620560 h 5791200"/>
              <a:gd name="connsiteX20" fmla="*/ 871843 w 5829300"/>
              <a:gd name="connsiteY20" fmla="*/ 5584108 h 5791200"/>
              <a:gd name="connsiteX21" fmla="*/ 2402739 w 5829300"/>
              <a:gd name="connsiteY21" fmla="*/ 4053211 h 5791200"/>
              <a:gd name="connsiteX22" fmla="*/ 3336265 w 5829300"/>
              <a:gd name="connsiteY22" fmla="*/ 4986738 h 5791200"/>
              <a:gd name="connsiteX23" fmla="*/ 3576562 w 5829300"/>
              <a:gd name="connsiteY23" fmla="*/ 5088665 h 5791200"/>
              <a:gd name="connsiteX24" fmla="*/ 3816859 w 5829300"/>
              <a:gd name="connsiteY24" fmla="*/ 4986738 h 5791200"/>
              <a:gd name="connsiteX25" fmla="*/ 4072005 w 5829300"/>
              <a:gd name="connsiteY25" fmla="*/ 4731592 h 5791200"/>
              <a:gd name="connsiteX26" fmla="*/ 4173932 w 5829300"/>
              <a:gd name="connsiteY26" fmla="*/ 4491295 h 5791200"/>
              <a:gd name="connsiteX27" fmla="*/ 4072005 w 5829300"/>
              <a:gd name="connsiteY27" fmla="*/ 4250998 h 5791200"/>
              <a:gd name="connsiteX28" fmla="*/ 3816859 w 5829300"/>
              <a:gd name="connsiteY28" fmla="*/ 3995852 h 5791200"/>
              <a:gd name="connsiteX29" fmla="*/ 5012284 w 5829300"/>
              <a:gd name="connsiteY29" fmla="*/ 2377202 h 5791200"/>
              <a:gd name="connsiteX30" fmla="*/ 5041307 w 5829300"/>
              <a:gd name="connsiteY30" fmla="*/ 2406225 h 5791200"/>
              <a:gd name="connsiteX31" fmla="*/ 5260011 w 5829300"/>
              <a:gd name="connsiteY31" fmla="*/ 2493978 h 5791200"/>
              <a:gd name="connsiteX32" fmla="*/ 5478714 w 5829300"/>
              <a:gd name="connsiteY32" fmla="*/ 2406225 h 5791200"/>
              <a:gd name="connsiteX33" fmla="*/ 5741290 w 5829300"/>
              <a:gd name="connsiteY33" fmla="*/ 2143649 h 5791200"/>
              <a:gd name="connsiteX34" fmla="*/ 5741975 w 5829300"/>
              <a:gd name="connsiteY34" fmla="*/ 1712986 h 5791200"/>
              <a:gd name="connsiteX35" fmla="*/ 208998 w 5829300"/>
              <a:gd name="connsiteY35" fmla="*/ 5657012 h 5791200"/>
              <a:gd name="connsiteX36" fmla="*/ 208998 w 5829300"/>
              <a:gd name="connsiteY36" fmla="*/ 5526062 h 5791200"/>
              <a:gd name="connsiteX37" fmla="*/ 208998 w 5829300"/>
              <a:gd name="connsiteY37" fmla="*/ 5526062 h 5791200"/>
              <a:gd name="connsiteX38" fmla="*/ 208998 w 5829300"/>
              <a:gd name="connsiteY38" fmla="*/ 5657012 h 5791200"/>
              <a:gd name="connsiteX39" fmla="*/ 704451 w 5829300"/>
              <a:gd name="connsiteY39" fmla="*/ 5372834 h 5791200"/>
              <a:gd name="connsiteX40" fmla="*/ 296752 w 5829300"/>
              <a:gd name="connsiteY40" fmla="*/ 5503784 h 5791200"/>
              <a:gd name="connsiteX41" fmla="*/ 427702 w 5829300"/>
              <a:gd name="connsiteY41" fmla="*/ 5095408 h 5791200"/>
              <a:gd name="connsiteX42" fmla="*/ 1937005 w 5829300"/>
              <a:gd name="connsiteY42" fmla="*/ 3586782 h 5791200"/>
              <a:gd name="connsiteX43" fmla="*/ 2213754 w 5829300"/>
              <a:gd name="connsiteY43" fmla="*/ 3863531 h 5791200"/>
              <a:gd name="connsiteX44" fmla="*/ 704451 w 5829300"/>
              <a:gd name="connsiteY44" fmla="*/ 5372834 h 5791200"/>
              <a:gd name="connsiteX45" fmla="*/ 3905298 w 5829300"/>
              <a:gd name="connsiteY45" fmla="*/ 4490609 h 5791200"/>
              <a:gd name="connsiteX46" fmla="*/ 3883696 w 5829300"/>
              <a:gd name="connsiteY46" fmla="*/ 4541911 h 5791200"/>
              <a:gd name="connsiteX47" fmla="*/ 3635970 w 5829300"/>
              <a:gd name="connsiteY47" fmla="*/ 4789637 h 5791200"/>
              <a:gd name="connsiteX48" fmla="*/ 3534043 w 5829300"/>
              <a:gd name="connsiteY48" fmla="*/ 4789637 h 5791200"/>
              <a:gd name="connsiteX49" fmla="*/ 1039921 w 5829300"/>
              <a:gd name="connsiteY49" fmla="*/ 2303612 h 5791200"/>
              <a:gd name="connsiteX50" fmla="*/ 1018318 w 5829300"/>
              <a:gd name="connsiteY50" fmla="*/ 2252310 h 5791200"/>
              <a:gd name="connsiteX51" fmla="*/ 1039921 w 5829300"/>
              <a:gd name="connsiteY51" fmla="*/ 2201009 h 5791200"/>
              <a:gd name="connsiteX52" fmla="*/ 1295067 w 5829300"/>
              <a:gd name="connsiteY52" fmla="*/ 1945862 h 5791200"/>
              <a:gd name="connsiteX53" fmla="*/ 1346369 w 5829300"/>
              <a:gd name="connsiteY53" fmla="*/ 1924260 h 5791200"/>
              <a:gd name="connsiteX54" fmla="*/ 1397671 w 5829300"/>
              <a:gd name="connsiteY54" fmla="*/ 1945862 h 5791200"/>
              <a:gd name="connsiteX55" fmla="*/ 3883696 w 5829300"/>
              <a:gd name="connsiteY55" fmla="*/ 4431888 h 5791200"/>
              <a:gd name="connsiteX56" fmla="*/ 3905298 w 5829300"/>
              <a:gd name="connsiteY56" fmla="*/ 4490609 h 5791200"/>
              <a:gd name="connsiteX57" fmla="*/ 3627873 w 5829300"/>
              <a:gd name="connsiteY57" fmla="*/ 3798056 h 5791200"/>
              <a:gd name="connsiteX58" fmla="*/ 2031493 w 5829300"/>
              <a:gd name="connsiteY58" fmla="*/ 2201685 h 5791200"/>
              <a:gd name="connsiteX59" fmla="*/ 3650143 w 5829300"/>
              <a:gd name="connsiteY59" fmla="*/ 1006259 h 5791200"/>
              <a:gd name="connsiteX60" fmla="*/ 4823966 w 5829300"/>
              <a:gd name="connsiteY60" fmla="*/ 2180082 h 5791200"/>
              <a:gd name="connsiteX61" fmla="*/ 3627873 w 5829300"/>
              <a:gd name="connsiteY61" fmla="*/ 3798056 h 5791200"/>
              <a:gd name="connsiteX62" fmla="*/ 5552295 w 5829300"/>
              <a:gd name="connsiteY62" fmla="*/ 1961388 h 5791200"/>
              <a:gd name="connsiteX63" fmla="*/ 5289719 w 5829300"/>
              <a:gd name="connsiteY63" fmla="*/ 2223964 h 5791200"/>
              <a:gd name="connsiteX64" fmla="*/ 5238418 w 5829300"/>
              <a:gd name="connsiteY64" fmla="*/ 2223964 h 5791200"/>
              <a:gd name="connsiteX65" fmla="*/ 5092619 w 5829300"/>
              <a:gd name="connsiteY65" fmla="*/ 2078165 h 5791200"/>
              <a:gd name="connsiteX66" fmla="*/ 5092619 w 5829300"/>
              <a:gd name="connsiteY66" fmla="*/ 2078165 h 5791200"/>
              <a:gd name="connsiteX67" fmla="*/ 3759499 w 5829300"/>
              <a:gd name="connsiteY67" fmla="*/ 736263 h 5791200"/>
              <a:gd name="connsiteX68" fmla="*/ 3759499 w 5829300"/>
              <a:gd name="connsiteY68" fmla="*/ 736263 h 5791200"/>
              <a:gd name="connsiteX69" fmla="*/ 3613700 w 5829300"/>
              <a:gd name="connsiteY69" fmla="*/ 590464 h 5791200"/>
              <a:gd name="connsiteX70" fmla="*/ 3613700 w 5829300"/>
              <a:gd name="connsiteY70" fmla="*/ 539163 h 5791200"/>
              <a:gd name="connsiteX71" fmla="*/ 3868846 w 5829300"/>
              <a:gd name="connsiteY71" fmla="*/ 276587 h 5791200"/>
              <a:gd name="connsiteX72" fmla="*/ 3897869 w 5829300"/>
              <a:gd name="connsiteY72" fmla="*/ 269157 h 5791200"/>
              <a:gd name="connsiteX73" fmla="*/ 3926892 w 5829300"/>
              <a:gd name="connsiteY73" fmla="*/ 276587 h 5791200"/>
              <a:gd name="connsiteX74" fmla="*/ 5552295 w 5829300"/>
              <a:gd name="connsiteY74" fmla="*/ 1901990 h 5791200"/>
              <a:gd name="connsiteX75" fmla="*/ 5552295 w 5829300"/>
              <a:gd name="connsiteY75" fmla="*/ 1961388 h 57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829300" h="5791200">
                <a:moveTo>
                  <a:pt x="5741975" y="1712986"/>
                </a:moveTo>
                <a:lnTo>
                  <a:pt x="4116572" y="87582"/>
                </a:lnTo>
                <a:cubicBezTo>
                  <a:pt x="3999796" y="-29194"/>
                  <a:pt x="3803371" y="-29194"/>
                  <a:pt x="3686595" y="87582"/>
                </a:cubicBezTo>
                <a:lnTo>
                  <a:pt x="3424019" y="350158"/>
                </a:lnTo>
                <a:cubicBezTo>
                  <a:pt x="3307243" y="466935"/>
                  <a:pt x="3307243" y="663359"/>
                  <a:pt x="3424019" y="780136"/>
                </a:cubicBezTo>
                <a:lnTo>
                  <a:pt x="3460471" y="816588"/>
                </a:lnTo>
                <a:lnTo>
                  <a:pt x="1841821" y="2012013"/>
                </a:lnTo>
                <a:lnTo>
                  <a:pt x="1586675" y="1756867"/>
                </a:lnTo>
                <a:cubicBezTo>
                  <a:pt x="1455725" y="1625918"/>
                  <a:pt x="1229602" y="1625918"/>
                  <a:pt x="1097976" y="1756867"/>
                </a:cubicBezTo>
                <a:lnTo>
                  <a:pt x="843497" y="2012013"/>
                </a:lnTo>
                <a:cubicBezTo>
                  <a:pt x="778022" y="2077488"/>
                  <a:pt x="741570" y="2165242"/>
                  <a:pt x="741570" y="2252310"/>
                </a:cubicBezTo>
                <a:cubicBezTo>
                  <a:pt x="741570" y="2346808"/>
                  <a:pt x="778022" y="2427132"/>
                  <a:pt x="843497" y="2492607"/>
                </a:cubicBezTo>
                <a:lnTo>
                  <a:pt x="1739894" y="3389005"/>
                </a:lnTo>
                <a:lnTo>
                  <a:pt x="208998" y="4920587"/>
                </a:lnTo>
                <a:cubicBezTo>
                  <a:pt x="194149" y="4935436"/>
                  <a:pt x="179976" y="4957039"/>
                  <a:pt x="172546" y="4978632"/>
                </a:cubicBezTo>
                <a:lnTo>
                  <a:pt x="11897" y="5496364"/>
                </a:lnTo>
                <a:cubicBezTo>
                  <a:pt x="-9705" y="5584117"/>
                  <a:pt x="-2952" y="5663765"/>
                  <a:pt x="40920" y="5715067"/>
                </a:cubicBezTo>
                <a:cubicBezTo>
                  <a:pt x="62523" y="5744090"/>
                  <a:pt x="113824" y="5795391"/>
                  <a:pt x="208322" y="5795391"/>
                </a:cubicBezTo>
                <a:cubicBezTo>
                  <a:pt x="244774" y="5795391"/>
                  <a:pt x="281226" y="5787962"/>
                  <a:pt x="325098" y="5773789"/>
                </a:cubicBezTo>
                <a:lnTo>
                  <a:pt x="813798" y="5620560"/>
                </a:lnTo>
                <a:cubicBezTo>
                  <a:pt x="835400" y="5613130"/>
                  <a:pt x="850250" y="5605710"/>
                  <a:pt x="871843" y="5584108"/>
                </a:cubicBezTo>
                <a:lnTo>
                  <a:pt x="2402739" y="4053211"/>
                </a:lnTo>
                <a:lnTo>
                  <a:pt x="3336265" y="4986738"/>
                </a:lnTo>
                <a:cubicBezTo>
                  <a:pt x="3401740" y="5052213"/>
                  <a:pt x="3489494" y="5088665"/>
                  <a:pt x="3576562" y="5088665"/>
                </a:cubicBezTo>
                <a:cubicBezTo>
                  <a:pt x="3671060" y="5088665"/>
                  <a:pt x="3751384" y="5052213"/>
                  <a:pt x="3816859" y="4986738"/>
                </a:cubicBezTo>
                <a:lnTo>
                  <a:pt x="4072005" y="4731592"/>
                </a:lnTo>
                <a:cubicBezTo>
                  <a:pt x="4137480" y="4666117"/>
                  <a:pt x="4173932" y="4578363"/>
                  <a:pt x="4173932" y="4491295"/>
                </a:cubicBezTo>
                <a:cubicBezTo>
                  <a:pt x="4173932" y="4396797"/>
                  <a:pt x="4137480" y="4316473"/>
                  <a:pt x="4072005" y="4250998"/>
                </a:cubicBezTo>
                <a:lnTo>
                  <a:pt x="3816859" y="3995852"/>
                </a:lnTo>
                <a:lnTo>
                  <a:pt x="5012284" y="2377202"/>
                </a:lnTo>
                <a:lnTo>
                  <a:pt x="5041307" y="2406225"/>
                </a:lnTo>
                <a:cubicBezTo>
                  <a:pt x="5099352" y="2464270"/>
                  <a:pt x="5172257" y="2493978"/>
                  <a:pt x="5260011" y="2493978"/>
                </a:cubicBezTo>
                <a:cubicBezTo>
                  <a:pt x="5340335" y="2493978"/>
                  <a:pt x="5420660" y="2464956"/>
                  <a:pt x="5478714" y="2406225"/>
                </a:cubicBezTo>
                <a:lnTo>
                  <a:pt x="5741290" y="2143649"/>
                </a:lnTo>
                <a:cubicBezTo>
                  <a:pt x="5858743" y="2026863"/>
                  <a:pt x="5858743" y="1837182"/>
                  <a:pt x="5741975" y="1712986"/>
                </a:cubicBezTo>
                <a:close/>
                <a:moveTo>
                  <a:pt x="208998" y="5657012"/>
                </a:moveTo>
                <a:lnTo>
                  <a:pt x="208998" y="5526062"/>
                </a:lnTo>
                <a:lnTo>
                  <a:pt x="208998" y="5526062"/>
                </a:lnTo>
                <a:lnTo>
                  <a:pt x="208998" y="5657012"/>
                </a:lnTo>
                <a:close/>
                <a:moveTo>
                  <a:pt x="704451" y="5372834"/>
                </a:moveTo>
                <a:lnTo>
                  <a:pt x="296752" y="5503784"/>
                </a:lnTo>
                <a:lnTo>
                  <a:pt x="427702" y="5095408"/>
                </a:lnTo>
                <a:lnTo>
                  <a:pt x="1937005" y="3586782"/>
                </a:lnTo>
                <a:lnTo>
                  <a:pt x="2213754" y="3863531"/>
                </a:lnTo>
                <a:lnTo>
                  <a:pt x="704451" y="5372834"/>
                </a:lnTo>
                <a:close/>
                <a:moveTo>
                  <a:pt x="3905298" y="4490609"/>
                </a:moveTo>
                <a:cubicBezTo>
                  <a:pt x="3905298" y="4512212"/>
                  <a:pt x="3897869" y="4527061"/>
                  <a:pt x="3883696" y="4541911"/>
                </a:cubicBezTo>
                <a:lnTo>
                  <a:pt x="3635970" y="4789637"/>
                </a:lnTo>
                <a:cubicBezTo>
                  <a:pt x="3606947" y="4818660"/>
                  <a:pt x="3555645" y="4818660"/>
                  <a:pt x="3534043" y="4789637"/>
                </a:cubicBezTo>
                <a:lnTo>
                  <a:pt x="1039921" y="2303612"/>
                </a:lnTo>
                <a:cubicBezTo>
                  <a:pt x="1025072" y="2288762"/>
                  <a:pt x="1018318" y="2274589"/>
                  <a:pt x="1018318" y="2252310"/>
                </a:cubicBezTo>
                <a:cubicBezTo>
                  <a:pt x="1018318" y="2230031"/>
                  <a:pt x="1025748" y="2215858"/>
                  <a:pt x="1039921" y="2201009"/>
                </a:cubicBezTo>
                <a:lnTo>
                  <a:pt x="1295067" y="1945862"/>
                </a:lnTo>
                <a:cubicBezTo>
                  <a:pt x="1309917" y="1931013"/>
                  <a:pt x="1324090" y="1924260"/>
                  <a:pt x="1346369" y="1924260"/>
                </a:cubicBezTo>
                <a:cubicBezTo>
                  <a:pt x="1367972" y="1924260"/>
                  <a:pt x="1382821" y="1931689"/>
                  <a:pt x="1397671" y="1945862"/>
                </a:cubicBezTo>
                <a:lnTo>
                  <a:pt x="3883696" y="4431888"/>
                </a:lnTo>
                <a:cubicBezTo>
                  <a:pt x="3897869" y="4446737"/>
                  <a:pt x="3905298" y="4469007"/>
                  <a:pt x="3905298" y="4490609"/>
                </a:cubicBezTo>
                <a:close/>
                <a:moveTo>
                  <a:pt x="3627873" y="3798056"/>
                </a:moveTo>
                <a:lnTo>
                  <a:pt x="2031493" y="2201685"/>
                </a:lnTo>
                <a:lnTo>
                  <a:pt x="3650143" y="1006259"/>
                </a:lnTo>
                <a:lnTo>
                  <a:pt x="4823966" y="2180082"/>
                </a:lnTo>
                <a:lnTo>
                  <a:pt x="3627873" y="3798056"/>
                </a:lnTo>
                <a:close/>
                <a:moveTo>
                  <a:pt x="5552295" y="1961388"/>
                </a:moveTo>
                <a:lnTo>
                  <a:pt x="5289719" y="2223964"/>
                </a:lnTo>
                <a:cubicBezTo>
                  <a:pt x="5274870" y="2238813"/>
                  <a:pt x="5253267" y="2238813"/>
                  <a:pt x="5238418" y="2223964"/>
                </a:cubicBezTo>
                <a:lnTo>
                  <a:pt x="5092619" y="2078165"/>
                </a:lnTo>
                <a:lnTo>
                  <a:pt x="5092619" y="2078165"/>
                </a:lnTo>
                <a:lnTo>
                  <a:pt x="3759499" y="736263"/>
                </a:lnTo>
                <a:lnTo>
                  <a:pt x="3759499" y="736263"/>
                </a:lnTo>
                <a:lnTo>
                  <a:pt x="3613700" y="590464"/>
                </a:lnTo>
                <a:cubicBezTo>
                  <a:pt x="3598851" y="575615"/>
                  <a:pt x="3598851" y="554012"/>
                  <a:pt x="3613700" y="539163"/>
                </a:cubicBezTo>
                <a:lnTo>
                  <a:pt x="3868846" y="276587"/>
                </a:lnTo>
                <a:cubicBezTo>
                  <a:pt x="3883696" y="269157"/>
                  <a:pt x="3890449" y="269157"/>
                  <a:pt x="3897869" y="269157"/>
                </a:cubicBezTo>
                <a:cubicBezTo>
                  <a:pt x="3905289" y="269157"/>
                  <a:pt x="3912718" y="269157"/>
                  <a:pt x="3926892" y="276587"/>
                </a:cubicBezTo>
                <a:lnTo>
                  <a:pt x="5552295" y="1901990"/>
                </a:lnTo>
                <a:cubicBezTo>
                  <a:pt x="5567144" y="1924936"/>
                  <a:pt x="5567144" y="1946539"/>
                  <a:pt x="5552295" y="196138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5" name="Forma libre 360">
            <a:extLst>
              <a:ext uri="{FF2B5EF4-FFF2-40B4-BE49-F238E27FC236}">
                <a16:creationId xmlns:a16="http://schemas.microsoft.com/office/drawing/2014/main" xmlns="" id="{22797F96-FE54-D44A-ACF7-D29EDCD6F9C4}"/>
              </a:ext>
            </a:extLst>
          </p:cNvPr>
          <p:cNvSpPr/>
          <p:nvPr/>
        </p:nvSpPr>
        <p:spPr>
          <a:xfrm>
            <a:off x="8012886" y="4018346"/>
            <a:ext cx="301831" cy="237717"/>
          </a:xfrm>
          <a:custGeom>
            <a:avLst/>
            <a:gdLst>
              <a:gd name="connsiteX0" fmla="*/ 2930333 w 5829300"/>
              <a:gd name="connsiteY0" fmla="*/ 2880646 h 4591050"/>
              <a:gd name="connsiteX1" fmla="*/ 2072274 w 5829300"/>
              <a:gd name="connsiteY1" fmla="*/ 3738706 h 4591050"/>
              <a:gd name="connsiteX2" fmla="*/ 2930333 w 5829300"/>
              <a:gd name="connsiteY2" fmla="*/ 4596766 h 4591050"/>
              <a:gd name="connsiteX3" fmla="*/ 3788393 w 5829300"/>
              <a:gd name="connsiteY3" fmla="*/ 3738706 h 4591050"/>
              <a:gd name="connsiteX4" fmla="*/ 2930333 w 5829300"/>
              <a:gd name="connsiteY4" fmla="*/ 2880646 h 4591050"/>
              <a:gd name="connsiteX5" fmla="*/ 2930333 w 5829300"/>
              <a:gd name="connsiteY5" fmla="*/ 4328037 h 4591050"/>
              <a:gd name="connsiteX6" fmla="*/ 2341003 w 5829300"/>
              <a:gd name="connsiteY6" fmla="*/ 3738706 h 4591050"/>
              <a:gd name="connsiteX7" fmla="*/ 2930333 w 5829300"/>
              <a:gd name="connsiteY7" fmla="*/ 3149375 h 4591050"/>
              <a:gd name="connsiteX8" fmla="*/ 3519664 w 5829300"/>
              <a:gd name="connsiteY8" fmla="*/ 3738706 h 4591050"/>
              <a:gd name="connsiteX9" fmla="*/ 2930333 w 5829300"/>
              <a:gd name="connsiteY9" fmla="*/ 4328037 h 4591050"/>
              <a:gd name="connsiteX10" fmla="*/ 4595942 w 5829300"/>
              <a:gd name="connsiteY10" fmla="*/ 2909602 h 4591050"/>
              <a:gd name="connsiteX11" fmla="*/ 4538020 w 5829300"/>
              <a:gd name="connsiteY11" fmla="*/ 3091453 h 4591050"/>
              <a:gd name="connsiteX12" fmla="*/ 4356169 w 5829300"/>
              <a:gd name="connsiteY12" fmla="*/ 3033532 h 4591050"/>
              <a:gd name="connsiteX13" fmla="*/ 2930333 w 5829300"/>
              <a:gd name="connsiteY13" fmla="*/ 2145830 h 4591050"/>
              <a:gd name="connsiteX14" fmla="*/ 1490353 w 5829300"/>
              <a:gd name="connsiteY14" fmla="*/ 3062488 h 4591050"/>
              <a:gd name="connsiteX15" fmla="*/ 1366424 w 5829300"/>
              <a:gd name="connsiteY15" fmla="*/ 3142640 h 4591050"/>
              <a:gd name="connsiteX16" fmla="*/ 1308502 w 5829300"/>
              <a:gd name="connsiteY16" fmla="*/ 3127820 h 4591050"/>
              <a:gd name="connsiteX17" fmla="*/ 1243170 w 5829300"/>
              <a:gd name="connsiteY17" fmla="*/ 2945968 h 4591050"/>
              <a:gd name="connsiteX18" fmla="*/ 2931010 w 5829300"/>
              <a:gd name="connsiteY18" fmla="*/ 1876425 h 4591050"/>
              <a:gd name="connsiteX19" fmla="*/ 4595942 w 5829300"/>
              <a:gd name="connsiteY19" fmla="*/ 2909602 h 4591050"/>
              <a:gd name="connsiteX20" fmla="*/ 5236460 w 5829300"/>
              <a:gd name="connsiteY20" fmla="*/ 2102053 h 4591050"/>
              <a:gd name="connsiteX21" fmla="*/ 5207495 w 5829300"/>
              <a:gd name="connsiteY21" fmla="*/ 2291315 h 4591050"/>
              <a:gd name="connsiteX22" fmla="*/ 5018233 w 5829300"/>
              <a:gd name="connsiteY22" fmla="*/ 2262349 h 4591050"/>
              <a:gd name="connsiteX23" fmla="*/ 2930324 w 5829300"/>
              <a:gd name="connsiteY23" fmla="*/ 1178662 h 4591050"/>
              <a:gd name="connsiteX24" fmla="*/ 835681 w 5829300"/>
              <a:gd name="connsiteY24" fmla="*/ 2269760 h 4591050"/>
              <a:gd name="connsiteX25" fmla="*/ 726572 w 5829300"/>
              <a:gd name="connsiteY25" fmla="*/ 2327682 h 4591050"/>
              <a:gd name="connsiteX26" fmla="*/ 646419 w 5829300"/>
              <a:gd name="connsiteY26" fmla="*/ 2306126 h 4591050"/>
              <a:gd name="connsiteX27" fmla="*/ 610053 w 5829300"/>
              <a:gd name="connsiteY27" fmla="*/ 2116865 h 4591050"/>
              <a:gd name="connsiteX28" fmla="*/ 2930324 w 5829300"/>
              <a:gd name="connsiteY28" fmla="*/ 909247 h 4591050"/>
              <a:gd name="connsiteX29" fmla="*/ 5236460 w 5829300"/>
              <a:gd name="connsiteY29" fmla="*/ 2102053 h 4591050"/>
              <a:gd name="connsiteX30" fmla="*/ 5782004 w 5829300"/>
              <a:gd name="connsiteY30" fmla="*/ 1534954 h 4591050"/>
              <a:gd name="connsiteX31" fmla="*/ 5592743 w 5829300"/>
              <a:gd name="connsiteY31" fmla="*/ 1520133 h 4591050"/>
              <a:gd name="connsiteX32" fmla="*/ 2922914 w 5829300"/>
              <a:gd name="connsiteY32" fmla="*/ 268738 h 4591050"/>
              <a:gd name="connsiteX33" fmla="*/ 238940 w 5829300"/>
              <a:gd name="connsiteY33" fmla="*/ 1534278 h 4591050"/>
              <a:gd name="connsiteX34" fmla="*/ 137241 w 5829300"/>
              <a:gd name="connsiteY34" fmla="*/ 1585465 h 4591050"/>
              <a:gd name="connsiteX35" fmla="*/ 49688 w 5829300"/>
              <a:gd name="connsiteY35" fmla="*/ 1556499 h 4591050"/>
              <a:gd name="connsiteX36" fmla="*/ 28133 w 5829300"/>
              <a:gd name="connsiteY36" fmla="*/ 1367238 h 4591050"/>
              <a:gd name="connsiteX37" fmla="*/ 2916189 w 5829300"/>
              <a:gd name="connsiteY37" fmla="*/ 0 h 4591050"/>
              <a:gd name="connsiteX38" fmla="*/ 5789415 w 5829300"/>
              <a:gd name="connsiteY38" fmla="*/ 1345692 h 4591050"/>
              <a:gd name="connsiteX39" fmla="*/ 5782004 w 5829300"/>
              <a:gd name="connsiteY39" fmla="*/ 1534954 h 459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29300" h="4591050">
                <a:moveTo>
                  <a:pt x="2930333" y="2880646"/>
                </a:moveTo>
                <a:cubicBezTo>
                  <a:pt x="2457522" y="2880646"/>
                  <a:pt x="2072274" y="3265894"/>
                  <a:pt x="2072274" y="3738706"/>
                </a:cubicBezTo>
                <a:cubicBezTo>
                  <a:pt x="2072274" y="4211517"/>
                  <a:pt x="2457522" y="4596766"/>
                  <a:pt x="2930333" y="4596766"/>
                </a:cubicBezTo>
                <a:cubicBezTo>
                  <a:pt x="3403145" y="4596766"/>
                  <a:pt x="3788393" y="4211517"/>
                  <a:pt x="3788393" y="3738706"/>
                </a:cubicBezTo>
                <a:cubicBezTo>
                  <a:pt x="3788393" y="3265894"/>
                  <a:pt x="3403135" y="2880646"/>
                  <a:pt x="2930333" y="2880646"/>
                </a:cubicBezTo>
                <a:close/>
                <a:moveTo>
                  <a:pt x="2930333" y="4328037"/>
                </a:moveTo>
                <a:cubicBezTo>
                  <a:pt x="2603007" y="4328037"/>
                  <a:pt x="2341003" y="4066042"/>
                  <a:pt x="2341003" y="3738706"/>
                </a:cubicBezTo>
                <a:cubicBezTo>
                  <a:pt x="2341003" y="3411369"/>
                  <a:pt x="2602997" y="3149375"/>
                  <a:pt x="2930333" y="3149375"/>
                </a:cubicBezTo>
                <a:cubicBezTo>
                  <a:pt x="3257670" y="3149375"/>
                  <a:pt x="3519664" y="3411369"/>
                  <a:pt x="3519664" y="3738706"/>
                </a:cubicBezTo>
                <a:cubicBezTo>
                  <a:pt x="3519664" y="4066042"/>
                  <a:pt x="3250250" y="4328037"/>
                  <a:pt x="2930333" y="4328037"/>
                </a:cubicBezTo>
                <a:close/>
                <a:moveTo>
                  <a:pt x="4595942" y="2909602"/>
                </a:moveTo>
                <a:cubicBezTo>
                  <a:pt x="4632308" y="2974934"/>
                  <a:pt x="4603352" y="3055077"/>
                  <a:pt x="4538020" y="3091453"/>
                </a:cubicBezTo>
                <a:cubicBezTo>
                  <a:pt x="4472688" y="3127829"/>
                  <a:pt x="4392545" y="3098864"/>
                  <a:pt x="4356169" y="3033532"/>
                </a:cubicBezTo>
                <a:cubicBezTo>
                  <a:pt x="4086764" y="2487978"/>
                  <a:pt x="3541210" y="2145830"/>
                  <a:pt x="2930333" y="2145830"/>
                </a:cubicBezTo>
                <a:cubicBezTo>
                  <a:pt x="2312047" y="2145830"/>
                  <a:pt x="1744938" y="2502122"/>
                  <a:pt x="1490353" y="3062488"/>
                </a:cubicBezTo>
                <a:cubicBezTo>
                  <a:pt x="1468798" y="3113675"/>
                  <a:pt x="1417611" y="3142640"/>
                  <a:pt x="1366424" y="3142640"/>
                </a:cubicBezTo>
                <a:cubicBezTo>
                  <a:pt x="1344869" y="3142640"/>
                  <a:pt x="1330057" y="3135230"/>
                  <a:pt x="1308502" y="3127820"/>
                </a:cubicBezTo>
                <a:cubicBezTo>
                  <a:pt x="1243170" y="3098854"/>
                  <a:pt x="1214214" y="3018711"/>
                  <a:pt x="1243170" y="2945968"/>
                </a:cubicBezTo>
                <a:cubicBezTo>
                  <a:pt x="1548951" y="2291306"/>
                  <a:pt x="2210339" y="1876425"/>
                  <a:pt x="2931010" y="1876425"/>
                </a:cubicBezTo>
                <a:cubicBezTo>
                  <a:pt x="3643585" y="1876425"/>
                  <a:pt x="4283427" y="2269760"/>
                  <a:pt x="4595942" y="2909602"/>
                </a:cubicBezTo>
                <a:close/>
                <a:moveTo>
                  <a:pt x="5236460" y="2102053"/>
                </a:moveTo>
                <a:cubicBezTo>
                  <a:pt x="5280237" y="2159975"/>
                  <a:pt x="5265425" y="2247529"/>
                  <a:pt x="5207495" y="2291315"/>
                </a:cubicBezTo>
                <a:cubicBezTo>
                  <a:pt x="5149563" y="2335101"/>
                  <a:pt x="5062019" y="2320281"/>
                  <a:pt x="5018233" y="2262349"/>
                </a:cubicBezTo>
                <a:cubicBezTo>
                  <a:pt x="4538011" y="1586141"/>
                  <a:pt x="3760104" y="1178662"/>
                  <a:pt x="2930324" y="1178662"/>
                </a:cubicBezTo>
                <a:cubicBezTo>
                  <a:pt x="2093810" y="1178662"/>
                  <a:pt x="1308493" y="1586141"/>
                  <a:pt x="835681" y="2269760"/>
                </a:cubicBezTo>
                <a:cubicBezTo>
                  <a:pt x="806716" y="2306126"/>
                  <a:pt x="770349" y="2327682"/>
                  <a:pt x="726572" y="2327682"/>
                </a:cubicBezTo>
                <a:cubicBezTo>
                  <a:pt x="697607" y="2327682"/>
                  <a:pt x="675385" y="2320271"/>
                  <a:pt x="646419" y="2306126"/>
                </a:cubicBezTo>
                <a:cubicBezTo>
                  <a:pt x="588498" y="2262349"/>
                  <a:pt x="573677" y="2182197"/>
                  <a:pt x="610053" y="2116865"/>
                </a:cubicBezTo>
                <a:cubicBezTo>
                  <a:pt x="1140786" y="1360503"/>
                  <a:pt x="2006932" y="909247"/>
                  <a:pt x="2930324" y="909247"/>
                </a:cubicBezTo>
                <a:cubicBezTo>
                  <a:pt x="3839581" y="909257"/>
                  <a:pt x="4705051" y="1360513"/>
                  <a:pt x="5236460" y="2102053"/>
                </a:cubicBezTo>
                <a:close/>
                <a:moveTo>
                  <a:pt x="5782004" y="1534954"/>
                </a:moveTo>
                <a:cubicBezTo>
                  <a:pt x="5724083" y="1586141"/>
                  <a:pt x="5636529" y="1571320"/>
                  <a:pt x="5592743" y="1520133"/>
                </a:cubicBezTo>
                <a:cubicBezTo>
                  <a:pt x="4930670" y="727405"/>
                  <a:pt x="3956090" y="268738"/>
                  <a:pt x="2922914" y="268738"/>
                </a:cubicBezTo>
                <a:cubicBezTo>
                  <a:pt x="1883003" y="268738"/>
                  <a:pt x="901013" y="734139"/>
                  <a:pt x="238940" y="1534278"/>
                </a:cubicBezTo>
                <a:cubicBezTo>
                  <a:pt x="209974" y="1563243"/>
                  <a:pt x="173608" y="1585465"/>
                  <a:pt x="137241" y="1585465"/>
                </a:cubicBezTo>
                <a:cubicBezTo>
                  <a:pt x="108276" y="1585465"/>
                  <a:pt x="79320" y="1578055"/>
                  <a:pt x="49688" y="1556499"/>
                </a:cubicBezTo>
                <a:cubicBezTo>
                  <a:pt x="-8234" y="1512722"/>
                  <a:pt x="-15644" y="1425835"/>
                  <a:pt x="28133" y="1367238"/>
                </a:cubicBezTo>
                <a:cubicBezTo>
                  <a:pt x="740726" y="501777"/>
                  <a:pt x="1795449" y="0"/>
                  <a:pt x="2916189" y="0"/>
                </a:cubicBezTo>
                <a:cubicBezTo>
                  <a:pt x="4028842" y="0"/>
                  <a:pt x="5076840" y="487623"/>
                  <a:pt x="5789415" y="1345692"/>
                </a:cubicBezTo>
                <a:cubicBezTo>
                  <a:pt x="5847336" y="1403614"/>
                  <a:pt x="5839926" y="1491177"/>
                  <a:pt x="5782004" y="153495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6" name="Forma libre 362">
            <a:extLst>
              <a:ext uri="{FF2B5EF4-FFF2-40B4-BE49-F238E27FC236}">
                <a16:creationId xmlns:a16="http://schemas.microsoft.com/office/drawing/2014/main" xmlns="" id="{1FFB1E5B-277A-BF4B-990D-872CEE59B244}"/>
              </a:ext>
            </a:extLst>
          </p:cNvPr>
          <p:cNvSpPr/>
          <p:nvPr/>
        </p:nvSpPr>
        <p:spPr>
          <a:xfrm>
            <a:off x="7246906" y="3443451"/>
            <a:ext cx="301338" cy="234757"/>
          </a:xfrm>
          <a:custGeom>
            <a:avLst/>
            <a:gdLst>
              <a:gd name="connsiteX0" fmla="*/ 5812586 w 5819775"/>
              <a:gd name="connsiteY0" fmla="*/ 4347143 h 4533900"/>
              <a:gd name="connsiteX1" fmla="*/ 5426957 w 5819775"/>
              <a:gd name="connsiteY1" fmla="*/ 3723247 h 4533900"/>
              <a:gd name="connsiteX2" fmla="*/ 5419813 w 5819775"/>
              <a:gd name="connsiteY2" fmla="*/ 3716103 h 4533900"/>
              <a:gd name="connsiteX3" fmla="*/ 5447731 w 5819775"/>
              <a:gd name="connsiteY3" fmla="*/ 3590154 h 4533900"/>
              <a:gd name="connsiteX4" fmla="*/ 5447731 w 5819775"/>
              <a:gd name="connsiteY4" fmla="*/ 329803 h 4533900"/>
              <a:gd name="connsiteX5" fmla="*/ 5117928 w 5819775"/>
              <a:gd name="connsiteY5" fmla="*/ 0 h 4533900"/>
              <a:gd name="connsiteX6" fmla="*/ 714949 w 5819775"/>
              <a:gd name="connsiteY6" fmla="*/ 0 h 4533900"/>
              <a:gd name="connsiteX7" fmla="*/ 385146 w 5819775"/>
              <a:gd name="connsiteY7" fmla="*/ 329803 h 4533900"/>
              <a:gd name="connsiteX8" fmla="*/ 385146 w 5819775"/>
              <a:gd name="connsiteY8" fmla="*/ 3590163 h 4533900"/>
              <a:gd name="connsiteX9" fmla="*/ 413064 w 5819775"/>
              <a:gd name="connsiteY9" fmla="*/ 3716112 h 4533900"/>
              <a:gd name="connsiteX10" fmla="*/ 405920 w 5819775"/>
              <a:gd name="connsiteY10" fmla="*/ 3723256 h 4533900"/>
              <a:gd name="connsiteX11" fmla="*/ 20938 w 5819775"/>
              <a:gd name="connsiteY11" fmla="*/ 4347143 h 4533900"/>
              <a:gd name="connsiteX12" fmla="*/ 20938 w 5819775"/>
              <a:gd name="connsiteY12" fmla="*/ 4480237 h 4533900"/>
              <a:gd name="connsiteX13" fmla="*/ 133257 w 5819775"/>
              <a:gd name="connsiteY13" fmla="*/ 4543206 h 4533900"/>
              <a:gd name="connsiteX14" fmla="*/ 5707411 w 5819775"/>
              <a:gd name="connsiteY14" fmla="*/ 4543206 h 4533900"/>
              <a:gd name="connsiteX15" fmla="*/ 5819730 w 5819775"/>
              <a:gd name="connsiteY15" fmla="*/ 4480237 h 4533900"/>
              <a:gd name="connsiteX16" fmla="*/ 5812586 w 5819775"/>
              <a:gd name="connsiteY16" fmla="*/ 4347143 h 4533900"/>
              <a:gd name="connsiteX17" fmla="*/ 644835 w 5819775"/>
              <a:gd name="connsiteY17" fmla="*/ 3590163 h 4533900"/>
              <a:gd name="connsiteX18" fmla="*/ 644835 w 5819775"/>
              <a:gd name="connsiteY18" fmla="*/ 3351905 h 4533900"/>
              <a:gd name="connsiteX19" fmla="*/ 5188042 w 5819775"/>
              <a:gd name="connsiteY19" fmla="*/ 3351905 h 4533900"/>
              <a:gd name="connsiteX20" fmla="*/ 5188042 w 5819775"/>
              <a:gd name="connsiteY20" fmla="*/ 3590163 h 4533900"/>
              <a:gd name="connsiteX21" fmla="*/ 5117928 w 5819775"/>
              <a:gd name="connsiteY21" fmla="*/ 3660277 h 4533900"/>
              <a:gd name="connsiteX22" fmla="*/ 714949 w 5819775"/>
              <a:gd name="connsiteY22" fmla="*/ 3660277 h 4533900"/>
              <a:gd name="connsiteX23" fmla="*/ 644835 w 5819775"/>
              <a:gd name="connsiteY23" fmla="*/ 3590163 h 4533900"/>
              <a:gd name="connsiteX24" fmla="*/ 651979 w 5819775"/>
              <a:gd name="connsiteY24" fmla="*/ 3092215 h 4533900"/>
              <a:gd name="connsiteX25" fmla="*/ 651979 w 5819775"/>
              <a:gd name="connsiteY25" fmla="*/ 813464 h 4533900"/>
              <a:gd name="connsiteX26" fmla="*/ 5181555 w 5819775"/>
              <a:gd name="connsiteY26" fmla="*/ 813464 h 4533900"/>
              <a:gd name="connsiteX27" fmla="*/ 5181555 w 5819775"/>
              <a:gd name="connsiteY27" fmla="*/ 3092206 h 4533900"/>
              <a:gd name="connsiteX28" fmla="*/ 651979 w 5819775"/>
              <a:gd name="connsiteY28" fmla="*/ 3092206 h 4533900"/>
              <a:gd name="connsiteX29" fmla="*/ 714949 w 5819775"/>
              <a:gd name="connsiteY29" fmla="*/ 259690 h 4533900"/>
              <a:gd name="connsiteX30" fmla="*/ 5117928 w 5819775"/>
              <a:gd name="connsiteY30" fmla="*/ 259690 h 4533900"/>
              <a:gd name="connsiteX31" fmla="*/ 5188042 w 5819775"/>
              <a:gd name="connsiteY31" fmla="*/ 329803 h 4533900"/>
              <a:gd name="connsiteX32" fmla="*/ 5188042 w 5819775"/>
              <a:gd name="connsiteY32" fmla="*/ 554431 h 4533900"/>
              <a:gd name="connsiteX33" fmla="*/ 644835 w 5819775"/>
              <a:gd name="connsiteY33" fmla="*/ 554431 h 4533900"/>
              <a:gd name="connsiteX34" fmla="*/ 644835 w 5819775"/>
              <a:gd name="connsiteY34" fmla="*/ 329803 h 4533900"/>
              <a:gd name="connsiteX35" fmla="*/ 714949 w 5819775"/>
              <a:gd name="connsiteY35" fmla="*/ 259690 h 4533900"/>
              <a:gd name="connsiteX36" fmla="*/ 357885 w 5819775"/>
              <a:gd name="connsiteY36" fmla="*/ 4284174 h 4533900"/>
              <a:gd name="connsiteX37" fmla="*/ 582513 w 5819775"/>
              <a:gd name="connsiteY37" fmla="*/ 3919319 h 4533900"/>
              <a:gd name="connsiteX38" fmla="*/ 708462 w 5819775"/>
              <a:gd name="connsiteY38" fmla="*/ 3919319 h 4533900"/>
              <a:gd name="connsiteX39" fmla="*/ 5111441 w 5819775"/>
              <a:gd name="connsiteY39" fmla="*/ 3919319 h 4533900"/>
              <a:gd name="connsiteX40" fmla="*/ 5237391 w 5819775"/>
              <a:gd name="connsiteY40" fmla="*/ 3919319 h 4533900"/>
              <a:gd name="connsiteX41" fmla="*/ 5462019 w 5819775"/>
              <a:gd name="connsiteY41" fmla="*/ 4284174 h 4533900"/>
              <a:gd name="connsiteX42" fmla="*/ 357885 w 5819775"/>
              <a:gd name="connsiteY42" fmla="*/ 4284174 h 453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819775" h="4533900">
                <a:moveTo>
                  <a:pt x="5812586" y="4347143"/>
                </a:moveTo>
                <a:lnTo>
                  <a:pt x="5426957" y="3723247"/>
                </a:lnTo>
                <a:lnTo>
                  <a:pt x="5419813" y="3716103"/>
                </a:lnTo>
                <a:cubicBezTo>
                  <a:pt x="5434091" y="3681041"/>
                  <a:pt x="5447731" y="3638845"/>
                  <a:pt x="5447731" y="3590154"/>
                </a:cubicBezTo>
                <a:lnTo>
                  <a:pt x="5447731" y="329803"/>
                </a:lnTo>
                <a:cubicBezTo>
                  <a:pt x="5447731" y="147371"/>
                  <a:pt x="5300360" y="0"/>
                  <a:pt x="5117928" y="0"/>
                </a:cubicBezTo>
                <a:lnTo>
                  <a:pt x="714949" y="0"/>
                </a:lnTo>
                <a:cubicBezTo>
                  <a:pt x="532517" y="0"/>
                  <a:pt x="385146" y="147371"/>
                  <a:pt x="385146" y="329803"/>
                </a:cubicBezTo>
                <a:lnTo>
                  <a:pt x="385146" y="3590163"/>
                </a:lnTo>
                <a:cubicBezTo>
                  <a:pt x="385146" y="3632359"/>
                  <a:pt x="392290" y="3674564"/>
                  <a:pt x="413064" y="3716112"/>
                </a:cubicBezTo>
                <a:lnTo>
                  <a:pt x="405920" y="3723256"/>
                </a:lnTo>
                <a:lnTo>
                  <a:pt x="20938" y="4347143"/>
                </a:lnTo>
                <a:cubicBezTo>
                  <a:pt x="-6979" y="4389339"/>
                  <a:pt x="-6979" y="4438031"/>
                  <a:pt x="20938" y="4480237"/>
                </a:cubicBezTo>
                <a:cubicBezTo>
                  <a:pt x="41712" y="4522432"/>
                  <a:pt x="83908" y="4543206"/>
                  <a:pt x="133257" y="4543206"/>
                </a:cubicBezTo>
                <a:lnTo>
                  <a:pt x="5707411" y="4543206"/>
                </a:lnTo>
                <a:cubicBezTo>
                  <a:pt x="5756751" y="4543206"/>
                  <a:pt x="5798299" y="4515288"/>
                  <a:pt x="5819730" y="4480237"/>
                </a:cubicBezTo>
                <a:cubicBezTo>
                  <a:pt x="5833361" y="4438679"/>
                  <a:pt x="5833361" y="4389339"/>
                  <a:pt x="5812586" y="4347143"/>
                </a:cubicBezTo>
                <a:close/>
                <a:moveTo>
                  <a:pt x="644835" y="3590163"/>
                </a:moveTo>
                <a:lnTo>
                  <a:pt x="644835" y="3351905"/>
                </a:lnTo>
                <a:lnTo>
                  <a:pt x="5188042" y="3351905"/>
                </a:lnTo>
                <a:lnTo>
                  <a:pt x="5188042" y="3590163"/>
                </a:lnTo>
                <a:cubicBezTo>
                  <a:pt x="5188042" y="3625225"/>
                  <a:pt x="5160124" y="3660277"/>
                  <a:pt x="5117928" y="3660277"/>
                </a:cubicBezTo>
                <a:lnTo>
                  <a:pt x="714949" y="3660277"/>
                </a:lnTo>
                <a:cubicBezTo>
                  <a:pt x="673401" y="3660277"/>
                  <a:pt x="644835" y="3632359"/>
                  <a:pt x="644835" y="3590163"/>
                </a:cubicBezTo>
                <a:close/>
                <a:moveTo>
                  <a:pt x="651979" y="3092215"/>
                </a:moveTo>
                <a:lnTo>
                  <a:pt x="651979" y="813464"/>
                </a:lnTo>
                <a:lnTo>
                  <a:pt x="5181555" y="813464"/>
                </a:lnTo>
                <a:lnTo>
                  <a:pt x="5181555" y="3092206"/>
                </a:lnTo>
                <a:lnTo>
                  <a:pt x="651979" y="3092206"/>
                </a:lnTo>
                <a:close/>
                <a:moveTo>
                  <a:pt x="714949" y="259690"/>
                </a:moveTo>
                <a:lnTo>
                  <a:pt x="5117928" y="259690"/>
                </a:lnTo>
                <a:cubicBezTo>
                  <a:pt x="5152989" y="259690"/>
                  <a:pt x="5188042" y="287607"/>
                  <a:pt x="5188042" y="329803"/>
                </a:cubicBezTo>
                <a:lnTo>
                  <a:pt x="5188042" y="554431"/>
                </a:lnTo>
                <a:lnTo>
                  <a:pt x="644835" y="554431"/>
                </a:lnTo>
                <a:lnTo>
                  <a:pt x="644835" y="329803"/>
                </a:lnTo>
                <a:cubicBezTo>
                  <a:pt x="644835" y="294742"/>
                  <a:pt x="673401" y="259690"/>
                  <a:pt x="714949" y="259690"/>
                </a:cubicBezTo>
                <a:close/>
                <a:moveTo>
                  <a:pt x="357885" y="4284174"/>
                </a:moveTo>
                <a:lnTo>
                  <a:pt x="582513" y="3919319"/>
                </a:lnTo>
                <a:lnTo>
                  <a:pt x="708462" y="3919319"/>
                </a:lnTo>
                <a:lnTo>
                  <a:pt x="5111441" y="3919319"/>
                </a:lnTo>
                <a:lnTo>
                  <a:pt x="5237391" y="3919319"/>
                </a:lnTo>
                <a:lnTo>
                  <a:pt x="5462019" y="4284174"/>
                </a:lnTo>
                <a:lnTo>
                  <a:pt x="357885" y="4284174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7" name="Forma libre 364">
            <a:extLst>
              <a:ext uri="{FF2B5EF4-FFF2-40B4-BE49-F238E27FC236}">
                <a16:creationId xmlns:a16="http://schemas.microsoft.com/office/drawing/2014/main" xmlns="" id="{4241E8FC-CECF-A841-8D45-317D7C133220}"/>
              </a:ext>
            </a:extLst>
          </p:cNvPr>
          <p:cNvSpPr/>
          <p:nvPr/>
        </p:nvSpPr>
        <p:spPr>
          <a:xfrm>
            <a:off x="2762870" y="4688912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12 h 5829300"/>
              <a:gd name="connsiteX2" fmla="*/ 2915002 w 5829300"/>
              <a:gd name="connsiteY2" fmla="*/ 5830015 h 5829300"/>
              <a:gd name="connsiteX3" fmla="*/ 5830005 w 5829300"/>
              <a:gd name="connsiteY3" fmla="*/ 2915012 h 5829300"/>
              <a:gd name="connsiteX4" fmla="*/ 2915002 w 5829300"/>
              <a:gd name="connsiteY4" fmla="*/ 0 h 5829300"/>
              <a:gd name="connsiteX5" fmla="*/ 2915002 w 5829300"/>
              <a:gd name="connsiteY5" fmla="*/ 5546703 h 5829300"/>
              <a:gd name="connsiteX6" fmla="*/ 282597 w 5829300"/>
              <a:gd name="connsiteY6" fmla="*/ 2914298 h 5829300"/>
              <a:gd name="connsiteX7" fmla="*/ 2915002 w 5829300"/>
              <a:gd name="connsiteY7" fmla="*/ 281892 h 5829300"/>
              <a:gd name="connsiteX8" fmla="*/ 5547408 w 5829300"/>
              <a:gd name="connsiteY8" fmla="*/ 2914298 h 5829300"/>
              <a:gd name="connsiteX9" fmla="*/ 2915002 w 5829300"/>
              <a:gd name="connsiteY9" fmla="*/ 5546703 h 5829300"/>
              <a:gd name="connsiteX10" fmla="*/ 4402884 w 5829300"/>
              <a:gd name="connsiteY10" fmla="*/ 2914298 h 5829300"/>
              <a:gd name="connsiteX11" fmla="*/ 4265819 w 5829300"/>
              <a:gd name="connsiteY11" fmla="*/ 3051362 h 5829300"/>
              <a:gd name="connsiteX12" fmla="*/ 2029768 w 5829300"/>
              <a:gd name="connsiteY12" fmla="*/ 3051362 h 5829300"/>
              <a:gd name="connsiteX13" fmla="*/ 2823162 w 5829300"/>
              <a:gd name="connsiteY13" fmla="*/ 3844757 h 5829300"/>
              <a:gd name="connsiteX14" fmla="*/ 2823162 w 5829300"/>
              <a:gd name="connsiteY14" fmla="*/ 4043287 h 5829300"/>
              <a:gd name="connsiteX15" fmla="*/ 2724255 w 5829300"/>
              <a:gd name="connsiteY15" fmla="*/ 4081434 h 5829300"/>
              <a:gd name="connsiteX16" fmla="*/ 2625347 w 5829300"/>
              <a:gd name="connsiteY16" fmla="*/ 4043287 h 5829300"/>
              <a:gd name="connsiteX17" fmla="*/ 1587503 w 5829300"/>
              <a:gd name="connsiteY17" fmla="*/ 3013920 h 5829300"/>
              <a:gd name="connsiteX18" fmla="*/ 1571958 w 5829300"/>
              <a:gd name="connsiteY18" fmla="*/ 2991307 h 5829300"/>
              <a:gd name="connsiteX19" fmla="*/ 1564186 w 5829300"/>
              <a:gd name="connsiteY19" fmla="*/ 2983535 h 5829300"/>
              <a:gd name="connsiteX20" fmla="*/ 1556414 w 5829300"/>
              <a:gd name="connsiteY20" fmla="*/ 2967990 h 5829300"/>
              <a:gd name="connsiteX21" fmla="*/ 1548641 w 5829300"/>
              <a:gd name="connsiteY21" fmla="*/ 2952445 h 5829300"/>
              <a:gd name="connsiteX22" fmla="*/ 1548641 w 5829300"/>
              <a:gd name="connsiteY22" fmla="*/ 2936901 h 5829300"/>
              <a:gd name="connsiteX23" fmla="*/ 1548641 w 5829300"/>
              <a:gd name="connsiteY23" fmla="*/ 2883208 h 5829300"/>
              <a:gd name="connsiteX24" fmla="*/ 1548641 w 5829300"/>
              <a:gd name="connsiteY24" fmla="*/ 2867663 h 5829300"/>
              <a:gd name="connsiteX25" fmla="*/ 1556414 w 5829300"/>
              <a:gd name="connsiteY25" fmla="*/ 2852119 h 5829300"/>
              <a:gd name="connsiteX26" fmla="*/ 1564186 w 5829300"/>
              <a:gd name="connsiteY26" fmla="*/ 2836574 h 5829300"/>
              <a:gd name="connsiteX27" fmla="*/ 1571958 w 5829300"/>
              <a:gd name="connsiteY27" fmla="*/ 2828801 h 5829300"/>
              <a:gd name="connsiteX28" fmla="*/ 1587503 w 5829300"/>
              <a:gd name="connsiteY28" fmla="*/ 2806189 h 5829300"/>
              <a:gd name="connsiteX29" fmla="*/ 2633110 w 5829300"/>
              <a:gd name="connsiteY29" fmla="*/ 1760592 h 5829300"/>
              <a:gd name="connsiteX30" fmla="*/ 2831640 w 5829300"/>
              <a:gd name="connsiteY30" fmla="*/ 1760592 h 5829300"/>
              <a:gd name="connsiteX31" fmla="*/ 2831640 w 5829300"/>
              <a:gd name="connsiteY31" fmla="*/ 1959121 h 5829300"/>
              <a:gd name="connsiteX32" fmla="*/ 2029768 w 5829300"/>
              <a:gd name="connsiteY32" fmla="*/ 2769470 h 5829300"/>
              <a:gd name="connsiteX33" fmla="*/ 4265124 w 5829300"/>
              <a:gd name="connsiteY33" fmla="*/ 2769470 h 5829300"/>
              <a:gd name="connsiteX34" fmla="*/ 4402884 w 5829300"/>
              <a:gd name="connsiteY34" fmla="*/ 2914298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906"/>
                  <a:pt x="0" y="2915012"/>
                </a:cubicBezTo>
                <a:cubicBezTo>
                  <a:pt x="0" y="4525118"/>
                  <a:pt x="1312669" y="5830015"/>
                  <a:pt x="2915002" y="5830015"/>
                </a:cubicBezTo>
                <a:cubicBezTo>
                  <a:pt x="4517336" y="5830015"/>
                  <a:pt x="5830005" y="4525118"/>
                  <a:pt x="5830005" y="2915012"/>
                </a:cubicBezTo>
                <a:cubicBezTo>
                  <a:pt x="5837072" y="1304906"/>
                  <a:pt x="4525109" y="0"/>
                  <a:pt x="2915002" y="0"/>
                </a:cubicBezTo>
                <a:close/>
                <a:moveTo>
                  <a:pt x="2915002" y="5546703"/>
                </a:moveTo>
                <a:cubicBezTo>
                  <a:pt x="1465269" y="5546703"/>
                  <a:pt x="282597" y="4364031"/>
                  <a:pt x="282597" y="2914298"/>
                </a:cubicBezTo>
                <a:cubicBezTo>
                  <a:pt x="282597" y="1464564"/>
                  <a:pt x="1465269" y="281892"/>
                  <a:pt x="2915002" y="281892"/>
                </a:cubicBezTo>
                <a:cubicBezTo>
                  <a:pt x="4364736" y="281892"/>
                  <a:pt x="5547408" y="1464564"/>
                  <a:pt x="5547408" y="2914298"/>
                </a:cubicBezTo>
                <a:cubicBezTo>
                  <a:pt x="5547408" y="4364031"/>
                  <a:pt x="4372509" y="5546703"/>
                  <a:pt x="2915002" y="5546703"/>
                </a:cubicBezTo>
                <a:close/>
                <a:moveTo>
                  <a:pt x="4402884" y="2914298"/>
                </a:moveTo>
                <a:cubicBezTo>
                  <a:pt x="4402884" y="2990603"/>
                  <a:pt x="4342124" y="3051362"/>
                  <a:pt x="4265819" y="3051362"/>
                </a:cubicBezTo>
                <a:lnTo>
                  <a:pt x="2029768" y="3051362"/>
                </a:lnTo>
                <a:lnTo>
                  <a:pt x="2823162" y="3844757"/>
                </a:lnTo>
                <a:cubicBezTo>
                  <a:pt x="2876855" y="3898449"/>
                  <a:pt x="2876855" y="3989585"/>
                  <a:pt x="2823162" y="4043287"/>
                </a:cubicBezTo>
                <a:cubicBezTo>
                  <a:pt x="2792787" y="4073662"/>
                  <a:pt x="2762402" y="4081434"/>
                  <a:pt x="2724255" y="4081434"/>
                </a:cubicBezTo>
                <a:cubicBezTo>
                  <a:pt x="2686107" y="4081434"/>
                  <a:pt x="2655723" y="4065889"/>
                  <a:pt x="2625347" y="4043287"/>
                </a:cubicBezTo>
                <a:lnTo>
                  <a:pt x="1587503" y="3013920"/>
                </a:lnTo>
                <a:cubicBezTo>
                  <a:pt x="1579731" y="3006147"/>
                  <a:pt x="1571958" y="2998375"/>
                  <a:pt x="1571958" y="2991307"/>
                </a:cubicBezTo>
                <a:lnTo>
                  <a:pt x="1564186" y="2983535"/>
                </a:lnTo>
                <a:cubicBezTo>
                  <a:pt x="1564186" y="2975762"/>
                  <a:pt x="1556414" y="2975762"/>
                  <a:pt x="1556414" y="2967990"/>
                </a:cubicBezTo>
                <a:cubicBezTo>
                  <a:pt x="1556414" y="2960218"/>
                  <a:pt x="1556414" y="2960218"/>
                  <a:pt x="1548641" y="2952445"/>
                </a:cubicBezTo>
                <a:cubicBezTo>
                  <a:pt x="1548641" y="2944673"/>
                  <a:pt x="1548641" y="2944673"/>
                  <a:pt x="1548641" y="2936901"/>
                </a:cubicBezTo>
                <a:cubicBezTo>
                  <a:pt x="1548641" y="2921356"/>
                  <a:pt x="1548641" y="2898753"/>
                  <a:pt x="1548641" y="2883208"/>
                </a:cubicBezTo>
                <a:cubicBezTo>
                  <a:pt x="1548641" y="2875436"/>
                  <a:pt x="1548641" y="2875436"/>
                  <a:pt x="1548641" y="2867663"/>
                </a:cubicBezTo>
                <a:cubicBezTo>
                  <a:pt x="1548641" y="2859891"/>
                  <a:pt x="1548641" y="2859891"/>
                  <a:pt x="1556414" y="2852119"/>
                </a:cubicBezTo>
                <a:cubicBezTo>
                  <a:pt x="1556414" y="2844346"/>
                  <a:pt x="1564186" y="2844346"/>
                  <a:pt x="1564186" y="2836574"/>
                </a:cubicBezTo>
                <a:cubicBezTo>
                  <a:pt x="1564186" y="2836574"/>
                  <a:pt x="1564186" y="2828801"/>
                  <a:pt x="1571958" y="2828801"/>
                </a:cubicBezTo>
                <a:cubicBezTo>
                  <a:pt x="1579731" y="2821029"/>
                  <a:pt x="1579731" y="2813256"/>
                  <a:pt x="1587503" y="2806189"/>
                </a:cubicBezTo>
                <a:lnTo>
                  <a:pt x="2633110" y="1760592"/>
                </a:lnTo>
                <a:cubicBezTo>
                  <a:pt x="2686803" y="1706899"/>
                  <a:pt x="2777938" y="1706899"/>
                  <a:pt x="2831640" y="1760592"/>
                </a:cubicBezTo>
                <a:cubicBezTo>
                  <a:pt x="2885332" y="1814284"/>
                  <a:pt x="2885332" y="1905419"/>
                  <a:pt x="2831640" y="1959121"/>
                </a:cubicBezTo>
                <a:lnTo>
                  <a:pt x="2029768" y="2769470"/>
                </a:lnTo>
                <a:lnTo>
                  <a:pt x="4265124" y="2769470"/>
                </a:lnTo>
                <a:cubicBezTo>
                  <a:pt x="4341419" y="2769470"/>
                  <a:pt x="4402884" y="2838003"/>
                  <a:pt x="4402884" y="291429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8" name="Forma libre 366">
            <a:extLst>
              <a:ext uri="{FF2B5EF4-FFF2-40B4-BE49-F238E27FC236}">
                <a16:creationId xmlns:a16="http://schemas.microsoft.com/office/drawing/2014/main" xmlns="" id="{71786818-962A-AD40-AB41-FF0C891E9C54}"/>
              </a:ext>
            </a:extLst>
          </p:cNvPr>
          <p:cNvSpPr/>
          <p:nvPr/>
        </p:nvSpPr>
        <p:spPr>
          <a:xfrm>
            <a:off x="1274423" y="2767969"/>
            <a:ext cx="301831" cy="211578"/>
          </a:xfrm>
          <a:custGeom>
            <a:avLst/>
            <a:gdLst>
              <a:gd name="connsiteX0" fmla="*/ 2169795 w 5829300"/>
              <a:gd name="connsiteY0" fmla="*/ 0 h 4086225"/>
              <a:gd name="connsiteX1" fmla="*/ 1043492 w 5829300"/>
              <a:gd name="connsiteY1" fmla="*/ 0 h 4086225"/>
              <a:gd name="connsiteX2" fmla="*/ 662435 w 5829300"/>
              <a:gd name="connsiteY2" fmla="*/ 148742 h 4086225"/>
              <a:gd name="connsiteX3" fmla="*/ 148742 w 5829300"/>
              <a:gd name="connsiteY3" fmla="*/ 662435 h 4086225"/>
              <a:gd name="connsiteX4" fmla="*/ 0 w 5829300"/>
              <a:gd name="connsiteY4" fmla="*/ 1010526 h 4086225"/>
              <a:gd name="connsiteX5" fmla="*/ 0 w 5829300"/>
              <a:gd name="connsiteY5" fmla="*/ 2169785 h 4086225"/>
              <a:gd name="connsiteX6" fmla="*/ 24536 w 5829300"/>
              <a:gd name="connsiteY6" fmla="*/ 2302431 h 4086225"/>
              <a:gd name="connsiteX7" fmla="*/ 41405 w 5829300"/>
              <a:gd name="connsiteY7" fmla="*/ 2352266 h 4086225"/>
              <a:gd name="connsiteX8" fmla="*/ 49835 w 5829300"/>
              <a:gd name="connsiteY8" fmla="*/ 2360695 h 4086225"/>
              <a:gd name="connsiteX9" fmla="*/ 74371 w 5829300"/>
              <a:gd name="connsiteY9" fmla="*/ 2402100 h 4086225"/>
              <a:gd name="connsiteX10" fmla="*/ 852583 w 5829300"/>
              <a:gd name="connsiteY10" fmla="*/ 3884152 h 4086225"/>
              <a:gd name="connsiteX11" fmla="*/ 1225201 w 5829300"/>
              <a:gd name="connsiteY11" fmla="*/ 4091159 h 4086225"/>
              <a:gd name="connsiteX12" fmla="*/ 2243395 w 5829300"/>
              <a:gd name="connsiteY12" fmla="*/ 4091159 h 4086225"/>
              <a:gd name="connsiteX13" fmla="*/ 2251824 w 5829300"/>
              <a:gd name="connsiteY13" fmla="*/ 4091159 h 4086225"/>
              <a:gd name="connsiteX14" fmla="*/ 2475700 w 5829300"/>
              <a:gd name="connsiteY14" fmla="*/ 3975383 h 4086225"/>
              <a:gd name="connsiteX15" fmla="*/ 2458831 w 5829300"/>
              <a:gd name="connsiteY15" fmla="*/ 3726971 h 4086225"/>
              <a:gd name="connsiteX16" fmla="*/ 1804835 w 5829300"/>
              <a:gd name="connsiteY16" fmla="*/ 2633653 h 4086225"/>
              <a:gd name="connsiteX17" fmla="*/ 2169024 w 5829300"/>
              <a:gd name="connsiteY17" fmla="*/ 2633653 h 4086225"/>
              <a:gd name="connsiteX18" fmla="*/ 2624452 w 5829300"/>
              <a:gd name="connsiteY18" fmla="*/ 2178225 h 4086225"/>
              <a:gd name="connsiteX19" fmla="*/ 2624452 w 5829300"/>
              <a:gd name="connsiteY19" fmla="*/ 455428 h 4086225"/>
              <a:gd name="connsiteX20" fmla="*/ 2169795 w 5829300"/>
              <a:gd name="connsiteY20" fmla="*/ 0 h 4086225"/>
              <a:gd name="connsiteX21" fmla="*/ 2318538 w 5829300"/>
              <a:gd name="connsiteY21" fmla="*/ 2169785 h 4086225"/>
              <a:gd name="connsiteX22" fmla="*/ 2169795 w 5829300"/>
              <a:gd name="connsiteY22" fmla="*/ 2318528 h 4086225"/>
              <a:gd name="connsiteX23" fmla="*/ 1507360 w 5829300"/>
              <a:gd name="connsiteY23" fmla="*/ 2318528 h 4086225"/>
              <a:gd name="connsiteX24" fmla="*/ 1374715 w 5829300"/>
              <a:gd name="connsiteY24" fmla="*/ 2392899 h 4086225"/>
              <a:gd name="connsiteX25" fmla="*/ 1374715 w 5829300"/>
              <a:gd name="connsiteY25" fmla="*/ 2550071 h 4086225"/>
              <a:gd name="connsiteX26" fmla="*/ 2103092 w 5829300"/>
              <a:gd name="connsiteY26" fmla="*/ 3775272 h 4086225"/>
              <a:gd name="connsiteX27" fmla="*/ 1209104 w 5829300"/>
              <a:gd name="connsiteY27" fmla="*/ 3775272 h 4086225"/>
              <a:gd name="connsiteX28" fmla="*/ 1109434 w 5829300"/>
              <a:gd name="connsiteY28" fmla="*/ 3733867 h 4086225"/>
              <a:gd name="connsiteX29" fmla="*/ 323555 w 5829300"/>
              <a:gd name="connsiteY29" fmla="*/ 2244157 h 4086225"/>
              <a:gd name="connsiteX30" fmla="*/ 315125 w 5829300"/>
              <a:gd name="connsiteY30" fmla="*/ 2227288 h 4086225"/>
              <a:gd name="connsiteX31" fmla="*/ 315125 w 5829300"/>
              <a:gd name="connsiteY31" fmla="*/ 2227288 h 4086225"/>
              <a:gd name="connsiteX32" fmla="*/ 315125 w 5829300"/>
              <a:gd name="connsiteY32" fmla="*/ 2218858 h 4086225"/>
              <a:gd name="connsiteX33" fmla="*/ 306696 w 5829300"/>
              <a:gd name="connsiteY33" fmla="*/ 2169024 h 4086225"/>
              <a:gd name="connsiteX34" fmla="*/ 306696 w 5829300"/>
              <a:gd name="connsiteY34" fmla="*/ 1018956 h 4086225"/>
              <a:gd name="connsiteX35" fmla="*/ 364969 w 5829300"/>
              <a:gd name="connsiteY35" fmla="*/ 886311 h 4086225"/>
              <a:gd name="connsiteX36" fmla="*/ 878662 w 5829300"/>
              <a:gd name="connsiteY36" fmla="*/ 372618 h 4086225"/>
              <a:gd name="connsiteX37" fmla="*/ 1044273 w 5829300"/>
              <a:gd name="connsiteY37" fmla="*/ 306676 h 4086225"/>
              <a:gd name="connsiteX38" fmla="*/ 2170557 w 5829300"/>
              <a:gd name="connsiteY38" fmla="*/ 306676 h 4086225"/>
              <a:gd name="connsiteX39" fmla="*/ 2319300 w 5829300"/>
              <a:gd name="connsiteY39" fmla="*/ 455419 h 4086225"/>
              <a:gd name="connsiteX40" fmla="*/ 2319300 w 5829300"/>
              <a:gd name="connsiteY40" fmla="*/ 2169785 h 4086225"/>
              <a:gd name="connsiteX41" fmla="*/ 2318538 w 5829300"/>
              <a:gd name="connsiteY41" fmla="*/ 2169785 h 4086225"/>
              <a:gd name="connsiteX42" fmla="*/ 5374644 w 5829300"/>
              <a:gd name="connsiteY42" fmla="*/ 0 h 4086225"/>
              <a:gd name="connsiteX43" fmla="*/ 4248341 w 5829300"/>
              <a:gd name="connsiteY43" fmla="*/ 0 h 4086225"/>
              <a:gd name="connsiteX44" fmla="*/ 3867284 w 5829300"/>
              <a:gd name="connsiteY44" fmla="*/ 148742 h 4086225"/>
              <a:gd name="connsiteX45" fmla="*/ 3353591 w 5829300"/>
              <a:gd name="connsiteY45" fmla="*/ 662435 h 4086225"/>
              <a:gd name="connsiteX46" fmla="*/ 3204848 w 5829300"/>
              <a:gd name="connsiteY46" fmla="*/ 1010526 h 4086225"/>
              <a:gd name="connsiteX47" fmla="*/ 3204848 w 5829300"/>
              <a:gd name="connsiteY47" fmla="*/ 2169785 h 4086225"/>
              <a:gd name="connsiteX48" fmla="*/ 3229385 w 5829300"/>
              <a:gd name="connsiteY48" fmla="*/ 2302431 h 4086225"/>
              <a:gd name="connsiteX49" fmla="*/ 3246253 w 5829300"/>
              <a:gd name="connsiteY49" fmla="*/ 2343836 h 4086225"/>
              <a:gd name="connsiteX50" fmla="*/ 3254683 w 5829300"/>
              <a:gd name="connsiteY50" fmla="*/ 2352266 h 4086225"/>
              <a:gd name="connsiteX51" fmla="*/ 3279219 w 5829300"/>
              <a:gd name="connsiteY51" fmla="*/ 2393671 h 4086225"/>
              <a:gd name="connsiteX52" fmla="*/ 4057431 w 5829300"/>
              <a:gd name="connsiteY52" fmla="*/ 3875723 h 4086225"/>
              <a:gd name="connsiteX53" fmla="*/ 4430049 w 5829300"/>
              <a:gd name="connsiteY53" fmla="*/ 4082739 h 4086225"/>
              <a:gd name="connsiteX54" fmla="*/ 5448243 w 5829300"/>
              <a:gd name="connsiteY54" fmla="*/ 4082739 h 4086225"/>
              <a:gd name="connsiteX55" fmla="*/ 5456673 w 5829300"/>
              <a:gd name="connsiteY55" fmla="*/ 4082739 h 4086225"/>
              <a:gd name="connsiteX56" fmla="*/ 5680548 w 5829300"/>
              <a:gd name="connsiteY56" fmla="*/ 3966963 h 4086225"/>
              <a:gd name="connsiteX57" fmla="*/ 5663680 w 5829300"/>
              <a:gd name="connsiteY57" fmla="*/ 3718551 h 4086225"/>
              <a:gd name="connsiteX58" fmla="*/ 4985138 w 5829300"/>
              <a:gd name="connsiteY58" fmla="*/ 2625223 h 4086225"/>
              <a:gd name="connsiteX59" fmla="*/ 5374625 w 5829300"/>
              <a:gd name="connsiteY59" fmla="*/ 2625223 h 4086225"/>
              <a:gd name="connsiteX60" fmla="*/ 5830053 w 5829300"/>
              <a:gd name="connsiteY60" fmla="*/ 2169795 h 4086225"/>
              <a:gd name="connsiteX61" fmla="*/ 5830053 w 5829300"/>
              <a:gd name="connsiteY61" fmla="*/ 455428 h 4086225"/>
              <a:gd name="connsiteX62" fmla="*/ 5374644 w 5829300"/>
              <a:gd name="connsiteY62" fmla="*/ 0 h 4086225"/>
              <a:gd name="connsiteX63" fmla="*/ 5523386 w 5829300"/>
              <a:gd name="connsiteY63" fmla="*/ 2169785 h 4086225"/>
              <a:gd name="connsiteX64" fmla="*/ 5374644 w 5829300"/>
              <a:gd name="connsiteY64" fmla="*/ 2318528 h 4086225"/>
              <a:gd name="connsiteX65" fmla="*/ 4720638 w 5829300"/>
              <a:gd name="connsiteY65" fmla="*/ 2318528 h 4086225"/>
              <a:gd name="connsiteX66" fmla="*/ 4587993 w 5829300"/>
              <a:gd name="connsiteY66" fmla="*/ 2392899 h 4086225"/>
              <a:gd name="connsiteX67" fmla="*/ 4587993 w 5829300"/>
              <a:gd name="connsiteY67" fmla="*/ 2550071 h 4086225"/>
              <a:gd name="connsiteX68" fmla="*/ 5316369 w 5829300"/>
              <a:gd name="connsiteY68" fmla="*/ 3775272 h 4086225"/>
              <a:gd name="connsiteX69" fmla="*/ 4413952 w 5829300"/>
              <a:gd name="connsiteY69" fmla="*/ 3775272 h 4086225"/>
              <a:gd name="connsiteX70" fmla="*/ 4314282 w 5829300"/>
              <a:gd name="connsiteY70" fmla="*/ 3733867 h 4086225"/>
              <a:gd name="connsiteX71" fmla="*/ 3527641 w 5829300"/>
              <a:gd name="connsiteY71" fmla="*/ 2243385 h 4086225"/>
              <a:gd name="connsiteX72" fmla="*/ 3519211 w 5829300"/>
              <a:gd name="connsiteY72" fmla="*/ 2226517 h 4086225"/>
              <a:gd name="connsiteX73" fmla="*/ 3519211 w 5829300"/>
              <a:gd name="connsiteY73" fmla="*/ 2218087 h 4086225"/>
              <a:gd name="connsiteX74" fmla="*/ 3510782 w 5829300"/>
              <a:gd name="connsiteY74" fmla="*/ 2168252 h 4086225"/>
              <a:gd name="connsiteX75" fmla="*/ 3510782 w 5829300"/>
              <a:gd name="connsiteY75" fmla="*/ 1018956 h 4086225"/>
              <a:gd name="connsiteX76" fmla="*/ 3569056 w 5829300"/>
              <a:gd name="connsiteY76" fmla="*/ 886311 h 4086225"/>
              <a:gd name="connsiteX77" fmla="*/ 4082749 w 5829300"/>
              <a:gd name="connsiteY77" fmla="*/ 372618 h 4086225"/>
              <a:gd name="connsiteX78" fmla="*/ 4248360 w 5829300"/>
              <a:gd name="connsiteY78" fmla="*/ 306676 h 4086225"/>
              <a:gd name="connsiteX79" fmla="*/ 5374653 w 5829300"/>
              <a:gd name="connsiteY79" fmla="*/ 306676 h 4086225"/>
              <a:gd name="connsiteX80" fmla="*/ 5523395 w 5829300"/>
              <a:gd name="connsiteY80" fmla="*/ 455419 h 4086225"/>
              <a:gd name="connsiteX81" fmla="*/ 5523395 w 5829300"/>
              <a:gd name="connsiteY81" fmla="*/ 2169785 h 4086225"/>
              <a:gd name="connsiteX82" fmla="*/ 5523386 w 5829300"/>
              <a:gd name="connsiteY82" fmla="*/ 2169785 h 408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5829300" h="4086225">
                <a:moveTo>
                  <a:pt x="2169795" y="0"/>
                </a:moveTo>
                <a:lnTo>
                  <a:pt x="1043492" y="0"/>
                </a:lnTo>
                <a:cubicBezTo>
                  <a:pt x="844915" y="0"/>
                  <a:pt x="712270" y="99670"/>
                  <a:pt x="662435" y="148742"/>
                </a:cubicBezTo>
                <a:lnTo>
                  <a:pt x="148742" y="662435"/>
                </a:lnTo>
                <a:cubicBezTo>
                  <a:pt x="24536" y="786641"/>
                  <a:pt x="0" y="927716"/>
                  <a:pt x="0" y="1010526"/>
                </a:cubicBezTo>
                <a:lnTo>
                  <a:pt x="0" y="2169785"/>
                </a:lnTo>
                <a:cubicBezTo>
                  <a:pt x="0" y="2211191"/>
                  <a:pt x="8430" y="2252587"/>
                  <a:pt x="24536" y="2302431"/>
                </a:cubicBezTo>
                <a:cubicBezTo>
                  <a:pt x="24536" y="2319300"/>
                  <a:pt x="32966" y="2335397"/>
                  <a:pt x="41405" y="2352266"/>
                </a:cubicBezTo>
                <a:lnTo>
                  <a:pt x="49835" y="2360695"/>
                </a:lnTo>
                <a:cubicBezTo>
                  <a:pt x="58264" y="2377564"/>
                  <a:pt x="66704" y="2393661"/>
                  <a:pt x="74371" y="2402100"/>
                </a:cubicBezTo>
                <a:lnTo>
                  <a:pt x="852583" y="3884152"/>
                </a:lnTo>
                <a:cubicBezTo>
                  <a:pt x="893988" y="3958523"/>
                  <a:pt x="1009755" y="4091159"/>
                  <a:pt x="1225201" y="4091159"/>
                </a:cubicBezTo>
                <a:lnTo>
                  <a:pt x="2243395" y="4091159"/>
                </a:lnTo>
                <a:lnTo>
                  <a:pt x="2251824" y="4091159"/>
                </a:lnTo>
                <a:cubicBezTo>
                  <a:pt x="2351494" y="4091159"/>
                  <a:pt x="2434304" y="4049754"/>
                  <a:pt x="2475700" y="3975383"/>
                </a:cubicBezTo>
                <a:cubicBezTo>
                  <a:pt x="2500236" y="3933978"/>
                  <a:pt x="2525535" y="3842737"/>
                  <a:pt x="2458831" y="3726971"/>
                </a:cubicBezTo>
                <a:lnTo>
                  <a:pt x="1804835" y="2633653"/>
                </a:lnTo>
                <a:lnTo>
                  <a:pt x="2169024" y="2633653"/>
                </a:lnTo>
                <a:cubicBezTo>
                  <a:pt x="2417436" y="2633653"/>
                  <a:pt x="2624452" y="2426637"/>
                  <a:pt x="2624452" y="2178225"/>
                </a:cubicBezTo>
                <a:lnTo>
                  <a:pt x="2624452" y="455428"/>
                </a:lnTo>
                <a:cubicBezTo>
                  <a:pt x="2625214" y="207007"/>
                  <a:pt x="2418207" y="0"/>
                  <a:pt x="2169795" y="0"/>
                </a:cubicBezTo>
                <a:close/>
                <a:moveTo>
                  <a:pt x="2318538" y="2169785"/>
                </a:moveTo>
                <a:cubicBezTo>
                  <a:pt x="2318538" y="2252587"/>
                  <a:pt x="2252596" y="2318528"/>
                  <a:pt x="2169795" y="2318528"/>
                </a:cubicBezTo>
                <a:lnTo>
                  <a:pt x="1507360" y="2318528"/>
                </a:lnTo>
                <a:cubicBezTo>
                  <a:pt x="1449086" y="2318528"/>
                  <a:pt x="1400023" y="2351494"/>
                  <a:pt x="1374715" y="2392899"/>
                </a:cubicBezTo>
                <a:cubicBezTo>
                  <a:pt x="1350178" y="2442734"/>
                  <a:pt x="1350178" y="2500237"/>
                  <a:pt x="1374715" y="2550071"/>
                </a:cubicBezTo>
                <a:lnTo>
                  <a:pt x="2103092" y="3775272"/>
                </a:lnTo>
                <a:lnTo>
                  <a:pt x="1209104" y="3775272"/>
                </a:lnTo>
                <a:cubicBezTo>
                  <a:pt x="1134732" y="3775272"/>
                  <a:pt x="1109434" y="3742306"/>
                  <a:pt x="1109434" y="3733867"/>
                </a:cubicBezTo>
                <a:lnTo>
                  <a:pt x="323555" y="2244157"/>
                </a:lnTo>
                <a:cubicBezTo>
                  <a:pt x="323555" y="2235727"/>
                  <a:pt x="315125" y="2235727"/>
                  <a:pt x="315125" y="2227288"/>
                </a:cubicBezTo>
                <a:lnTo>
                  <a:pt x="315125" y="2227288"/>
                </a:lnTo>
                <a:lnTo>
                  <a:pt x="315125" y="2218858"/>
                </a:lnTo>
                <a:cubicBezTo>
                  <a:pt x="306696" y="2201990"/>
                  <a:pt x="306696" y="2185892"/>
                  <a:pt x="306696" y="2169024"/>
                </a:cubicBezTo>
                <a:lnTo>
                  <a:pt x="306696" y="1018956"/>
                </a:lnTo>
                <a:cubicBezTo>
                  <a:pt x="306696" y="985990"/>
                  <a:pt x="315125" y="936155"/>
                  <a:pt x="364969" y="886311"/>
                </a:cubicBezTo>
                <a:lnTo>
                  <a:pt x="878662" y="372618"/>
                </a:lnTo>
                <a:cubicBezTo>
                  <a:pt x="895531" y="355749"/>
                  <a:pt x="953033" y="306676"/>
                  <a:pt x="1044273" y="306676"/>
                </a:cubicBezTo>
                <a:lnTo>
                  <a:pt x="2170557" y="306676"/>
                </a:lnTo>
                <a:cubicBezTo>
                  <a:pt x="2253358" y="306676"/>
                  <a:pt x="2319300" y="372618"/>
                  <a:pt x="2319300" y="455419"/>
                </a:cubicBezTo>
                <a:lnTo>
                  <a:pt x="2319300" y="2169785"/>
                </a:lnTo>
                <a:lnTo>
                  <a:pt x="2318538" y="2169785"/>
                </a:lnTo>
                <a:close/>
                <a:moveTo>
                  <a:pt x="5374644" y="0"/>
                </a:moveTo>
                <a:lnTo>
                  <a:pt x="4248341" y="0"/>
                </a:lnTo>
                <a:cubicBezTo>
                  <a:pt x="4049763" y="0"/>
                  <a:pt x="3917118" y="99670"/>
                  <a:pt x="3867284" y="148742"/>
                </a:cubicBezTo>
                <a:lnTo>
                  <a:pt x="3353591" y="662435"/>
                </a:lnTo>
                <a:cubicBezTo>
                  <a:pt x="3229385" y="786641"/>
                  <a:pt x="3204848" y="927716"/>
                  <a:pt x="3204848" y="1010526"/>
                </a:cubicBezTo>
                <a:lnTo>
                  <a:pt x="3204848" y="2169785"/>
                </a:lnTo>
                <a:cubicBezTo>
                  <a:pt x="3204848" y="2211191"/>
                  <a:pt x="3213278" y="2252587"/>
                  <a:pt x="3229385" y="2302431"/>
                </a:cubicBezTo>
                <a:cubicBezTo>
                  <a:pt x="3229385" y="2319300"/>
                  <a:pt x="3237814" y="2335397"/>
                  <a:pt x="3246253" y="2343836"/>
                </a:cubicBezTo>
                <a:lnTo>
                  <a:pt x="3254683" y="2352266"/>
                </a:lnTo>
                <a:cubicBezTo>
                  <a:pt x="3263113" y="2369134"/>
                  <a:pt x="3271552" y="2385232"/>
                  <a:pt x="3279219" y="2393671"/>
                </a:cubicBezTo>
                <a:lnTo>
                  <a:pt x="4057431" y="3875723"/>
                </a:lnTo>
                <a:cubicBezTo>
                  <a:pt x="4098836" y="3950094"/>
                  <a:pt x="4214603" y="4082739"/>
                  <a:pt x="4430049" y="4082739"/>
                </a:cubicBezTo>
                <a:lnTo>
                  <a:pt x="5448243" y="4082739"/>
                </a:lnTo>
                <a:lnTo>
                  <a:pt x="5456673" y="4082739"/>
                </a:lnTo>
                <a:cubicBezTo>
                  <a:pt x="5556342" y="4082739"/>
                  <a:pt x="5639153" y="4041334"/>
                  <a:pt x="5680548" y="3966963"/>
                </a:cubicBezTo>
                <a:cubicBezTo>
                  <a:pt x="5705085" y="3925557"/>
                  <a:pt x="5730383" y="3834318"/>
                  <a:pt x="5663680" y="3718551"/>
                </a:cubicBezTo>
                <a:lnTo>
                  <a:pt x="4985138" y="2625223"/>
                </a:lnTo>
                <a:lnTo>
                  <a:pt x="5374625" y="2625223"/>
                </a:lnTo>
                <a:cubicBezTo>
                  <a:pt x="5623036" y="2625223"/>
                  <a:pt x="5830053" y="2418207"/>
                  <a:pt x="5830053" y="2169795"/>
                </a:cubicBezTo>
                <a:lnTo>
                  <a:pt x="5830053" y="455428"/>
                </a:lnTo>
                <a:cubicBezTo>
                  <a:pt x="5830062" y="207007"/>
                  <a:pt x="5623055" y="0"/>
                  <a:pt x="5374644" y="0"/>
                </a:cubicBezTo>
                <a:close/>
                <a:moveTo>
                  <a:pt x="5523386" y="2169785"/>
                </a:moveTo>
                <a:cubicBezTo>
                  <a:pt x="5523386" y="2252587"/>
                  <a:pt x="5457454" y="2318528"/>
                  <a:pt x="5374644" y="2318528"/>
                </a:cubicBezTo>
                <a:lnTo>
                  <a:pt x="4720638" y="2318528"/>
                </a:lnTo>
                <a:cubicBezTo>
                  <a:pt x="4662364" y="2318528"/>
                  <a:pt x="4613301" y="2351494"/>
                  <a:pt x="4587993" y="2392899"/>
                </a:cubicBezTo>
                <a:cubicBezTo>
                  <a:pt x="4563456" y="2442734"/>
                  <a:pt x="4563456" y="2500237"/>
                  <a:pt x="4587993" y="2550071"/>
                </a:cubicBezTo>
                <a:lnTo>
                  <a:pt x="5316369" y="3775272"/>
                </a:lnTo>
                <a:lnTo>
                  <a:pt x="4413952" y="3775272"/>
                </a:lnTo>
                <a:cubicBezTo>
                  <a:pt x="4339581" y="3775272"/>
                  <a:pt x="4314282" y="3742306"/>
                  <a:pt x="4314282" y="3733867"/>
                </a:cubicBezTo>
                <a:lnTo>
                  <a:pt x="3527641" y="2243385"/>
                </a:lnTo>
                <a:cubicBezTo>
                  <a:pt x="3527641" y="2234956"/>
                  <a:pt x="3519211" y="2234956"/>
                  <a:pt x="3519211" y="2226517"/>
                </a:cubicBezTo>
                <a:lnTo>
                  <a:pt x="3519211" y="2218087"/>
                </a:lnTo>
                <a:cubicBezTo>
                  <a:pt x="3510782" y="2201218"/>
                  <a:pt x="3510782" y="2185121"/>
                  <a:pt x="3510782" y="2168252"/>
                </a:cubicBezTo>
                <a:lnTo>
                  <a:pt x="3510782" y="1018956"/>
                </a:lnTo>
                <a:cubicBezTo>
                  <a:pt x="3510782" y="985990"/>
                  <a:pt x="3519211" y="936155"/>
                  <a:pt x="3569056" y="886311"/>
                </a:cubicBezTo>
                <a:lnTo>
                  <a:pt x="4082749" y="372618"/>
                </a:lnTo>
                <a:cubicBezTo>
                  <a:pt x="4099617" y="355749"/>
                  <a:pt x="4157120" y="306676"/>
                  <a:pt x="4248360" y="306676"/>
                </a:cubicBezTo>
                <a:lnTo>
                  <a:pt x="5374653" y="306676"/>
                </a:lnTo>
                <a:cubicBezTo>
                  <a:pt x="5457454" y="306676"/>
                  <a:pt x="5523395" y="372618"/>
                  <a:pt x="5523395" y="455419"/>
                </a:cubicBezTo>
                <a:lnTo>
                  <a:pt x="5523395" y="2169785"/>
                </a:lnTo>
                <a:lnTo>
                  <a:pt x="5523386" y="2169785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59" name="Forma libre 368">
            <a:extLst>
              <a:ext uri="{FF2B5EF4-FFF2-40B4-BE49-F238E27FC236}">
                <a16:creationId xmlns:a16="http://schemas.microsoft.com/office/drawing/2014/main" xmlns="" id="{E7E9855D-8957-C24E-99C7-93DC0ED6B97D}"/>
              </a:ext>
            </a:extLst>
          </p:cNvPr>
          <p:cNvSpPr/>
          <p:nvPr/>
        </p:nvSpPr>
        <p:spPr>
          <a:xfrm>
            <a:off x="8834539" y="4650488"/>
            <a:ext cx="266321" cy="354647"/>
          </a:xfrm>
          <a:custGeom>
            <a:avLst/>
            <a:gdLst>
              <a:gd name="connsiteX0" fmla="*/ 3759691 w 5143500"/>
              <a:gd name="connsiteY0" fmla="*/ 2796696 h 6849340"/>
              <a:gd name="connsiteX1" fmla="*/ 3609274 w 5143500"/>
              <a:gd name="connsiteY1" fmla="*/ 2947113 h 6849340"/>
              <a:gd name="connsiteX2" fmla="*/ 1055257 w 5143500"/>
              <a:gd name="connsiteY2" fmla="*/ 2947113 h 6849340"/>
              <a:gd name="connsiteX3" fmla="*/ 904840 w 5143500"/>
              <a:gd name="connsiteY3" fmla="*/ 2796696 h 6849340"/>
              <a:gd name="connsiteX4" fmla="*/ 1055257 w 5143500"/>
              <a:gd name="connsiteY4" fmla="*/ 2646279 h 6849340"/>
              <a:gd name="connsiteX5" fmla="*/ 3600744 w 5143500"/>
              <a:gd name="connsiteY5" fmla="*/ 2646279 h 6849340"/>
              <a:gd name="connsiteX6" fmla="*/ 3759691 w 5143500"/>
              <a:gd name="connsiteY6" fmla="*/ 2796696 h 6849340"/>
              <a:gd name="connsiteX7" fmla="*/ 854436 w 5143500"/>
              <a:gd name="connsiteY7" fmla="*/ 1859297 h 6849340"/>
              <a:gd name="connsiteX8" fmla="*/ 854436 w 5143500"/>
              <a:gd name="connsiteY8" fmla="*/ 1180866 h 6849340"/>
              <a:gd name="connsiteX9" fmla="*/ 1105653 w 5143500"/>
              <a:gd name="connsiteY9" fmla="*/ 929649 h 6849340"/>
              <a:gd name="connsiteX10" fmla="*/ 3525532 w 5143500"/>
              <a:gd name="connsiteY10" fmla="*/ 929649 h 6849340"/>
              <a:gd name="connsiteX11" fmla="*/ 3776749 w 5143500"/>
              <a:gd name="connsiteY11" fmla="*/ 1180866 h 6849340"/>
              <a:gd name="connsiteX12" fmla="*/ 3776749 w 5143500"/>
              <a:gd name="connsiteY12" fmla="*/ 1859297 h 6849340"/>
              <a:gd name="connsiteX13" fmla="*/ 3525532 w 5143500"/>
              <a:gd name="connsiteY13" fmla="*/ 2110515 h 6849340"/>
              <a:gd name="connsiteX14" fmla="*/ 1105653 w 5143500"/>
              <a:gd name="connsiteY14" fmla="*/ 2110515 h 6849340"/>
              <a:gd name="connsiteX15" fmla="*/ 854436 w 5143500"/>
              <a:gd name="connsiteY15" fmla="*/ 1859297 h 6849340"/>
              <a:gd name="connsiteX16" fmla="*/ 1163808 w 5143500"/>
              <a:gd name="connsiteY16" fmla="*/ 1800372 h 6849340"/>
              <a:gd name="connsiteX17" fmla="*/ 3466607 w 5143500"/>
              <a:gd name="connsiteY17" fmla="*/ 1800372 h 6849340"/>
              <a:gd name="connsiteX18" fmla="*/ 3466607 w 5143500"/>
              <a:gd name="connsiteY18" fmla="*/ 1239021 h 6849340"/>
              <a:gd name="connsiteX19" fmla="*/ 1163808 w 5143500"/>
              <a:gd name="connsiteY19" fmla="*/ 1239021 h 6849340"/>
              <a:gd name="connsiteX20" fmla="*/ 1163808 w 5143500"/>
              <a:gd name="connsiteY20" fmla="*/ 1800372 h 6849340"/>
              <a:gd name="connsiteX21" fmla="*/ 1163808 w 5143500"/>
              <a:gd name="connsiteY21" fmla="*/ 1800372 h 6849340"/>
              <a:gd name="connsiteX22" fmla="*/ 4790131 w 5143500"/>
              <a:gd name="connsiteY22" fmla="*/ 5300316 h 6849340"/>
              <a:gd name="connsiteX23" fmla="*/ 4781602 w 5143500"/>
              <a:gd name="connsiteY23" fmla="*/ 6573445 h 6849340"/>
              <a:gd name="connsiteX24" fmla="*/ 4572260 w 5143500"/>
              <a:gd name="connsiteY24" fmla="*/ 6849471 h 6849340"/>
              <a:gd name="connsiteX25" fmla="*/ 4413314 w 5143500"/>
              <a:gd name="connsiteY25" fmla="*/ 6790546 h 6849340"/>
              <a:gd name="connsiteX26" fmla="*/ 3994620 w 5143500"/>
              <a:gd name="connsiteY26" fmla="*/ 6438536 h 6849340"/>
              <a:gd name="connsiteX27" fmla="*/ 3592986 w 5143500"/>
              <a:gd name="connsiteY27" fmla="*/ 6773487 h 6849340"/>
              <a:gd name="connsiteX28" fmla="*/ 3408452 w 5143500"/>
              <a:gd name="connsiteY28" fmla="*/ 6857230 h 6849340"/>
              <a:gd name="connsiteX29" fmla="*/ 3207639 w 5143500"/>
              <a:gd name="connsiteY29" fmla="*/ 6656416 h 6849340"/>
              <a:gd name="connsiteX30" fmla="*/ 3207639 w 5143500"/>
              <a:gd name="connsiteY30" fmla="*/ 6639358 h 6849340"/>
              <a:gd name="connsiteX31" fmla="*/ 3207639 w 5143500"/>
              <a:gd name="connsiteY31" fmla="*/ 6388920 h 6849340"/>
              <a:gd name="connsiteX32" fmla="*/ 410164 w 5143500"/>
              <a:gd name="connsiteY32" fmla="*/ 6388920 h 6849340"/>
              <a:gd name="connsiteX33" fmla="*/ 0 w 5143500"/>
              <a:gd name="connsiteY33" fmla="*/ 5978756 h 6849340"/>
              <a:gd name="connsiteX34" fmla="*/ 0 w 5143500"/>
              <a:gd name="connsiteY34" fmla="*/ 410164 h 6849340"/>
              <a:gd name="connsiteX35" fmla="*/ 410164 w 5143500"/>
              <a:gd name="connsiteY35" fmla="*/ 0 h 6849340"/>
              <a:gd name="connsiteX36" fmla="*/ 4303993 w 5143500"/>
              <a:gd name="connsiteY36" fmla="*/ 0 h 6849340"/>
              <a:gd name="connsiteX37" fmla="*/ 4714156 w 5143500"/>
              <a:gd name="connsiteY37" fmla="*/ 410164 h 6849340"/>
              <a:gd name="connsiteX38" fmla="*/ 4714156 w 5143500"/>
              <a:gd name="connsiteY38" fmla="*/ 3550349 h 6849340"/>
              <a:gd name="connsiteX39" fmla="*/ 5015770 w 5143500"/>
              <a:gd name="connsiteY39" fmla="*/ 3910117 h 6849340"/>
              <a:gd name="connsiteX40" fmla="*/ 4790131 w 5143500"/>
              <a:gd name="connsiteY40" fmla="*/ 5300316 h 6849340"/>
              <a:gd name="connsiteX41" fmla="*/ 4739736 w 5143500"/>
              <a:gd name="connsiteY41" fmla="*/ 4061304 h 6849340"/>
              <a:gd name="connsiteX42" fmla="*/ 4455181 w 5143500"/>
              <a:gd name="connsiteY42" fmla="*/ 3751161 h 6849340"/>
              <a:gd name="connsiteX43" fmla="*/ 4388497 w 5143500"/>
              <a:gd name="connsiteY43" fmla="*/ 3709295 h 6849340"/>
              <a:gd name="connsiteX44" fmla="*/ 4363688 w 5143500"/>
              <a:gd name="connsiteY44" fmla="*/ 3700766 h 6849340"/>
              <a:gd name="connsiteX45" fmla="*/ 4271417 w 5143500"/>
              <a:gd name="connsiteY45" fmla="*/ 3658899 h 6849340"/>
              <a:gd name="connsiteX46" fmla="*/ 4262888 w 5143500"/>
              <a:gd name="connsiteY46" fmla="*/ 3658899 h 6849340"/>
              <a:gd name="connsiteX47" fmla="*/ 3710057 w 5143500"/>
              <a:gd name="connsiteY47" fmla="*/ 3667428 h 6849340"/>
              <a:gd name="connsiteX48" fmla="*/ 3701528 w 5143500"/>
              <a:gd name="connsiteY48" fmla="*/ 3667428 h 6849340"/>
              <a:gd name="connsiteX49" fmla="*/ 3600736 w 5143500"/>
              <a:gd name="connsiteY49" fmla="*/ 3717824 h 6849340"/>
              <a:gd name="connsiteX50" fmla="*/ 3157235 w 5143500"/>
              <a:gd name="connsiteY50" fmla="*/ 4462939 h 6849340"/>
              <a:gd name="connsiteX51" fmla="*/ 3157235 w 5143500"/>
              <a:gd name="connsiteY51" fmla="*/ 4462939 h 6849340"/>
              <a:gd name="connsiteX52" fmla="*/ 3157235 w 5143500"/>
              <a:gd name="connsiteY52" fmla="*/ 4462939 h 6849340"/>
              <a:gd name="connsiteX53" fmla="*/ 3258026 w 5143500"/>
              <a:gd name="connsiteY53" fmla="*/ 4864574 h 6849340"/>
              <a:gd name="connsiteX54" fmla="*/ 3316951 w 5143500"/>
              <a:gd name="connsiteY54" fmla="*/ 4956845 h 6849340"/>
              <a:gd name="connsiteX55" fmla="*/ 3334010 w 5143500"/>
              <a:gd name="connsiteY55" fmla="*/ 4981653 h 6849340"/>
              <a:gd name="connsiteX56" fmla="*/ 3384406 w 5143500"/>
              <a:gd name="connsiteY56" fmla="*/ 5040578 h 6849340"/>
              <a:gd name="connsiteX57" fmla="*/ 3401464 w 5143500"/>
              <a:gd name="connsiteY57" fmla="*/ 5057637 h 6849340"/>
              <a:gd name="connsiteX58" fmla="*/ 3476677 w 5143500"/>
              <a:gd name="connsiteY58" fmla="*/ 5124320 h 6849340"/>
              <a:gd name="connsiteX59" fmla="*/ 3485206 w 5143500"/>
              <a:gd name="connsiteY59" fmla="*/ 5132850 h 6849340"/>
              <a:gd name="connsiteX60" fmla="*/ 3551890 w 5143500"/>
              <a:gd name="connsiteY60" fmla="*/ 5183246 h 6849340"/>
              <a:gd name="connsiteX61" fmla="*/ 3560419 w 5143500"/>
              <a:gd name="connsiteY61" fmla="*/ 5191775 h 6849340"/>
              <a:gd name="connsiteX62" fmla="*/ 3577478 w 5143500"/>
              <a:gd name="connsiteY62" fmla="*/ 5200304 h 6849340"/>
              <a:gd name="connsiteX63" fmla="*/ 3602286 w 5143500"/>
              <a:gd name="connsiteY63" fmla="*/ 5208833 h 6849340"/>
              <a:gd name="connsiteX64" fmla="*/ 3635623 w 5143500"/>
              <a:gd name="connsiteY64" fmla="*/ 5225892 h 6849340"/>
              <a:gd name="connsiteX65" fmla="*/ 4255129 w 5143500"/>
              <a:gd name="connsiteY65" fmla="*/ 5276288 h 6849340"/>
              <a:gd name="connsiteX66" fmla="*/ 4288467 w 5143500"/>
              <a:gd name="connsiteY66" fmla="*/ 5267758 h 6849340"/>
              <a:gd name="connsiteX67" fmla="*/ 4305525 w 5143500"/>
              <a:gd name="connsiteY67" fmla="*/ 5259229 h 6849340"/>
              <a:gd name="connsiteX68" fmla="*/ 4330334 w 5143500"/>
              <a:gd name="connsiteY68" fmla="*/ 5250700 h 6849340"/>
              <a:gd name="connsiteX69" fmla="*/ 4405546 w 5143500"/>
              <a:gd name="connsiteY69" fmla="*/ 5217363 h 6849340"/>
              <a:gd name="connsiteX70" fmla="*/ 4472230 w 5143500"/>
              <a:gd name="connsiteY70" fmla="*/ 5175496 h 6849340"/>
              <a:gd name="connsiteX71" fmla="*/ 4538914 w 5143500"/>
              <a:gd name="connsiteY71" fmla="*/ 5125100 h 6849340"/>
              <a:gd name="connsiteX72" fmla="*/ 4739736 w 5143500"/>
              <a:gd name="connsiteY72" fmla="*/ 4061304 h 6849340"/>
              <a:gd name="connsiteX73" fmla="*/ 3207639 w 5143500"/>
              <a:gd name="connsiteY73" fmla="*/ 6062490 h 6849340"/>
              <a:gd name="connsiteX74" fmla="*/ 3207639 w 5143500"/>
              <a:gd name="connsiteY74" fmla="*/ 5467792 h 6849340"/>
              <a:gd name="connsiteX75" fmla="*/ 1055257 w 5143500"/>
              <a:gd name="connsiteY75" fmla="*/ 5467792 h 6849340"/>
              <a:gd name="connsiteX76" fmla="*/ 904840 w 5143500"/>
              <a:gd name="connsiteY76" fmla="*/ 5317375 h 6849340"/>
              <a:gd name="connsiteX77" fmla="*/ 1055257 w 5143500"/>
              <a:gd name="connsiteY77" fmla="*/ 5166958 h 6849340"/>
              <a:gd name="connsiteX78" fmla="*/ 3073501 w 5143500"/>
              <a:gd name="connsiteY78" fmla="*/ 5166958 h 6849340"/>
              <a:gd name="connsiteX79" fmla="*/ 3073501 w 5143500"/>
              <a:gd name="connsiteY79" fmla="*/ 5166958 h 6849340"/>
              <a:gd name="connsiteX80" fmla="*/ 3040164 w 5143500"/>
              <a:gd name="connsiteY80" fmla="*/ 5125091 h 6849340"/>
              <a:gd name="connsiteX81" fmla="*/ 3023105 w 5143500"/>
              <a:gd name="connsiteY81" fmla="*/ 5100282 h 6849340"/>
              <a:gd name="connsiteX82" fmla="*/ 2981239 w 5143500"/>
              <a:gd name="connsiteY82" fmla="*/ 5033599 h 6849340"/>
              <a:gd name="connsiteX83" fmla="*/ 2972709 w 5143500"/>
              <a:gd name="connsiteY83" fmla="*/ 5025070 h 6849340"/>
              <a:gd name="connsiteX84" fmla="*/ 2922313 w 5143500"/>
              <a:gd name="connsiteY84" fmla="*/ 4916519 h 6849340"/>
              <a:gd name="connsiteX85" fmla="*/ 2922313 w 5143500"/>
              <a:gd name="connsiteY85" fmla="*/ 4916519 h 6849340"/>
              <a:gd name="connsiteX86" fmla="*/ 2847101 w 5143500"/>
              <a:gd name="connsiteY86" fmla="*/ 4640493 h 6849340"/>
              <a:gd name="connsiteX87" fmla="*/ 1055257 w 5143500"/>
              <a:gd name="connsiteY87" fmla="*/ 4640493 h 6849340"/>
              <a:gd name="connsiteX88" fmla="*/ 904840 w 5143500"/>
              <a:gd name="connsiteY88" fmla="*/ 4490077 h 6849340"/>
              <a:gd name="connsiteX89" fmla="*/ 1055257 w 5143500"/>
              <a:gd name="connsiteY89" fmla="*/ 4339660 h 6849340"/>
              <a:gd name="connsiteX90" fmla="*/ 2847101 w 5143500"/>
              <a:gd name="connsiteY90" fmla="*/ 4339660 h 6849340"/>
              <a:gd name="connsiteX91" fmla="*/ 2880438 w 5143500"/>
              <a:gd name="connsiteY91" fmla="*/ 4163655 h 6849340"/>
              <a:gd name="connsiteX92" fmla="*/ 3056443 w 5143500"/>
              <a:gd name="connsiteY92" fmla="*/ 3820174 h 6849340"/>
              <a:gd name="connsiteX93" fmla="*/ 1055257 w 5143500"/>
              <a:gd name="connsiteY93" fmla="*/ 3820174 h 6849340"/>
              <a:gd name="connsiteX94" fmla="*/ 904840 w 5143500"/>
              <a:gd name="connsiteY94" fmla="*/ 3669757 h 6849340"/>
              <a:gd name="connsiteX95" fmla="*/ 1055257 w 5143500"/>
              <a:gd name="connsiteY95" fmla="*/ 3519341 h 6849340"/>
              <a:gd name="connsiteX96" fmla="*/ 3391394 w 5143500"/>
              <a:gd name="connsiteY96" fmla="*/ 3519341 h 6849340"/>
              <a:gd name="connsiteX97" fmla="*/ 3441790 w 5143500"/>
              <a:gd name="connsiteY97" fmla="*/ 3486003 h 6849340"/>
              <a:gd name="connsiteX98" fmla="*/ 3550340 w 5143500"/>
              <a:gd name="connsiteY98" fmla="*/ 3435607 h 6849340"/>
              <a:gd name="connsiteX99" fmla="*/ 3558869 w 5143500"/>
              <a:gd name="connsiteY99" fmla="*/ 3435607 h 6849340"/>
              <a:gd name="connsiteX100" fmla="*/ 3994620 w 5143500"/>
              <a:gd name="connsiteY100" fmla="*/ 3351865 h 6849340"/>
              <a:gd name="connsiteX101" fmla="*/ 4396255 w 5143500"/>
              <a:gd name="connsiteY101" fmla="*/ 3427078 h 6849340"/>
              <a:gd name="connsiteX102" fmla="*/ 4396255 w 5143500"/>
              <a:gd name="connsiteY102" fmla="*/ 3427078 h 6849340"/>
              <a:gd name="connsiteX103" fmla="*/ 4396255 w 5143500"/>
              <a:gd name="connsiteY103" fmla="*/ 410164 h 6849340"/>
              <a:gd name="connsiteX104" fmla="*/ 4295464 w 5143500"/>
              <a:gd name="connsiteY104" fmla="*/ 309372 h 6849340"/>
              <a:gd name="connsiteX105" fmla="*/ 410164 w 5143500"/>
              <a:gd name="connsiteY105" fmla="*/ 309372 h 6849340"/>
              <a:gd name="connsiteX106" fmla="*/ 309372 w 5143500"/>
              <a:gd name="connsiteY106" fmla="*/ 410164 h 6849340"/>
              <a:gd name="connsiteX107" fmla="*/ 309372 w 5143500"/>
              <a:gd name="connsiteY107" fmla="*/ 5953939 h 6849340"/>
              <a:gd name="connsiteX108" fmla="*/ 410164 w 5143500"/>
              <a:gd name="connsiteY108" fmla="*/ 6054731 h 6849340"/>
              <a:gd name="connsiteX109" fmla="*/ 3206860 w 5143500"/>
              <a:gd name="connsiteY109" fmla="*/ 6054731 h 6849340"/>
              <a:gd name="connsiteX110" fmla="*/ 3206860 w 5143500"/>
              <a:gd name="connsiteY110" fmla="*/ 6062481 h 6849340"/>
              <a:gd name="connsiteX111" fmla="*/ 3207639 w 5143500"/>
              <a:gd name="connsiteY111" fmla="*/ 6062481 h 6849340"/>
              <a:gd name="connsiteX112" fmla="*/ 4479989 w 5143500"/>
              <a:gd name="connsiteY112" fmla="*/ 5518188 h 6849340"/>
              <a:gd name="connsiteX113" fmla="*/ 4462930 w 5143500"/>
              <a:gd name="connsiteY113" fmla="*/ 5526717 h 6849340"/>
              <a:gd name="connsiteX114" fmla="*/ 4454401 w 5143500"/>
              <a:gd name="connsiteY114" fmla="*/ 5535246 h 6849340"/>
              <a:gd name="connsiteX115" fmla="*/ 4445872 w 5143500"/>
              <a:gd name="connsiteY115" fmla="*/ 5535246 h 6849340"/>
              <a:gd name="connsiteX116" fmla="*/ 4395476 w 5143500"/>
              <a:gd name="connsiteY116" fmla="*/ 5552305 h 6849340"/>
              <a:gd name="connsiteX117" fmla="*/ 4378417 w 5143500"/>
              <a:gd name="connsiteY117" fmla="*/ 5560834 h 6849340"/>
              <a:gd name="connsiteX118" fmla="*/ 4353609 w 5143500"/>
              <a:gd name="connsiteY118" fmla="*/ 5569363 h 6849340"/>
              <a:gd name="connsiteX119" fmla="*/ 4345080 w 5143500"/>
              <a:gd name="connsiteY119" fmla="*/ 5569363 h 6849340"/>
              <a:gd name="connsiteX120" fmla="*/ 4336551 w 5143500"/>
              <a:gd name="connsiteY120" fmla="*/ 5569363 h 6849340"/>
              <a:gd name="connsiteX121" fmla="*/ 4319492 w 5143500"/>
              <a:gd name="connsiteY121" fmla="*/ 5577892 h 6849340"/>
              <a:gd name="connsiteX122" fmla="*/ 4310963 w 5143500"/>
              <a:gd name="connsiteY122" fmla="*/ 5577892 h 6849340"/>
              <a:gd name="connsiteX123" fmla="*/ 4286155 w 5143500"/>
              <a:gd name="connsiteY123" fmla="*/ 5586421 h 6849340"/>
              <a:gd name="connsiteX124" fmla="*/ 4244288 w 5143500"/>
              <a:gd name="connsiteY124" fmla="*/ 5594950 h 6849340"/>
              <a:gd name="connsiteX125" fmla="*/ 4210951 w 5143500"/>
              <a:gd name="connsiteY125" fmla="*/ 5603480 h 6849340"/>
              <a:gd name="connsiteX126" fmla="*/ 4210951 w 5143500"/>
              <a:gd name="connsiteY126" fmla="*/ 5603480 h 6849340"/>
              <a:gd name="connsiteX127" fmla="*/ 4210951 w 5143500"/>
              <a:gd name="connsiteY127" fmla="*/ 5603480 h 6849340"/>
              <a:gd name="connsiteX128" fmla="*/ 4152026 w 5143500"/>
              <a:gd name="connsiteY128" fmla="*/ 5612009 h 6849340"/>
              <a:gd name="connsiteX129" fmla="*/ 4118688 w 5143500"/>
              <a:gd name="connsiteY129" fmla="*/ 5620538 h 6849340"/>
              <a:gd name="connsiteX130" fmla="*/ 4110159 w 5143500"/>
              <a:gd name="connsiteY130" fmla="*/ 5620538 h 6849340"/>
              <a:gd name="connsiteX131" fmla="*/ 4093101 w 5143500"/>
              <a:gd name="connsiteY131" fmla="*/ 5620538 h 6849340"/>
              <a:gd name="connsiteX132" fmla="*/ 4093101 w 5143500"/>
              <a:gd name="connsiteY132" fmla="*/ 5620538 h 6849340"/>
              <a:gd name="connsiteX133" fmla="*/ 4076042 w 5143500"/>
              <a:gd name="connsiteY133" fmla="*/ 5620538 h 6849340"/>
              <a:gd name="connsiteX134" fmla="*/ 4009358 w 5143500"/>
              <a:gd name="connsiteY134" fmla="*/ 5620538 h 6849340"/>
              <a:gd name="connsiteX135" fmla="*/ 4009358 w 5143500"/>
              <a:gd name="connsiteY135" fmla="*/ 5620538 h 6849340"/>
              <a:gd name="connsiteX136" fmla="*/ 4009358 w 5143500"/>
              <a:gd name="connsiteY136" fmla="*/ 5620538 h 6849340"/>
              <a:gd name="connsiteX137" fmla="*/ 3992300 w 5143500"/>
              <a:gd name="connsiteY137" fmla="*/ 5620538 h 6849340"/>
              <a:gd name="connsiteX138" fmla="*/ 3975242 w 5143500"/>
              <a:gd name="connsiteY138" fmla="*/ 5620538 h 6849340"/>
              <a:gd name="connsiteX139" fmla="*/ 3975242 w 5143500"/>
              <a:gd name="connsiteY139" fmla="*/ 5620538 h 6849340"/>
              <a:gd name="connsiteX140" fmla="*/ 3975242 w 5143500"/>
              <a:gd name="connsiteY140" fmla="*/ 5620538 h 6849340"/>
              <a:gd name="connsiteX141" fmla="*/ 3891499 w 5143500"/>
              <a:gd name="connsiteY141" fmla="*/ 5612009 h 6849340"/>
              <a:gd name="connsiteX142" fmla="*/ 3891499 w 5143500"/>
              <a:gd name="connsiteY142" fmla="*/ 5612009 h 6849340"/>
              <a:gd name="connsiteX143" fmla="*/ 3891499 w 5143500"/>
              <a:gd name="connsiteY143" fmla="*/ 5612009 h 6849340"/>
              <a:gd name="connsiteX144" fmla="*/ 3891499 w 5143500"/>
              <a:gd name="connsiteY144" fmla="*/ 5612009 h 6849340"/>
              <a:gd name="connsiteX145" fmla="*/ 3882970 w 5143500"/>
              <a:gd name="connsiteY145" fmla="*/ 5612009 h 6849340"/>
              <a:gd name="connsiteX146" fmla="*/ 3874441 w 5143500"/>
              <a:gd name="connsiteY146" fmla="*/ 5612009 h 6849340"/>
              <a:gd name="connsiteX147" fmla="*/ 3564298 w 5143500"/>
              <a:gd name="connsiteY147" fmla="*/ 5528267 h 6849340"/>
              <a:gd name="connsiteX148" fmla="*/ 3564298 w 5143500"/>
              <a:gd name="connsiteY148" fmla="*/ 5528267 h 6849340"/>
              <a:gd name="connsiteX149" fmla="*/ 3564298 w 5143500"/>
              <a:gd name="connsiteY149" fmla="*/ 5528267 h 6849340"/>
              <a:gd name="connsiteX150" fmla="*/ 3530961 w 5143500"/>
              <a:gd name="connsiteY150" fmla="*/ 5511209 h 6849340"/>
              <a:gd name="connsiteX151" fmla="*/ 3530961 w 5143500"/>
              <a:gd name="connsiteY151" fmla="*/ 5511209 h 6849340"/>
              <a:gd name="connsiteX152" fmla="*/ 3522432 w 5143500"/>
              <a:gd name="connsiteY152" fmla="*/ 6423799 h 6849340"/>
              <a:gd name="connsiteX153" fmla="*/ 3899249 w 5143500"/>
              <a:gd name="connsiteY153" fmla="*/ 6105906 h 6849340"/>
              <a:gd name="connsiteX154" fmla="*/ 4000050 w 5143500"/>
              <a:gd name="connsiteY154" fmla="*/ 6072569 h 6849340"/>
              <a:gd name="connsiteX155" fmla="*/ 4100850 w 5143500"/>
              <a:gd name="connsiteY155" fmla="*/ 6105906 h 6849340"/>
              <a:gd name="connsiteX156" fmla="*/ 4477668 w 5143500"/>
              <a:gd name="connsiteY156" fmla="*/ 6423799 h 6849340"/>
              <a:gd name="connsiteX157" fmla="*/ 4479989 w 5143500"/>
              <a:gd name="connsiteY157" fmla="*/ 5518188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5143500" h="6849340">
                <a:moveTo>
                  <a:pt x="3759691" y="2796696"/>
                </a:moveTo>
                <a:cubicBezTo>
                  <a:pt x="3759691" y="2880438"/>
                  <a:pt x="3693007" y="2947113"/>
                  <a:pt x="3609274" y="2947113"/>
                </a:cubicBezTo>
                <a:lnTo>
                  <a:pt x="1055257" y="2947113"/>
                </a:lnTo>
                <a:cubicBezTo>
                  <a:pt x="971515" y="2947113"/>
                  <a:pt x="904840" y="2880429"/>
                  <a:pt x="904840" y="2796696"/>
                </a:cubicBezTo>
                <a:cubicBezTo>
                  <a:pt x="904840" y="2712963"/>
                  <a:pt x="971524" y="2646279"/>
                  <a:pt x="1055257" y="2646279"/>
                </a:cubicBezTo>
                <a:lnTo>
                  <a:pt x="3600744" y="2646279"/>
                </a:lnTo>
                <a:cubicBezTo>
                  <a:pt x="3684478" y="2637750"/>
                  <a:pt x="3759691" y="2704433"/>
                  <a:pt x="3759691" y="2796696"/>
                </a:cubicBezTo>
                <a:close/>
                <a:moveTo>
                  <a:pt x="854436" y="1859297"/>
                </a:moveTo>
                <a:lnTo>
                  <a:pt x="854436" y="1180866"/>
                </a:lnTo>
                <a:cubicBezTo>
                  <a:pt x="854436" y="1046728"/>
                  <a:pt x="962986" y="929649"/>
                  <a:pt x="1105653" y="929649"/>
                </a:cubicBezTo>
                <a:lnTo>
                  <a:pt x="3525532" y="929649"/>
                </a:lnTo>
                <a:cubicBezTo>
                  <a:pt x="3659669" y="929649"/>
                  <a:pt x="3776749" y="1038199"/>
                  <a:pt x="3776749" y="1180866"/>
                </a:cubicBezTo>
                <a:lnTo>
                  <a:pt x="3776749" y="1859297"/>
                </a:lnTo>
                <a:cubicBezTo>
                  <a:pt x="3776749" y="1993435"/>
                  <a:pt x="3668199" y="2110515"/>
                  <a:pt x="3525532" y="2110515"/>
                </a:cubicBezTo>
                <a:lnTo>
                  <a:pt x="1105653" y="2110515"/>
                </a:lnTo>
                <a:cubicBezTo>
                  <a:pt x="962986" y="2110515"/>
                  <a:pt x="854436" y="2001185"/>
                  <a:pt x="854436" y="1859297"/>
                </a:cubicBezTo>
                <a:close/>
                <a:moveTo>
                  <a:pt x="1163808" y="1800372"/>
                </a:moveTo>
                <a:lnTo>
                  <a:pt x="3466607" y="1800372"/>
                </a:lnTo>
                <a:lnTo>
                  <a:pt x="3466607" y="1239021"/>
                </a:lnTo>
                <a:lnTo>
                  <a:pt x="1163808" y="1239021"/>
                </a:lnTo>
                <a:lnTo>
                  <a:pt x="1163808" y="1800372"/>
                </a:lnTo>
                <a:lnTo>
                  <a:pt x="1163808" y="1800372"/>
                </a:lnTo>
                <a:close/>
                <a:moveTo>
                  <a:pt x="4790131" y="5300316"/>
                </a:moveTo>
                <a:lnTo>
                  <a:pt x="4781602" y="6573445"/>
                </a:lnTo>
                <a:cubicBezTo>
                  <a:pt x="4781602" y="6833192"/>
                  <a:pt x="4605597" y="6849471"/>
                  <a:pt x="4572260" y="6849471"/>
                </a:cubicBezTo>
                <a:cubicBezTo>
                  <a:pt x="4521864" y="6849471"/>
                  <a:pt x="4463710" y="6832412"/>
                  <a:pt x="4413314" y="6790546"/>
                </a:cubicBezTo>
                <a:lnTo>
                  <a:pt x="3994620" y="6438536"/>
                </a:lnTo>
                <a:lnTo>
                  <a:pt x="3592986" y="6773487"/>
                </a:lnTo>
                <a:cubicBezTo>
                  <a:pt x="3551119" y="6806825"/>
                  <a:pt x="3484436" y="6857230"/>
                  <a:pt x="3408452" y="6857230"/>
                </a:cubicBezTo>
                <a:cubicBezTo>
                  <a:pt x="3316181" y="6857230"/>
                  <a:pt x="3223918" y="6790546"/>
                  <a:pt x="3207639" y="6656416"/>
                </a:cubicBezTo>
                <a:cubicBezTo>
                  <a:pt x="3207639" y="6647887"/>
                  <a:pt x="3207639" y="6647887"/>
                  <a:pt x="3207639" y="6639358"/>
                </a:cubicBezTo>
                <a:lnTo>
                  <a:pt x="3207639" y="6388920"/>
                </a:lnTo>
                <a:lnTo>
                  <a:pt x="410164" y="6388920"/>
                </a:lnTo>
                <a:cubicBezTo>
                  <a:pt x="183763" y="6388920"/>
                  <a:pt x="0" y="6204386"/>
                  <a:pt x="0" y="5978756"/>
                </a:cubicBezTo>
                <a:lnTo>
                  <a:pt x="0" y="410164"/>
                </a:lnTo>
                <a:cubicBezTo>
                  <a:pt x="0" y="183755"/>
                  <a:pt x="184534" y="0"/>
                  <a:pt x="410164" y="0"/>
                </a:cubicBezTo>
                <a:lnTo>
                  <a:pt x="4303993" y="0"/>
                </a:lnTo>
                <a:cubicBezTo>
                  <a:pt x="4530393" y="0"/>
                  <a:pt x="4714156" y="184534"/>
                  <a:pt x="4714156" y="410164"/>
                </a:cubicBezTo>
                <a:lnTo>
                  <a:pt x="4714156" y="3550349"/>
                </a:lnTo>
                <a:cubicBezTo>
                  <a:pt x="4839766" y="3642620"/>
                  <a:pt x="4940557" y="3768220"/>
                  <a:pt x="5015770" y="3910117"/>
                </a:cubicBezTo>
                <a:cubicBezTo>
                  <a:pt x="5266970" y="4379197"/>
                  <a:pt x="5158428" y="4957607"/>
                  <a:pt x="4790131" y="5300316"/>
                </a:cubicBezTo>
                <a:close/>
                <a:moveTo>
                  <a:pt x="4739736" y="4061304"/>
                </a:moveTo>
                <a:cubicBezTo>
                  <a:pt x="4673052" y="3935695"/>
                  <a:pt x="4572260" y="3827145"/>
                  <a:pt x="4455181" y="3751161"/>
                </a:cubicBezTo>
                <a:cubicBezTo>
                  <a:pt x="4430372" y="3734103"/>
                  <a:pt x="4404785" y="3726353"/>
                  <a:pt x="4388497" y="3709295"/>
                </a:cubicBezTo>
                <a:cubicBezTo>
                  <a:pt x="4379968" y="3709295"/>
                  <a:pt x="4371438" y="3700766"/>
                  <a:pt x="4363688" y="3700766"/>
                </a:cubicBezTo>
                <a:cubicBezTo>
                  <a:pt x="4330351" y="3683707"/>
                  <a:pt x="4304763" y="3675957"/>
                  <a:pt x="4271417" y="3658899"/>
                </a:cubicBezTo>
                <a:cubicBezTo>
                  <a:pt x="4271417" y="3658899"/>
                  <a:pt x="4271417" y="3658899"/>
                  <a:pt x="4262888" y="3658899"/>
                </a:cubicBezTo>
                <a:cubicBezTo>
                  <a:pt x="4086883" y="3599974"/>
                  <a:pt x="3886070" y="3599974"/>
                  <a:pt x="3710057" y="3667428"/>
                </a:cubicBezTo>
                <a:lnTo>
                  <a:pt x="3701528" y="3667428"/>
                </a:lnTo>
                <a:cubicBezTo>
                  <a:pt x="3668190" y="3684487"/>
                  <a:pt x="3634844" y="3692236"/>
                  <a:pt x="3600736" y="3717824"/>
                </a:cubicBezTo>
                <a:cubicBezTo>
                  <a:pt x="3316181" y="3868241"/>
                  <a:pt x="3157235" y="4161325"/>
                  <a:pt x="3157235" y="4462939"/>
                </a:cubicBezTo>
                <a:lnTo>
                  <a:pt x="3157235" y="4462939"/>
                </a:lnTo>
                <a:lnTo>
                  <a:pt x="3157235" y="4462939"/>
                </a:lnTo>
                <a:cubicBezTo>
                  <a:pt x="3157235" y="4597077"/>
                  <a:pt x="3190572" y="4731215"/>
                  <a:pt x="3258026" y="4864574"/>
                </a:cubicBezTo>
                <a:cubicBezTo>
                  <a:pt x="3275085" y="4897911"/>
                  <a:pt x="3291364" y="4923499"/>
                  <a:pt x="3316951" y="4956845"/>
                </a:cubicBezTo>
                <a:cubicBezTo>
                  <a:pt x="3325481" y="4965374"/>
                  <a:pt x="3325481" y="4973903"/>
                  <a:pt x="3334010" y="4981653"/>
                </a:cubicBezTo>
                <a:cubicBezTo>
                  <a:pt x="3351068" y="5006462"/>
                  <a:pt x="3367347" y="5023520"/>
                  <a:pt x="3384406" y="5040578"/>
                </a:cubicBezTo>
                <a:cubicBezTo>
                  <a:pt x="3392935" y="5049107"/>
                  <a:pt x="3392935" y="5049107"/>
                  <a:pt x="3401464" y="5057637"/>
                </a:cubicBezTo>
                <a:cubicBezTo>
                  <a:pt x="3426272" y="5082445"/>
                  <a:pt x="3451860" y="5108033"/>
                  <a:pt x="3476677" y="5124320"/>
                </a:cubicBezTo>
                <a:lnTo>
                  <a:pt x="3485206" y="5132850"/>
                </a:lnTo>
                <a:cubicBezTo>
                  <a:pt x="3510015" y="5149908"/>
                  <a:pt x="3527073" y="5166187"/>
                  <a:pt x="3551890" y="5183246"/>
                </a:cubicBezTo>
                <a:lnTo>
                  <a:pt x="3560419" y="5191775"/>
                </a:lnTo>
                <a:cubicBezTo>
                  <a:pt x="3568948" y="5191775"/>
                  <a:pt x="3568948" y="5200304"/>
                  <a:pt x="3577478" y="5200304"/>
                </a:cubicBezTo>
                <a:cubicBezTo>
                  <a:pt x="3586007" y="5200304"/>
                  <a:pt x="3594536" y="5208833"/>
                  <a:pt x="3602286" y="5208833"/>
                </a:cubicBezTo>
                <a:cubicBezTo>
                  <a:pt x="3610815" y="5217363"/>
                  <a:pt x="3627094" y="5217363"/>
                  <a:pt x="3635623" y="5225892"/>
                </a:cubicBezTo>
                <a:cubicBezTo>
                  <a:pt x="3827907" y="5318163"/>
                  <a:pt x="4045787" y="5334442"/>
                  <a:pt x="4255129" y="5276288"/>
                </a:cubicBezTo>
                <a:cubicBezTo>
                  <a:pt x="4263659" y="5276288"/>
                  <a:pt x="4279938" y="5267758"/>
                  <a:pt x="4288467" y="5267758"/>
                </a:cubicBezTo>
                <a:cubicBezTo>
                  <a:pt x="4296996" y="5267758"/>
                  <a:pt x="4296996" y="5267758"/>
                  <a:pt x="4305525" y="5259229"/>
                </a:cubicBezTo>
                <a:cubicBezTo>
                  <a:pt x="4314055" y="5259229"/>
                  <a:pt x="4322584" y="5250700"/>
                  <a:pt x="4330334" y="5250700"/>
                </a:cubicBezTo>
                <a:cubicBezTo>
                  <a:pt x="4355142" y="5242171"/>
                  <a:pt x="4380730" y="5225892"/>
                  <a:pt x="4405546" y="5217363"/>
                </a:cubicBezTo>
                <a:cubicBezTo>
                  <a:pt x="4430355" y="5200304"/>
                  <a:pt x="4455942" y="5192554"/>
                  <a:pt x="4472230" y="5175496"/>
                </a:cubicBezTo>
                <a:cubicBezTo>
                  <a:pt x="4497039" y="5158437"/>
                  <a:pt x="4514097" y="5142158"/>
                  <a:pt x="4538914" y="5125100"/>
                </a:cubicBezTo>
                <a:cubicBezTo>
                  <a:pt x="4840527" y="4865344"/>
                  <a:pt x="4940549" y="4421064"/>
                  <a:pt x="4739736" y="4061304"/>
                </a:cubicBezTo>
                <a:close/>
                <a:moveTo>
                  <a:pt x="3207639" y="6062490"/>
                </a:moveTo>
                <a:lnTo>
                  <a:pt x="3207639" y="5467792"/>
                </a:lnTo>
                <a:lnTo>
                  <a:pt x="1055257" y="5467792"/>
                </a:lnTo>
                <a:cubicBezTo>
                  <a:pt x="971515" y="5467792"/>
                  <a:pt x="904840" y="5401108"/>
                  <a:pt x="904840" y="5317375"/>
                </a:cubicBezTo>
                <a:cubicBezTo>
                  <a:pt x="904840" y="5233633"/>
                  <a:pt x="971524" y="5166958"/>
                  <a:pt x="1055257" y="5166958"/>
                </a:cubicBezTo>
                <a:lnTo>
                  <a:pt x="3073501" y="5166958"/>
                </a:lnTo>
                <a:lnTo>
                  <a:pt x="3073501" y="5166958"/>
                </a:lnTo>
                <a:cubicBezTo>
                  <a:pt x="3064972" y="5149899"/>
                  <a:pt x="3056443" y="5142149"/>
                  <a:pt x="3040164" y="5125091"/>
                </a:cubicBezTo>
                <a:cubicBezTo>
                  <a:pt x="3031635" y="5116562"/>
                  <a:pt x="3023105" y="5108033"/>
                  <a:pt x="3023105" y="5100282"/>
                </a:cubicBezTo>
                <a:cubicBezTo>
                  <a:pt x="3006047" y="5083224"/>
                  <a:pt x="2998297" y="5058416"/>
                  <a:pt x="2981239" y="5033599"/>
                </a:cubicBezTo>
                <a:lnTo>
                  <a:pt x="2972709" y="5025070"/>
                </a:lnTo>
                <a:cubicBezTo>
                  <a:pt x="2955651" y="4991733"/>
                  <a:pt x="2939372" y="4958386"/>
                  <a:pt x="2922313" y="4916519"/>
                </a:cubicBezTo>
                <a:lnTo>
                  <a:pt x="2922313" y="4916519"/>
                </a:lnTo>
                <a:cubicBezTo>
                  <a:pt x="2888976" y="4824248"/>
                  <a:pt x="2863388" y="4731986"/>
                  <a:pt x="2847101" y="4640493"/>
                </a:cubicBezTo>
                <a:lnTo>
                  <a:pt x="1055257" y="4640493"/>
                </a:lnTo>
                <a:cubicBezTo>
                  <a:pt x="971515" y="4640493"/>
                  <a:pt x="904840" y="4573810"/>
                  <a:pt x="904840" y="4490077"/>
                </a:cubicBezTo>
                <a:cubicBezTo>
                  <a:pt x="904840" y="4406335"/>
                  <a:pt x="971524" y="4339660"/>
                  <a:pt x="1055257" y="4339660"/>
                </a:cubicBezTo>
                <a:lnTo>
                  <a:pt x="2847101" y="4339660"/>
                </a:lnTo>
                <a:cubicBezTo>
                  <a:pt x="2855630" y="4280734"/>
                  <a:pt x="2864159" y="4222580"/>
                  <a:pt x="2880438" y="4163655"/>
                </a:cubicBezTo>
                <a:cubicBezTo>
                  <a:pt x="2922305" y="4038046"/>
                  <a:pt x="2981230" y="3920966"/>
                  <a:pt x="3056443" y="3820174"/>
                </a:cubicBezTo>
                <a:lnTo>
                  <a:pt x="1055257" y="3820174"/>
                </a:lnTo>
                <a:cubicBezTo>
                  <a:pt x="971515" y="3820174"/>
                  <a:pt x="904840" y="3753491"/>
                  <a:pt x="904840" y="3669757"/>
                </a:cubicBezTo>
                <a:cubicBezTo>
                  <a:pt x="904840" y="3586024"/>
                  <a:pt x="971524" y="3519341"/>
                  <a:pt x="1055257" y="3519341"/>
                </a:cubicBezTo>
                <a:lnTo>
                  <a:pt x="3391394" y="3519341"/>
                </a:lnTo>
                <a:cubicBezTo>
                  <a:pt x="3408452" y="3510811"/>
                  <a:pt x="3424731" y="3502282"/>
                  <a:pt x="3441790" y="3486003"/>
                </a:cubicBezTo>
                <a:cubicBezTo>
                  <a:pt x="3475127" y="3468945"/>
                  <a:pt x="3508473" y="3452665"/>
                  <a:pt x="3550340" y="3435607"/>
                </a:cubicBezTo>
                <a:lnTo>
                  <a:pt x="3558869" y="3435607"/>
                </a:lnTo>
                <a:cubicBezTo>
                  <a:pt x="3693007" y="3376682"/>
                  <a:pt x="3843424" y="3351865"/>
                  <a:pt x="3994620" y="3351865"/>
                </a:cubicBezTo>
                <a:cubicBezTo>
                  <a:pt x="4137288" y="3351865"/>
                  <a:pt x="4270646" y="3376673"/>
                  <a:pt x="4396255" y="3427078"/>
                </a:cubicBezTo>
                <a:lnTo>
                  <a:pt x="4396255" y="3427078"/>
                </a:lnTo>
                <a:lnTo>
                  <a:pt x="4396255" y="410164"/>
                </a:lnTo>
                <a:cubicBezTo>
                  <a:pt x="4396255" y="351239"/>
                  <a:pt x="4354389" y="309372"/>
                  <a:pt x="4295464" y="309372"/>
                </a:cubicBezTo>
                <a:lnTo>
                  <a:pt x="410164" y="309372"/>
                </a:lnTo>
                <a:cubicBezTo>
                  <a:pt x="351239" y="309372"/>
                  <a:pt x="309372" y="351239"/>
                  <a:pt x="309372" y="410164"/>
                </a:cubicBezTo>
                <a:lnTo>
                  <a:pt x="309372" y="5953939"/>
                </a:lnTo>
                <a:cubicBezTo>
                  <a:pt x="309372" y="6012864"/>
                  <a:pt x="351239" y="6054731"/>
                  <a:pt x="410164" y="6054731"/>
                </a:cubicBezTo>
                <a:lnTo>
                  <a:pt x="3206860" y="6054731"/>
                </a:lnTo>
                <a:lnTo>
                  <a:pt x="3206860" y="6062481"/>
                </a:lnTo>
                <a:lnTo>
                  <a:pt x="3207639" y="6062481"/>
                </a:lnTo>
                <a:close/>
                <a:moveTo>
                  <a:pt x="4479989" y="5518188"/>
                </a:moveTo>
                <a:cubicBezTo>
                  <a:pt x="4471459" y="5518188"/>
                  <a:pt x="4471459" y="5518188"/>
                  <a:pt x="4462930" y="5526717"/>
                </a:cubicBezTo>
                <a:cubicBezTo>
                  <a:pt x="4462930" y="5526717"/>
                  <a:pt x="4454401" y="5526717"/>
                  <a:pt x="4454401" y="5535246"/>
                </a:cubicBezTo>
                <a:lnTo>
                  <a:pt x="4445872" y="5535246"/>
                </a:lnTo>
                <a:cubicBezTo>
                  <a:pt x="4428813" y="5543776"/>
                  <a:pt x="4412534" y="5543776"/>
                  <a:pt x="4395476" y="5552305"/>
                </a:cubicBezTo>
                <a:cubicBezTo>
                  <a:pt x="4386947" y="5552305"/>
                  <a:pt x="4386947" y="5552305"/>
                  <a:pt x="4378417" y="5560834"/>
                </a:cubicBezTo>
                <a:cubicBezTo>
                  <a:pt x="4369888" y="5560834"/>
                  <a:pt x="4361359" y="5569363"/>
                  <a:pt x="4353609" y="5569363"/>
                </a:cubicBezTo>
                <a:cubicBezTo>
                  <a:pt x="4353609" y="5569363"/>
                  <a:pt x="4353609" y="5569363"/>
                  <a:pt x="4345080" y="5569363"/>
                </a:cubicBezTo>
                <a:cubicBezTo>
                  <a:pt x="4345080" y="5569363"/>
                  <a:pt x="4345080" y="5569363"/>
                  <a:pt x="4336551" y="5569363"/>
                </a:cubicBezTo>
                <a:cubicBezTo>
                  <a:pt x="4328022" y="5569363"/>
                  <a:pt x="4328022" y="5569363"/>
                  <a:pt x="4319492" y="5577892"/>
                </a:cubicBezTo>
                <a:lnTo>
                  <a:pt x="4310963" y="5577892"/>
                </a:lnTo>
                <a:cubicBezTo>
                  <a:pt x="4302434" y="5577892"/>
                  <a:pt x="4293905" y="5577892"/>
                  <a:pt x="4286155" y="5586421"/>
                </a:cubicBezTo>
                <a:cubicBezTo>
                  <a:pt x="4277626" y="5586421"/>
                  <a:pt x="4261347" y="5594950"/>
                  <a:pt x="4244288" y="5594950"/>
                </a:cubicBezTo>
                <a:cubicBezTo>
                  <a:pt x="4235759" y="5594950"/>
                  <a:pt x="4219480" y="5603480"/>
                  <a:pt x="4210951" y="5603480"/>
                </a:cubicBezTo>
                <a:lnTo>
                  <a:pt x="4210951" y="5603480"/>
                </a:lnTo>
                <a:lnTo>
                  <a:pt x="4210951" y="5603480"/>
                </a:lnTo>
                <a:cubicBezTo>
                  <a:pt x="4193892" y="5603480"/>
                  <a:pt x="4177613" y="5612009"/>
                  <a:pt x="4152026" y="5612009"/>
                </a:cubicBezTo>
                <a:cubicBezTo>
                  <a:pt x="4143496" y="5612009"/>
                  <a:pt x="4127217" y="5612009"/>
                  <a:pt x="4118688" y="5620538"/>
                </a:cubicBezTo>
                <a:lnTo>
                  <a:pt x="4110159" y="5620538"/>
                </a:lnTo>
                <a:cubicBezTo>
                  <a:pt x="4101630" y="5620538"/>
                  <a:pt x="4101630" y="5620538"/>
                  <a:pt x="4093101" y="5620538"/>
                </a:cubicBezTo>
                <a:lnTo>
                  <a:pt x="4093101" y="5620538"/>
                </a:lnTo>
                <a:cubicBezTo>
                  <a:pt x="4084571" y="5620538"/>
                  <a:pt x="4084571" y="5620538"/>
                  <a:pt x="4076042" y="5620538"/>
                </a:cubicBezTo>
                <a:cubicBezTo>
                  <a:pt x="4051234" y="5620538"/>
                  <a:pt x="4025646" y="5620538"/>
                  <a:pt x="4009358" y="5620538"/>
                </a:cubicBezTo>
                <a:lnTo>
                  <a:pt x="4009358" y="5620538"/>
                </a:lnTo>
                <a:lnTo>
                  <a:pt x="4009358" y="5620538"/>
                </a:lnTo>
                <a:cubicBezTo>
                  <a:pt x="4000829" y="5620538"/>
                  <a:pt x="4000829" y="5620538"/>
                  <a:pt x="3992300" y="5620538"/>
                </a:cubicBezTo>
                <a:cubicBezTo>
                  <a:pt x="3983771" y="5620538"/>
                  <a:pt x="3983771" y="5620538"/>
                  <a:pt x="3975242" y="5620538"/>
                </a:cubicBezTo>
                <a:lnTo>
                  <a:pt x="3975242" y="5620538"/>
                </a:lnTo>
                <a:lnTo>
                  <a:pt x="3975242" y="5620538"/>
                </a:lnTo>
                <a:cubicBezTo>
                  <a:pt x="3950433" y="5620538"/>
                  <a:pt x="3916317" y="5620538"/>
                  <a:pt x="3891499" y="5612009"/>
                </a:cubicBezTo>
                <a:lnTo>
                  <a:pt x="3891499" y="5612009"/>
                </a:lnTo>
                <a:lnTo>
                  <a:pt x="3891499" y="5612009"/>
                </a:lnTo>
                <a:lnTo>
                  <a:pt x="3891499" y="5612009"/>
                </a:lnTo>
                <a:lnTo>
                  <a:pt x="3882970" y="5612009"/>
                </a:lnTo>
                <a:lnTo>
                  <a:pt x="3874441" y="5612009"/>
                </a:lnTo>
                <a:cubicBezTo>
                  <a:pt x="3765891" y="5603480"/>
                  <a:pt x="3656570" y="5570142"/>
                  <a:pt x="3564298" y="5528267"/>
                </a:cubicBezTo>
                <a:lnTo>
                  <a:pt x="3564298" y="5528267"/>
                </a:lnTo>
                <a:lnTo>
                  <a:pt x="3564298" y="5528267"/>
                </a:lnTo>
                <a:cubicBezTo>
                  <a:pt x="3555769" y="5519738"/>
                  <a:pt x="3539490" y="5519738"/>
                  <a:pt x="3530961" y="5511209"/>
                </a:cubicBezTo>
                <a:lnTo>
                  <a:pt x="3530961" y="5511209"/>
                </a:lnTo>
                <a:lnTo>
                  <a:pt x="3522432" y="6423799"/>
                </a:lnTo>
                <a:lnTo>
                  <a:pt x="3899249" y="6105906"/>
                </a:lnTo>
                <a:cubicBezTo>
                  <a:pt x="3924058" y="6081098"/>
                  <a:pt x="3965933" y="6072569"/>
                  <a:pt x="4000050" y="6072569"/>
                </a:cubicBezTo>
                <a:cubicBezTo>
                  <a:pt x="4034167" y="6072569"/>
                  <a:pt x="4075263" y="6081098"/>
                  <a:pt x="4100850" y="6105906"/>
                </a:cubicBezTo>
                <a:lnTo>
                  <a:pt x="4477668" y="6423799"/>
                </a:lnTo>
                <a:lnTo>
                  <a:pt x="4479989" y="5518188"/>
                </a:ln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0" name="Forma libre 370">
            <a:extLst>
              <a:ext uri="{FF2B5EF4-FFF2-40B4-BE49-F238E27FC236}">
                <a16:creationId xmlns:a16="http://schemas.microsoft.com/office/drawing/2014/main" xmlns="" id="{CD494928-9588-A449-9570-B896E5B31D17}"/>
              </a:ext>
            </a:extLst>
          </p:cNvPr>
          <p:cNvSpPr/>
          <p:nvPr/>
        </p:nvSpPr>
        <p:spPr>
          <a:xfrm>
            <a:off x="5719647" y="4641866"/>
            <a:ext cx="301185" cy="322381"/>
          </a:xfrm>
          <a:custGeom>
            <a:avLst/>
            <a:gdLst>
              <a:gd name="connsiteX0" fmla="*/ 4017333 w 5816813"/>
              <a:gd name="connsiteY0" fmla="*/ 717429 h 6226179"/>
              <a:gd name="connsiteX1" fmla="*/ 4184079 w 5816813"/>
              <a:gd name="connsiteY1" fmla="*/ 437184 h 6226179"/>
              <a:gd name="connsiteX2" fmla="*/ 4373244 w 5816813"/>
              <a:gd name="connsiteY2" fmla="*/ 383938 h 6226179"/>
              <a:gd name="connsiteX3" fmla="*/ 4426491 w 5816813"/>
              <a:gd name="connsiteY3" fmla="*/ 573104 h 6226179"/>
              <a:gd name="connsiteX4" fmla="*/ 4259745 w 5816813"/>
              <a:gd name="connsiteY4" fmla="*/ 853348 h 6226179"/>
              <a:gd name="connsiteX5" fmla="*/ 4138534 w 5816813"/>
              <a:gd name="connsiteY5" fmla="*/ 921313 h 6226179"/>
              <a:gd name="connsiteX6" fmla="*/ 4070579 w 5816813"/>
              <a:gd name="connsiteY6" fmla="*/ 905900 h 6226179"/>
              <a:gd name="connsiteX7" fmla="*/ 4017333 w 5816813"/>
              <a:gd name="connsiteY7" fmla="*/ 717429 h 6226179"/>
              <a:gd name="connsiteX8" fmla="*/ 1565875 w 5816813"/>
              <a:gd name="connsiteY8" fmla="*/ 854053 h 6226179"/>
              <a:gd name="connsiteX9" fmla="*/ 1687085 w 5816813"/>
              <a:gd name="connsiteY9" fmla="*/ 922017 h 6226179"/>
              <a:gd name="connsiteX10" fmla="*/ 1755050 w 5816813"/>
              <a:gd name="connsiteY10" fmla="*/ 906604 h 6226179"/>
              <a:gd name="connsiteX11" fmla="*/ 1808296 w 5816813"/>
              <a:gd name="connsiteY11" fmla="*/ 717439 h 6226179"/>
              <a:gd name="connsiteX12" fmla="*/ 1641550 w 5816813"/>
              <a:gd name="connsiteY12" fmla="*/ 437194 h 6226179"/>
              <a:gd name="connsiteX13" fmla="*/ 1452385 w 5816813"/>
              <a:gd name="connsiteY13" fmla="*/ 383948 h 6226179"/>
              <a:gd name="connsiteX14" fmla="*/ 1399139 w 5816813"/>
              <a:gd name="connsiteY14" fmla="*/ 573113 h 6226179"/>
              <a:gd name="connsiteX15" fmla="*/ 1565875 w 5816813"/>
              <a:gd name="connsiteY15" fmla="*/ 854053 h 6226179"/>
              <a:gd name="connsiteX16" fmla="*/ 2912462 w 5816813"/>
              <a:gd name="connsiteY16" fmla="*/ 596923 h 6226179"/>
              <a:gd name="connsiteX17" fmla="*/ 3048381 w 5816813"/>
              <a:gd name="connsiteY17" fmla="*/ 461004 h 6226179"/>
              <a:gd name="connsiteX18" fmla="*/ 3048381 w 5816813"/>
              <a:gd name="connsiteY18" fmla="*/ 135919 h 6226179"/>
              <a:gd name="connsiteX19" fmla="*/ 2912462 w 5816813"/>
              <a:gd name="connsiteY19" fmla="*/ 0 h 6226179"/>
              <a:gd name="connsiteX20" fmla="*/ 2776543 w 5816813"/>
              <a:gd name="connsiteY20" fmla="*/ 135919 h 6226179"/>
              <a:gd name="connsiteX21" fmla="*/ 2776543 w 5816813"/>
              <a:gd name="connsiteY21" fmla="*/ 461004 h 6226179"/>
              <a:gd name="connsiteX22" fmla="*/ 2912462 w 5816813"/>
              <a:gd name="connsiteY22" fmla="*/ 596923 h 6226179"/>
              <a:gd name="connsiteX23" fmla="*/ 461004 w 5816813"/>
              <a:gd name="connsiteY23" fmla="*/ 2768137 h 6226179"/>
              <a:gd name="connsiteX24" fmla="*/ 135919 w 5816813"/>
              <a:gd name="connsiteY24" fmla="*/ 2768137 h 6226179"/>
              <a:gd name="connsiteX25" fmla="*/ 0 w 5816813"/>
              <a:gd name="connsiteY25" fmla="*/ 2904056 h 6226179"/>
              <a:gd name="connsiteX26" fmla="*/ 135919 w 5816813"/>
              <a:gd name="connsiteY26" fmla="*/ 3039975 h 6226179"/>
              <a:gd name="connsiteX27" fmla="*/ 461004 w 5816813"/>
              <a:gd name="connsiteY27" fmla="*/ 3039975 h 6226179"/>
              <a:gd name="connsiteX28" fmla="*/ 596923 w 5816813"/>
              <a:gd name="connsiteY28" fmla="*/ 2904056 h 6226179"/>
              <a:gd name="connsiteX29" fmla="*/ 461004 w 5816813"/>
              <a:gd name="connsiteY29" fmla="*/ 2768137 h 6226179"/>
              <a:gd name="connsiteX30" fmla="*/ 5689710 w 5816813"/>
              <a:gd name="connsiteY30" fmla="*/ 2768137 h 6226179"/>
              <a:gd name="connsiteX31" fmla="*/ 5364626 w 5816813"/>
              <a:gd name="connsiteY31" fmla="*/ 2768137 h 6226179"/>
              <a:gd name="connsiteX32" fmla="*/ 5228706 w 5816813"/>
              <a:gd name="connsiteY32" fmla="*/ 2904056 h 6226179"/>
              <a:gd name="connsiteX33" fmla="*/ 5364626 w 5816813"/>
              <a:gd name="connsiteY33" fmla="*/ 3039975 h 6226179"/>
              <a:gd name="connsiteX34" fmla="*/ 5689710 w 5816813"/>
              <a:gd name="connsiteY34" fmla="*/ 3039975 h 6226179"/>
              <a:gd name="connsiteX35" fmla="*/ 5825629 w 5816813"/>
              <a:gd name="connsiteY35" fmla="*/ 2904056 h 6226179"/>
              <a:gd name="connsiteX36" fmla="*/ 5689710 w 5816813"/>
              <a:gd name="connsiteY36" fmla="*/ 2768137 h 6226179"/>
              <a:gd name="connsiteX37" fmla="*/ 5439587 w 5816813"/>
              <a:gd name="connsiteY37" fmla="*/ 1451681 h 6226179"/>
              <a:gd name="connsiteX38" fmla="*/ 5250422 w 5816813"/>
              <a:gd name="connsiteY38" fmla="*/ 1398434 h 6226179"/>
              <a:gd name="connsiteX39" fmla="*/ 4970177 w 5816813"/>
              <a:gd name="connsiteY39" fmla="*/ 1565180 h 6226179"/>
              <a:gd name="connsiteX40" fmla="*/ 4916931 w 5816813"/>
              <a:gd name="connsiteY40" fmla="*/ 1754345 h 6226179"/>
              <a:gd name="connsiteX41" fmla="*/ 5038141 w 5816813"/>
              <a:gd name="connsiteY41" fmla="*/ 1822310 h 6226179"/>
              <a:gd name="connsiteX42" fmla="*/ 5106096 w 5816813"/>
              <a:gd name="connsiteY42" fmla="*/ 1806896 h 6226179"/>
              <a:gd name="connsiteX43" fmla="*/ 5386341 w 5816813"/>
              <a:gd name="connsiteY43" fmla="*/ 1640151 h 6226179"/>
              <a:gd name="connsiteX44" fmla="*/ 5439587 w 5816813"/>
              <a:gd name="connsiteY44" fmla="*/ 1451681 h 6226179"/>
              <a:gd name="connsiteX45" fmla="*/ 4698339 w 5816813"/>
              <a:gd name="connsiteY45" fmla="*/ 2889347 h 6226179"/>
              <a:gd name="connsiteX46" fmla="*/ 4463629 w 5816813"/>
              <a:gd name="connsiteY46" fmla="*/ 3774931 h 6226179"/>
              <a:gd name="connsiteX47" fmla="*/ 4433497 w 5816813"/>
              <a:gd name="connsiteY47" fmla="*/ 3828177 h 6226179"/>
              <a:gd name="connsiteX48" fmla="*/ 4418084 w 5816813"/>
              <a:gd name="connsiteY48" fmla="*/ 3850597 h 6226179"/>
              <a:gd name="connsiteX49" fmla="*/ 4221207 w 5816813"/>
              <a:gd name="connsiteY49" fmla="*/ 4107727 h 6226179"/>
              <a:gd name="connsiteX50" fmla="*/ 3827463 w 5816813"/>
              <a:gd name="connsiteY50" fmla="*/ 5000317 h 6226179"/>
              <a:gd name="connsiteX51" fmla="*/ 3827463 w 5816813"/>
              <a:gd name="connsiteY51" fmla="*/ 5008029 h 6226179"/>
              <a:gd name="connsiteX52" fmla="*/ 3835175 w 5816813"/>
              <a:gd name="connsiteY52" fmla="*/ 5068282 h 6226179"/>
              <a:gd name="connsiteX53" fmla="*/ 3835175 w 5816813"/>
              <a:gd name="connsiteY53" fmla="*/ 5719156 h 6226179"/>
              <a:gd name="connsiteX54" fmla="*/ 3320925 w 5816813"/>
              <a:gd name="connsiteY54" fmla="*/ 6233406 h 6226179"/>
              <a:gd name="connsiteX55" fmla="*/ 2481590 w 5816813"/>
              <a:gd name="connsiteY55" fmla="*/ 6233406 h 6226179"/>
              <a:gd name="connsiteX56" fmla="*/ 1967340 w 5816813"/>
              <a:gd name="connsiteY56" fmla="*/ 5719156 h 6226179"/>
              <a:gd name="connsiteX57" fmla="*/ 1967340 w 5816813"/>
              <a:gd name="connsiteY57" fmla="*/ 5068282 h 6226179"/>
              <a:gd name="connsiteX58" fmla="*/ 1967340 w 5816813"/>
              <a:gd name="connsiteY58" fmla="*/ 5030449 h 6226179"/>
              <a:gd name="connsiteX59" fmla="*/ 1967340 w 5816813"/>
              <a:gd name="connsiteY59" fmla="*/ 5000327 h 6226179"/>
              <a:gd name="connsiteX60" fmla="*/ 1589009 w 5816813"/>
              <a:gd name="connsiteY60" fmla="*/ 4130157 h 6226179"/>
              <a:gd name="connsiteX61" fmla="*/ 1362010 w 5816813"/>
              <a:gd name="connsiteY61" fmla="*/ 3827492 h 6226179"/>
              <a:gd name="connsiteX62" fmla="*/ 1339590 w 5816813"/>
              <a:gd name="connsiteY62" fmla="*/ 3789659 h 6226179"/>
              <a:gd name="connsiteX63" fmla="*/ 1097179 w 5816813"/>
              <a:gd name="connsiteY63" fmla="*/ 2897068 h 6226179"/>
              <a:gd name="connsiteX64" fmla="*/ 2897763 w 5816813"/>
              <a:gd name="connsiteY64" fmla="*/ 1096484 h 6226179"/>
              <a:gd name="connsiteX65" fmla="*/ 4698339 w 5816813"/>
              <a:gd name="connsiteY65" fmla="*/ 2889347 h 6226179"/>
              <a:gd name="connsiteX66" fmla="*/ 3555625 w 5816813"/>
              <a:gd name="connsiteY66" fmla="*/ 5143929 h 6226179"/>
              <a:gd name="connsiteX67" fmla="*/ 2246880 w 5816813"/>
              <a:gd name="connsiteY67" fmla="*/ 5143929 h 6226179"/>
              <a:gd name="connsiteX68" fmla="*/ 2246880 w 5816813"/>
              <a:gd name="connsiteY68" fmla="*/ 5401059 h 6226179"/>
              <a:gd name="connsiteX69" fmla="*/ 3555625 w 5816813"/>
              <a:gd name="connsiteY69" fmla="*/ 5401059 h 6226179"/>
              <a:gd name="connsiteX70" fmla="*/ 3555625 w 5816813"/>
              <a:gd name="connsiteY70" fmla="*/ 5143929 h 6226179"/>
              <a:gd name="connsiteX71" fmla="*/ 3555625 w 5816813"/>
              <a:gd name="connsiteY71" fmla="*/ 5143929 h 6226179"/>
              <a:gd name="connsiteX72" fmla="*/ 3555625 w 5816813"/>
              <a:gd name="connsiteY72" fmla="*/ 5734550 h 6226179"/>
              <a:gd name="connsiteX73" fmla="*/ 3555625 w 5816813"/>
              <a:gd name="connsiteY73" fmla="*/ 5681304 h 6226179"/>
              <a:gd name="connsiteX74" fmla="*/ 2246880 w 5816813"/>
              <a:gd name="connsiteY74" fmla="*/ 5681304 h 6226179"/>
              <a:gd name="connsiteX75" fmla="*/ 2246880 w 5816813"/>
              <a:gd name="connsiteY75" fmla="*/ 5734550 h 6226179"/>
              <a:gd name="connsiteX76" fmla="*/ 2481590 w 5816813"/>
              <a:gd name="connsiteY76" fmla="*/ 5946135 h 6226179"/>
              <a:gd name="connsiteX77" fmla="*/ 3321629 w 5816813"/>
              <a:gd name="connsiteY77" fmla="*/ 5946135 h 6226179"/>
              <a:gd name="connsiteX78" fmla="*/ 3555625 w 5816813"/>
              <a:gd name="connsiteY78" fmla="*/ 5734550 h 6226179"/>
              <a:gd name="connsiteX79" fmla="*/ 4418084 w 5816813"/>
              <a:gd name="connsiteY79" fmla="*/ 2889347 h 6226179"/>
              <a:gd name="connsiteX80" fmla="*/ 2897040 w 5816813"/>
              <a:gd name="connsiteY80" fmla="*/ 1368303 h 6226179"/>
              <a:gd name="connsiteX81" fmla="*/ 1376005 w 5816813"/>
              <a:gd name="connsiteY81" fmla="*/ 2889347 h 6226179"/>
              <a:gd name="connsiteX82" fmla="*/ 1587590 w 5816813"/>
              <a:gd name="connsiteY82" fmla="*/ 3661432 h 6226179"/>
              <a:gd name="connsiteX83" fmla="*/ 1587590 w 5816813"/>
              <a:gd name="connsiteY83" fmla="*/ 3661432 h 6226179"/>
              <a:gd name="connsiteX84" fmla="*/ 1587590 w 5816813"/>
              <a:gd name="connsiteY84" fmla="*/ 3669134 h 6226179"/>
              <a:gd name="connsiteX85" fmla="*/ 1792169 w 5816813"/>
              <a:gd name="connsiteY85" fmla="*/ 3941677 h 6226179"/>
              <a:gd name="connsiteX86" fmla="*/ 1807582 w 5816813"/>
              <a:gd name="connsiteY86" fmla="*/ 3957090 h 6226179"/>
              <a:gd name="connsiteX87" fmla="*/ 2239159 w 5816813"/>
              <a:gd name="connsiteY87" fmla="*/ 4865093 h 6226179"/>
              <a:gd name="connsiteX88" fmla="*/ 3563336 w 5816813"/>
              <a:gd name="connsiteY88" fmla="*/ 4865093 h 6226179"/>
              <a:gd name="connsiteX89" fmla="*/ 4009631 w 5816813"/>
              <a:gd name="connsiteY89" fmla="*/ 3934670 h 6226179"/>
              <a:gd name="connsiteX90" fmla="*/ 4025045 w 5816813"/>
              <a:gd name="connsiteY90" fmla="*/ 3919257 h 6226179"/>
              <a:gd name="connsiteX91" fmla="*/ 4198797 w 5816813"/>
              <a:gd name="connsiteY91" fmla="*/ 3684547 h 6226179"/>
              <a:gd name="connsiteX92" fmla="*/ 4206508 w 5816813"/>
              <a:gd name="connsiteY92" fmla="*/ 3669134 h 6226179"/>
              <a:gd name="connsiteX93" fmla="*/ 4214220 w 5816813"/>
              <a:gd name="connsiteY93" fmla="*/ 3653720 h 6226179"/>
              <a:gd name="connsiteX94" fmla="*/ 4418084 w 5816813"/>
              <a:gd name="connsiteY94" fmla="*/ 2889347 h 6226179"/>
              <a:gd name="connsiteX95" fmla="*/ 854748 w 5816813"/>
              <a:gd name="connsiteY95" fmla="*/ 1565180 h 6226179"/>
              <a:gd name="connsiteX96" fmla="*/ 574503 w 5816813"/>
              <a:gd name="connsiteY96" fmla="*/ 1398434 h 6226179"/>
              <a:gd name="connsiteX97" fmla="*/ 385338 w 5816813"/>
              <a:gd name="connsiteY97" fmla="*/ 1451681 h 6226179"/>
              <a:gd name="connsiteX98" fmla="*/ 438584 w 5816813"/>
              <a:gd name="connsiteY98" fmla="*/ 1640846 h 6226179"/>
              <a:gd name="connsiteX99" fmla="*/ 718829 w 5816813"/>
              <a:gd name="connsiteY99" fmla="*/ 1807591 h 6226179"/>
              <a:gd name="connsiteX100" fmla="*/ 786793 w 5816813"/>
              <a:gd name="connsiteY100" fmla="*/ 1823005 h 6226179"/>
              <a:gd name="connsiteX101" fmla="*/ 908004 w 5816813"/>
              <a:gd name="connsiteY101" fmla="*/ 1755040 h 6226179"/>
              <a:gd name="connsiteX102" fmla="*/ 854748 w 5816813"/>
              <a:gd name="connsiteY102" fmla="*/ 1565180 h 6226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5816813" h="6226179">
                <a:moveTo>
                  <a:pt x="4017333" y="717429"/>
                </a:moveTo>
                <a:lnTo>
                  <a:pt x="4184079" y="437184"/>
                </a:lnTo>
                <a:cubicBezTo>
                  <a:pt x="4221912" y="369220"/>
                  <a:pt x="4305289" y="346105"/>
                  <a:pt x="4373244" y="383938"/>
                </a:cubicBezTo>
                <a:cubicBezTo>
                  <a:pt x="4441199" y="421771"/>
                  <a:pt x="4464324" y="505149"/>
                  <a:pt x="4426491" y="573104"/>
                </a:cubicBezTo>
                <a:lnTo>
                  <a:pt x="4259745" y="853348"/>
                </a:lnTo>
                <a:cubicBezTo>
                  <a:pt x="4237325" y="898893"/>
                  <a:pt x="4184079" y="921313"/>
                  <a:pt x="4138534" y="921313"/>
                </a:cubicBezTo>
                <a:cubicBezTo>
                  <a:pt x="4116114" y="921313"/>
                  <a:pt x="4092990" y="913601"/>
                  <a:pt x="4070579" y="905900"/>
                </a:cubicBezTo>
                <a:cubicBezTo>
                  <a:pt x="4001920" y="868762"/>
                  <a:pt x="3979500" y="786089"/>
                  <a:pt x="4017333" y="717429"/>
                </a:cubicBezTo>
                <a:close/>
                <a:moveTo>
                  <a:pt x="1565875" y="854053"/>
                </a:moveTo>
                <a:cubicBezTo>
                  <a:pt x="1588295" y="899597"/>
                  <a:pt x="1641541" y="922017"/>
                  <a:pt x="1687085" y="922017"/>
                </a:cubicBezTo>
                <a:cubicBezTo>
                  <a:pt x="1709505" y="922017"/>
                  <a:pt x="1732630" y="914306"/>
                  <a:pt x="1755050" y="906604"/>
                </a:cubicBezTo>
                <a:cubicBezTo>
                  <a:pt x="1823014" y="868771"/>
                  <a:pt x="1846129" y="785394"/>
                  <a:pt x="1808296" y="717439"/>
                </a:cubicBezTo>
                <a:lnTo>
                  <a:pt x="1641550" y="437194"/>
                </a:lnTo>
                <a:cubicBezTo>
                  <a:pt x="1603717" y="369230"/>
                  <a:pt x="1520340" y="346115"/>
                  <a:pt x="1452385" y="383948"/>
                </a:cubicBezTo>
                <a:cubicBezTo>
                  <a:pt x="1384430" y="421781"/>
                  <a:pt x="1361306" y="505158"/>
                  <a:pt x="1399139" y="573113"/>
                </a:cubicBezTo>
                <a:lnTo>
                  <a:pt x="1565875" y="854053"/>
                </a:lnTo>
                <a:close/>
                <a:moveTo>
                  <a:pt x="2912462" y="596923"/>
                </a:moveTo>
                <a:cubicBezTo>
                  <a:pt x="2988129" y="596923"/>
                  <a:pt x="3048381" y="536670"/>
                  <a:pt x="3048381" y="461004"/>
                </a:cubicBezTo>
                <a:lnTo>
                  <a:pt x="3048381" y="135919"/>
                </a:lnTo>
                <a:cubicBezTo>
                  <a:pt x="3048381" y="60253"/>
                  <a:pt x="2988129" y="0"/>
                  <a:pt x="2912462" y="0"/>
                </a:cubicBezTo>
                <a:cubicBezTo>
                  <a:pt x="2836796" y="0"/>
                  <a:pt x="2776543" y="60253"/>
                  <a:pt x="2776543" y="135919"/>
                </a:cubicBezTo>
                <a:lnTo>
                  <a:pt x="2776543" y="461004"/>
                </a:lnTo>
                <a:cubicBezTo>
                  <a:pt x="2768832" y="535975"/>
                  <a:pt x="2829085" y="596923"/>
                  <a:pt x="2912462" y="596923"/>
                </a:cubicBezTo>
                <a:close/>
                <a:moveTo>
                  <a:pt x="461004" y="2768137"/>
                </a:moveTo>
                <a:lnTo>
                  <a:pt x="135919" y="2768137"/>
                </a:lnTo>
                <a:cubicBezTo>
                  <a:pt x="60253" y="2768137"/>
                  <a:pt x="0" y="2828390"/>
                  <a:pt x="0" y="2904056"/>
                </a:cubicBezTo>
                <a:cubicBezTo>
                  <a:pt x="0" y="2979722"/>
                  <a:pt x="60253" y="3039975"/>
                  <a:pt x="135919" y="3039975"/>
                </a:cubicBezTo>
                <a:lnTo>
                  <a:pt x="461004" y="3039975"/>
                </a:lnTo>
                <a:cubicBezTo>
                  <a:pt x="536670" y="3039975"/>
                  <a:pt x="596923" y="2979722"/>
                  <a:pt x="596923" y="2904056"/>
                </a:cubicBezTo>
                <a:cubicBezTo>
                  <a:pt x="596923" y="2828390"/>
                  <a:pt x="536670" y="2768137"/>
                  <a:pt x="461004" y="2768137"/>
                </a:cubicBezTo>
                <a:close/>
                <a:moveTo>
                  <a:pt x="5689710" y="2768137"/>
                </a:moveTo>
                <a:lnTo>
                  <a:pt x="5364626" y="2768137"/>
                </a:lnTo>
                <a:cubicBezTo>
                  <a:pt x="5288959" y="2768137"/>
                  <a:pt x="5228706" y="2828390"/>
                  <a:pt x="5228706" y="2904056"/>
                </a:cubicBezTo>
                <a:cubicBezTo>
                  <a:pt x="5228706" y="2979722"/>
                  <a:pt x="5288959" y="3039975"/>
                  <a:pt x="5364626" y="3039975"/>
                </a:cubicBezTo>
                <a:lnTo>
                  <a:pt x="5689710" y="3039975"/>
                </a:lnTo>
                <a:cubicBezTo>
                  <a:pt x="5765376" y="3039975"/>
                  <a:pt x="5825629" y="2979722"/>
                  <a:pt x="5825629" y="2904056"/>
                </a:cubicBezTo>
                <a:cubicBezTo>
                  <a:pt x="5825629" y="2828390"/>
                  <a:pt x="5765376" y="2768137"/>
                  <a:pt x="5689710" y="2768137"/>
                </a:cubicBezTo>
                <a:close/>
                <a:moveTo>
                  <a:pt x="5439587" y="1451681"/>
                </a:moveTo>
                <a:cubicBezTo>
                  <a:pt x="5401754" y="1383716"/>
                  <a:pt x="5318376" y="1360601"/>
                  <a:pt x="5250422" y="1398434"/>
                </a:cubicBezTo>
                <a:lnTo>
                  <a:pt x="4970177" y="1565180"/>
                </a:lnTo>
                <a:cubicBezTo>
                  <a:pt x="4902222" y="1603013"/>
                  <a:pt x="4879098" y="1686390"/>
                  <a:pt x="4916931" y="1754345"/>
                </a:cubicBezTo>
                <a:cubicBezTo>
                  <a:pt x="4939351" y="1799890"/>
                  <a:pt x="4992597" y="1822310"/>
                  <a:pt x="5038141" y="1822310"/>
                </a:cubicBezTo>
                <a:cubicBezTo>
                  <a:pt x="5060561" y="1822310"/>
                  <a:pt x="5083686" y="1814598"/>
                  <a:pt x="5106096" y="1806896"/>
                </a:cubicBezTo>
                <a:lnTo>
                  <a:pt x="5386341" y="1640151"/>
                </a:lnTo>
                <a:cubicBezTo>
                  <a:pt x="5455000" y="1603013"/>
                  <a:pt x="5477420" y="1519635"/>
                  <a:pt x="5439587" y="1451681"/>
                </a:cubicBezTo>
                <a:close/>
                <a:moveTo>
                  <a:pt x="4698339" y="2889347"/>
                </a:moveTo>
                <a:cubicBezTo>
                  <a:pt x="4698339" y="3199723"/>
                  <a:pt x="4614961" y="3502388"/>
                  <a:pt x="4463629" y="3774931"/>
                </a:cubicBezTo>
                <a:cubicBezTo>
                  <a:pt x="4455927" y="3797351"/>
                  <a:pt x="4448215" y="3812764"/>
                  <a:pt x="4433497" y="3828177"/>
                </a:cubicBezTo>
                <a:lnTo>
                  <a:pt x="4418084" y="3850597"/>
                </a:lnTo>
                <a:cubicBezTo>
                  <a:pt x="4357831" y="3941677"/>
                  <a:pt x="4296873" y="4032061"/>
                  <a:pt x="4221207" y="4107727"/>
                </a:cubicBezTo>
                <a:cubicBezTo>
                  <a:pt x="3956376" y="4478356"/>
                  <a:pt x="3820456" y="4796434"/>
                  <a:pt x="3827463" y="5000317"/>
                </a:cubicBezTo>
                <a:lnTo>
                  <a:pt x="3827463" y="5008029"/>
                </a:lnTo>
                <a:cubicBezTo>
                  <a:pt x="3827463" y="5023442"/>
                  <a:pt x="3835175" y="5045862"/>
                  <a:pt x="3835175" y="5068282"/>
                </a:cubicBezTo>
                <a:lnTo>
                  <a:pt x="3835175" y="5719156"/>
                </a:lnTo>
                <a:cubicBezTo>
                  <a:pt x="3835175" y="6006407"/>
                  <a:pt x="3600465" y="6233406"/>
                  <a:pt x="3320925" y="6233406"/>
                </a:cubicBezTo>
                <a:lnTo>
                  <a:pt x="2481590" y="6233406"/>
                </a:lnTo>
                <a:cubicBezTo>
                  <a:pt x="2194338" y="6233406"/>
                  <a:pt x="1967340" y="5998696"/>
                  <a:pt x="1967340" y="5719156"/>
                </a:cubicBezTo>
                <a:lnTo>
                  <a:pt x="1967340" y="5068282"/>
                </a:lnTo>
                <a:cubicBezTo>
                  <a:pt x="1967340" y="5052869"/>
                  <a:pt x="1967340" y="5045862"/>
                  <a:pt x="1967340" y="5030449"/>
                </a:cubicBezTo>
                <a:cubicBezTo>
                  <a:pt x="1967340" y="5022738"/>
                  <a:pt x="1967340" y="5008029"/>
                  <a:pt x="1967340" y="5000327"/>
                </a:cubicBezTo>
                <a:cubicBezTo>
                  <a:pt x="1975051" y="4803450"/>
                  <a:pt x="1838427" y="4493084"/>
                  <a:pt x="1589009" y="4130157"/>
                </a:cubicBezTo>
                <a:cubicBezTo>
                  <a:pt x="1505631" y="4039077"/>
                  <a:pt x="1422263" y="3940991"/>
                  <a:pt x="1362010" y="3827492"/>
                </a:cubicBezTo>
                <a:cubicBezTo>
                  <a:pt x="1354308" y="3812079"/>
                  <a:pt x="1346597" y="3805072"/>
                  <a:pt x="1339590" y="3789659"/>
                </a:cubicBezTo>
                <a:cubicBezTo>
                  <a:pt x="1180547" y="3517116"/>
                  <a:pt x="1097179" y="3206749"/>
                  <a:pt x="1097179" y="2897068"/>
                </a:cubicBezTo>
                <a:cubicBezTo>
                  <a:pt x="1097179" y="1905697"/>
                  <a:pt x="1907096" y="1096484"/>
                  <a:pt x="2897763" y="1096484"/>
                </a:cubicBezTo>
                <a:cubicBezTo>
                  <a:pt x="3888421" y="1088763"/>
                  <a:pt x="4698339" y="1897976"/>
                  <a:pt x="4698339" y="2889347"/>
                </a:cubicBezTo>
                <a:close/>
                <a:moveTo>
                  <a:pt x="3555625" y="5143929"/>
                </a:moveTo>
                <a:lnTo>
                  <a:pt x="2246880" y="5143929"/>
                </a:lnTo>
                <a:lnTo>
                  <a:pt x="2246880" y="5401059"/>
                </a:lnTo>
                <a:lnTo>
                  <a:pt x="3555625" y="5401059"/>
                </a:lnTo>
                <a:lnTo>
                  <a:pt x="3555625" y="5143929"/>
                </a:lnTo>
                <a:lnTo>
                  <a:pt x="3555625" y="5143929"/>
                </a:lnTo>
                <a:close/>
                <a:moveTo>
                  <a:pt x="3555625" y="5734550"/>
                </a:moveTo>
                <a:lnTo>
                  <a:pt x="3555625" y="5681304"/>
                </a:lnTo>
                <a:lnTo>
                  <a:pt x="2246880" y="5681304"/>
                </a:lnTo>
                <a:lnTo>
                  <a:pt x="2246880" y="5734550"/>
                </a:lnTo>
                <a:cubicBezTo>
                  <a:pt x="2262293" y="5855761"/>
                  <a:pt x="2360379" y="5946135"/>
                  <a:pt x="2481590" y="5946135"/>
                </a:cubicBezTo>
                <a:lnTo>
                  <a:pt x="3321629" y="5946135"/>
                </a:lnTo>
                <a:cubicBezTo>
                  <a:pt x="3442126" y="5946135"/>
                  <a:pt x="3540916" y="5855761"/>
                  <a:pt x="3555625" y="5734550"/>
                </a:cubicBezTo>
                <a:close/>
                <a:moveTo>
                  <a:pt x="4418084" y="2889347"/>
                </a:moveTo>
                <a:cubicBezTo>
                  <a:pt x="4418084" y="2049308"/>
                  <a:pt x="3737088" y="1368303"/>
                  <a:pt x="2897040" y="1368303"/>
                </a:cubicBezTo>
                <a:cubicBezTo>
                  <a:pt x="2056991" y="1368303"/>
                  <a:pt x="1376005" y="2049308"/>
                  <a:pt x="1376005" y="2889347"/>
                </a:cubicBezTo>
                <a:cubicBezTo>
                  <a:pt x="1376005" y="3161890"/>
                  <a:pt x="1451671" y="3426722"/>
                  <a:pt x="1587590" y="3661432"/>
                </a:cubicBezTo>
                <a:lnTo>
                  <a:pt x="1587590" y="3661432"/>
                </a:lnTo>
                <a:cubicBezTo>
                  <a:pt x="1587590" y="3661432"/>
                  <a:pt x="1587590" y="3661432"/>
                  <a:pt x="1587590" y="3669134"/>
                </a:cubicBezTo>
                <a:cubicBezTo>
                  <a:pt x="1647843" y="3767220"/>
                  <a:pt x="1716503" y="3858299"/>
                  <a:pt x="1792169" y="3941677"/>
                </a:cubicBezTo>
                <a:cubicBezTo>
                  <a:pt x="1799880" y="3949388"/>
                  <a:pt x="1799880" y="3949388"/>
                  <a:pt x="1807582" y="3957090"/>
                </a:cubicBezTo>
                <a:cubicBezTo>
                  <a:pt x="2057000" y="4313001"/>
                  <a:pt x="2201326" y="4615665"/>
                  <a:pt x="2239159" y="4865093"/>
                </a:cubicBezTo>
                <a:lnTo>
                  <a:pt x="3563336" y="4865093"/>
                </a:lnTo>
                <a:cubicBezTo>
                  <a:pt x="3608880" y="4554717"/>
                  <a:pt x="3820466" y="4199511"/>
                  <a:pt x="4009631" y="3934670"/>
                </a:cubicBezTo>
                <a:cubicBezTo>
                  <a:pt x="4009631" y="3926959"/>
                  <a:pt x="4017343" y="3926959"/>
                  <a:pt x="4025045" y="3919257"/>
                </a:cubicBezTo>
                <a:cubicBezTo>
                  <a:pt x="4093009" y="3851292"/>
                  <a:pt x="4153957" y="3767924"/>
                  <a:pt x="4198797" y="3684547"/>
                </a:cubicBezTo>
                <a:cubicBezTo>
                  <a:pt x="4198797" y="3676835"/>
                  <a:pt x="4206508" y="3676835"/>
                  <a:pt x="4206508" y="3669134"/>
                </a:cubicBezTo>
                <a:cubicBezTo>
                  <a:pt x="4206508" y="3661422"/>
                  <a:pt x="4214220" y="3661432"/>
                  <a:pt x="4214220" y="3653720"/>
                </a:cubicBezTo>
                <a:cubicBezTo>
                  <a:pt x="4350129" y="3426722"/>
                  <a:pt x="4418084" y="3161890"/>
                  <a:pt x="4418084" y="2889347"/>
                </a:cubicBezTo>
                <a:close/>
                <a:moveTo>
                  <a:pt x="854748" y="1565180"/>
                </a:moveTo>
                <a:lnTo>
                  <a:pt x="574503" y="1398434"/>
                </a:lnTo>
                <a:cubicBezTo>
                  <a:pt x="506539" y="1360601"/>
                  <a:pt x="423171" y="1383021"/>
                  <a:pt x="385338" y="1451681"/>
                </a:cubicBezTo>
                <a:cubicBezTo>
                  <a:pt x="347505" y="1519645"/>
                  <a:pt x="369925" y="1603013"/>
                  <a:pt x="438584" y="1640846"/>
                </a:cubicBezTo>
                <a:lnTo>
                  <a:pt x="718829" y="1807591"/>
                </a:lnTo>
                <a:cubicBezTo>
                  <a:pt x="741249" y="1823005"/>
                  <a:pt x="764373" y="1823005"/>
                  <a:pt x="786793" y="1823005"/>
                </a:cubicBezTo>
                <a:cubicBezTo>
                  <a:pt x="832337" y="1823005"/>
                  <a:pt x="884879" y="1800585"/>
                  <a:pt x="908004" y="1755040"/>
                </a:cubicBezTo>
                <a:cubicBezTo>
                  <a:pt x="945132" y="1686390"/>
                  <a:pt x="922712" y="1603013"/>
                  <a:pt x="854748" y="1565180"/>
                </a:cubicBezTo>
                <a:close/>
              </a:path>
            </a:pathLst>
          </a:custGeom>
          <a:solidFill>
            <a:schemeClr val="bg1"/>
          </a:solidFill>
          <a:ln w="951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1" name="Forma libre 372">
            <a:extLst>
              <a:ext uri="{FF2B5EF4-FFF2-40B4-BE49-F238E27FC236}">
                <a16:creationId xmlns:a16="http://schemas.microsoft.com/office/drawing/2014/main" xmlns="" id="{7CCBC924-E161-5640-8449-431956697D76}"/>
              </a:ext>
            </a:extLst>
          </p:cNvPr>
          <p:cNvSpPr/>
          <p:nvPr/>
        </p:nvSpPr>
        <p:spPr>
          <a:xfrm>
            <a:off x="480591" y="5340958"/>
            <a:ext cx="301338" cy="261390"/>
          </a:xfrm>
          <a:custGeom>
            <a:avLst/>
            <a:gdLst>
              <a:gd name="connsiteX0" fmla="*/ 1744866 w 5819775"/>
              <a:gd name="connsiteY0" fmla="*/ 4060879 h 5048250"/>
              <a:gd name="connsiteX1" fmla="*/ 2324529 w 5819775"/>
              <a:gd name="connsiteY1" fmla="*/ 3481216 h 5048250"/>
              <a:gd name="connsiteX2" fmla="*/ 2190407 w 5819775"/>
              <a:gd name="connsiteY2" fmla="*/ 3106988 h 5048250"/>
              <a:gd name="connsiteX3" fmla="*/ 3250283 w 5819775"/>
              <a:gd name="connsiteY3" fmla="*/ 1686630 h 5048250"/>
              <a:gd name="connsiteX4" fmla="*/ 3483197 w 5819775"/>
              <a:gd name="connsiteY4" fmla="*/ 1736350 h 5048250"/>
              <a:gd name="connsiteX5" fmla="*/ 3850881 w 5819775"/>
              <a:gd name="connsiteY5" fmla="*/ 1602229 h 5048250"/>
              <a:gd name="connsiteX6" fmla="*/ 4684386 w 5819775"/>
              <a:gd name="connsiteY6" fmla="*/ 2238156 h 5048250"/>
              <a:gd name="connsiteX7" fmla="*/ 4634665 w 5819775"/>
              <a:gd name="connsiteY7" fmla="*/ 2478262 h 5048250"/>
              <a:gd name="connsiteX8" fmla="*/ 5214328 w 5819775"/>
              <a:gd name="connsiteY8" fmla="*/ 3057925 h 5048250"/>
              <a:gd name="connsiteX9" fmla="*/ 5793991 w 5819775"/>
              <a:gd name="connsiteY9" fmla="*/ 2478262 h 5048250"/>
              <a:gd name="connsiteX10" fmla="*/ 5214328 w 5819775"/>
              <a:gd name="connsiteY10" fmla="*/ 1898599 h 5048250"/>
              <a:gd name="connsiteX11" fmla="*/ 4846644 w 5819775"/>
              <a:gd name="connsiteY11" fmla="*/ 2032721 h 5048250"/>
              <a:gd name="connsiteX12" fmla="*/ 4013140 w 5819775"/>
              <a:gd name="connsiteY12" fmla="*/ 1396794 h 5048250"/>
              <a:gd name="connsiteX13" fmla="*/ 4062860 w 5819775"/>
              <a:gd name="connsiteY13" fmla="*/ 1156687 h 5048250"/>
              <a:gd name="connsiteX14" fmla="*/ 3483197 w 5819775"/>
              <a:gd name="connsiteY14" fmla="*/ 577025 h 5048250"/>
              <a:gd name="connsiteX15" fmla="*/ 2903535 w 5819775"/>
              <a:gd name="connsiteY15" fmla="*/ 1156687 h 5048250"/>
              <a:gd name="connsiteX16" fmla="*/ 3037656 w 5819775"/>
              <a:gd name="connsiteY16" fmla="*/ 1530915 h 5048250"/>
              <a:gd name="connsiteX17" fmla="*/ 1977771 w 5819775"/>
              <a:gd name="connsiteY17" fmla="*/ 2958484 h 5048250"/>
              <a:gd name="connsiteX18" fmla="*/ 1744866 w 5819775"/>
              <a:gd name="connsiteY18" fmla="*/ 2908764 h 5048250"/>
              <a:gd name="connsiteX19" fmla="*/ 1165203 w 5819775"/>
              <a:gd name="connsiteY19" fmla="*/ 3488427 h 5048250"/>
              <a:gd name="connsiteX20" fmla="*/ 1744866 w 5819775"/>
              <a:gd name="connsiteY20" fmla="*/ 4060879 h 5048250"/>
              <a:gd name="connsiteX21" fmla="*/ 5517880 w 5819775"/>
              <a:gd name="connsiteY21" fmla="*/ 2485463 h 5048250"/>
              <a:gd name="connsiteX22" fmla="*/ 5199917 w 5819775"/>
              <a:gd name="connsiteY22" fmla="*/ 2803427 h 5048250"/>
              <a:gd name="connsiteX23" fmla="*/ 4881953 w 5819775"/>
              <a:gd name="connsiteY23" fmla="*/ 2485463 h 5048250"/>
              <a:gd name="connsiteX24" fmla="*/ 5199917 w 5819775"/>
              <a:gd name="connsiteY24" fmla="*/ 2167499 h 5048250"/>
              <a:gd name="connsiteX25" fmla="*/ 5517880 w 5819775"/>
              <a:gd name="connsiteY25" fmla="*/ 2485463 h 5048250"/>
              <a:gd name="connsiteX26" fmla="*/ 3482531 w 5819775"/>
              <a:gd name="connsiteY26" fmla="*/ 845934 h 5048250"/>
              <a:gd name="connsiteX27" fmla="*/ 3800494 w 5819775"/>
              <a:gd name="connsiteY27" fmla="*/ 1163898 h 5048250"/>
              <a:gd name="connsiteX28" fmla="*/ 3482531 w 5819775"/>
              <a:gd name="connsiteY28" fmla="*/ 1481861 h 5048250"/>
              <a:gd name="connsiteX29" fmla="*/ 3164567 w 5819775"/>
              <a:gd name="connsiteY29" fmla="*/ 1163898 h 5048250"/>
              <a:gd name="connsiteX30" fmla="*/ 3482531 w 5819775"/>
              <a:gd name="connsiteY30" fmla="*/ 845934 h 5048250"/>
              <a:gd name="connsiteX31" fmla="*/ 1744866 w 5819775"/>
              <a:gd name="connsiteY31" fmla="*/ 3170453 h 5048250"/>
              <a:gd name="connsiteX32" fmla="*/ 2062829 w 5819775"/>
              <a:gd name="connsiteY32" fmla="*/ 3488417 h 5048250"/>
              <a:gd name="connsiteX33" fmla="*/ 1744866 w 5819775"/>
              <a:gd name="connsiteY33" fmla="*/ 3806381 h 5048250"/>
              <a:gd name="connsiteX34" fmla="*/ 1426902 w 5819775"/>
              <a:gd name="connsiteY34" fmla="*/ 3488417 h 5048250"/>
              <a:gd name="connsiteX35" fmla="*/ 1744866 w 5819775"/>
              <a:gd name="connsiteY35" fmla="*/ 3170453 h 5048250"/>
              <a:gd name="connsiteX36" fmla="*/ 5828643 w 5819775"/>
              <a:gd name="connsiteY36" fmla="*/ 4930369 h 5048250"/>
              <a:gd name="connsiteX37" fmla="*/ 5701723 w 5819775"/>
              <a:gd name="connsiteY37" fmla="*/ 5057289 h 5048250"/>
              <a:gd name="connsiteX38" fmla="*/ 797519 w 5819775"/>
              <a:gd name="connsiteY38" fmla="*/ 5057289 h 5048250"/>
              <a:gd name="connsiteX39" fmla="*/ 776583 w 5819775"/>
              <a:gd name="connsiteY39" fmla="*/ 5057289 h 5048250"/>
              <a:gd name="connsiteX40" fmla="*/ 529276 w 5819775"/>
              <a:gd name="connsiteY40" fmla="*/ 4965697 h 5048250"/>
              <a:gd name="connsiteX41" fmla="*/ 402355 w 5819775"/>
              <a:gd name="connsiteY41" fmla="*/ 4626798 h 5048250"/>
              <a:gd name="connsiteX42" fmla="*/ 402355 w 5819775"/>
              <a:gd name="connsiteY42" fmla="*/ 4429221 h 5048250"/>
              <a:gd name="connsiteX43" fmla="*/ 126921 w 5819775"/>
              <a:gd name="connsiteY43" fmla="*/ 4429221 h 5048250"/>
              <a:gd name="connsiteX44" fmla="*/ 0 w 5819775"/>
              <a:gd name="connsiteY44" fmla="*/ 4302300 h 5048250"/>
              <a:gd name="connsiteX45" fmla="*/ 126921 w 5819775"/>
              <a:gd name="connsiteY45" fmla="*/ 4175379 h 5048250"/>
              <a:gd name="connsiteX46" fmla="*/ 402355 w 5819775"/>
              <a:gd name="connsiteY46" fmla="*/ 4175379 h 5048250"/>
              <a:gd name="connsiteX47" fmla="*/ 402355 w 5819775"/>
              <a:gd name="connsiteY47" fmla="*/ 3602917 h 5048250"/>
              <a:gd name="connsiteX48" fmla="*/ 126921 w 5819775"/>
              <a:gd name="connsiteY48" fmla="*/ 3602917 h 5048250"/>
              <a:gd name="connsiteX49" fmla="*/ 0 w 5819775"/>
              <a:gd name="connsiteY49" fmla="*/ 3475987 h 5048250"/>
              <a:gd name="connsiteX50" fmla="*/ 126921 w 5819775"/>
              <a:gd name="connsiteY50" fmla="*/ 3349066 h 5048250"/>
              <a:gd name="connsiteX51" fmla="*/ 402355 w 5819775"/>
              <a:gd name="connsiteY51" fmla="*/ 3349066 h 5048250"/>
              <a:gd name="connsiteX52" fmla="*/ 402355 w 5819775"/>
              <a:gd name="connsiteY52" fmla="*/ 2775299 h 5048250"/>
              <a:gd name="connsiteX53" fmla="*/ 126921 w 5819775"/>
              <a:gd name="connsiteY53" fmla="*/ 2775299 h 5048250"/>
              <a:gd name="connsiteX54" fmla="*/ 0 w 5819775"/>
              <a:gd name="connsiteY54" fmla="*/ 2648369 h 5048250"/>
              <a:gd name="connsiteX55" fmla="*/ 126921 w 5819775"/>
              <a:gd name="connsiteY55" fmla="*/ 2521449 h 5048250"/>
              <a:gd name="connsiteX56" fmla="*/ 402355 w 5819775"/>
              <a:gd name="connsiteY56" fmla="*/ 2521449 h 5048250"/>
              <a:gd name="connsiteX57" fmla="*/ 402355 w 5819775"/>
              <a:gd name="connsiteY57" fmla="*/ 1948986 h 5048250"/>
              <a:gd name="connsiteX58" fmla="*/ 126921 w 5819775"/>
              <a:gd name="connsiteY58" fmla="*/ 1948986 h 5048250"/>
              <a:gd name="connsiteX59" fmla="*/ 0 w 5819775"/>
              <a:gd name="connsiteY59" fmla="*/ 1822066 h 5048250"/>
              <a:gd name="connsiteX60" fmla="*/ 126921 w 5819775"/>
              <a:gd name="connsiteY60" fmla="*/ 1695145 h 5048250"/>
              <a:gd name="connsiteX61" fmla="*/ 402355 w 5819775"/>
              <a:gd name="connsiteY61" fmla="*/ 1695145 h 5048250"/>
              <a:gd name="connsiteX62" fmla="*/ 402355 w 5819775"/>
              <a:gd name="connsiteY62" fmla="*/ 1122683 h 5048250"/>
              <a:gd name="connsiteX63" fmla="*/ 126921 w 5819775"/>
              <a:gd name="connsiteY63" fmla="*/ 1122683 h 5048250"/>
              <a:gd name="connsiteX64" fmla="*/ 0 w 5819775"/>
              <a:gd name="connsiteY64" fmla="*/ 995753 h 5048250"/>
              <a:gd name="connsiteX65" fmla="*/ 126921 w 5819775"/>
              <a:gd name="connsiteY65" fmla="*/ 868832 h 5048250"/>
              <a:gd name="connsiteX66" fmla="*/ 402355 w 5819775"/>
              <a:gd name="connsiteY66" fmla="*/ 868832 h 5048250"/>
              <a:gd name="connsiteX67" fmla="*/ 402355 w 5819775"/>
              <a:gd name="connsiteY67" fmla="*/ 253841 h 5048250"/>
              <a:gd name="connsiteX68" fmla="*/ 126921 w 5819775"/>
              <a:gd name="connsiteY68" fmla="*/ 253841 h 5048250"/>
              <a:gd name="connsiteX69" fmla="*/ 0 w 5819775"/>
              <a:gd name="connsiteY69" fmla="*/ 126921 h 5048250"/>
              <a:gd name="connsiteX70" fmla="*/ 126921 w 5819775"/>
              <a:gd name="connsiteY70" fmla="*/ 0 h 5048250"/>
              <a:gd name="connsiteX71" fmla="*/ 529933 w 5819775"/>
              <a:gd name="connsiteY71" fmla="*/ 0 h 5048250"/>
              <a:gd name="connsiteX72" fmla="*/ 656854 w 5819775"/>
              <a:gd name="connsiteY72" fmla="*/ 126921 h 5048250"/>
              <a:gd name="connsiteX73" fmla="*/ 656854 w 5819775"/>
              <a:gd name="connsiteY73" fmla="*/ 4634646 h 5048250"/>
              <a:gd name="connsiteX74" fmla="*/ 699383 w 5819775"/>
              <a:gd name="connsiteY74" fmla="*/ 4775959 h 5048250"/>
              <a:gd name="connsiteX75" fmla="*/ 784431 w 5819775"/>
              <a:gd name="connsiteY75" fmla="*/ 4804096 h 5048250"/>
              <a:gd name="connsiteX76" fmla="*/ 798824 w 5819775"/>
              <a:gd name="connsiteY76" fmla="*/ 4804096 h 5048250"/>
              <a:gd name="connsiteX77" fmla="*/ 5701713 w 5819775"/>
              <a:gd name="connsiteY77" fmla="*/ 4804096 h 5048250"/>
              <a:gd name="connsiteX78" fmla="*/ 5828643 w 5819775"/>
              <a:gd name="connsiteY78" fmla="*/ 4930369 h 504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5819775" h="5048250">
                <a:moveTo>
                  <a:pt x="1744866" y="4060879"/>
                </a:moveTo>
                <a:cubicBezTo>
                  <a:pt x="2062829" y="4060879"/>
                  <a:pt x="2324529" y="3799180"/>
                  <a:pt x="2324529" y="3481216"/>
                </a:cubicBezTo>
                <a:cubicBezTo>
                  <a:pt x="2324529" y="3339903"/>
                  <a:pt x="2274808" y="3212973"/>
                  <a:pt x="2190407" y="3106988"/>
                </a:cubicBezTo>
                <a:lnTo>
                  <a:pt x="3250283" y="1686630"/>
                </a:lnTo>
                <a:cubicBezTo>
                  <a:pt x="3320939" y="1714767"/>
                  <a:pt x="3398796" y="1736350"/>
                  <a:pt x="3483197" y="1736350"/>
                </a:cubicBezTo>
                <a:cubicBezTo>
                  <a:pt x="3624510" y="1736350"/>
                  <a:pt x="3751440" y="1686630"/>
                  <a:pt x="3850881" y="1602229"/>
                </a:cubicBezTo>
                <a:lnTo>
                  <a:pt x="4684386" y="2238156"/>
                </a:lnTo>
                <a:cubicBezTo>
                  <a:pt x="4649057" y="2308812"/>
                  <a:pt x="4634665" y="2393861"/>
                  <a:pt x="4634665" y="2478262"/>
                </a:cubicBezTo>
                <a:cubicBezTo>
                  <a:pt x="4634665" y="2796226"/>
                  <a:pt x="4896365" y="3057925"/>
                  <a:pt x="5214328" y="3057925"/>
                </a:cubicBezTo>
                <a:cubicBezTo>
                  <a:pt x="5532292" y="3057925"/>
                  <a:pt x="5793991" y="2796226"/>
                  <a:pt x="5793991" y="2478262"/>
                </a:cubicBezTo>
                <a:cubicBezTo>
                  <a:pt x="5793991" y="2160299"/>
                  <a:pt x="5532292" y="1898599"/>
                  <a:pt x="5214328" y="1898599"/>
                </a:cubicBezTo>
                <a:cubicBezTo>
                  <a:pt x="5073015" y="1898599"/>
                  <a:pt x="4946085" y="1948320"/>
                  <a:pt x="4846644" y="2032721"/>
                </a:cubicBezTo>
                <a:lnTo>
                  <a:pt x="4013140" y="1396794"/>
                </a:lnTo>
                <a:cubicBezTo>
                  <a:pt x="4048468" y="1326137"/>
                  <a:pt x="4062860" y="1241089"/>
                  <a:pt x="4062860" y="1156687"/>
                </a:cubicBezTo>
                <a:cubicBezTo>
                  <a:pt x="4062860" y="838724"/>
                  <a:pt x="3801161" y="577025"/>
                  <a:pt x="3483197" y="577025"/>
                </a:cubicBezTo>
                <a:cubicBezTo>
                  <a:pt x="3165234" y="577025"/>
                  <a:pt x="2903535" y="838724"/>
                  <a:pt x="2903535" y="1156687"/>
                </a:cubicBezTo>
                <a:cubicBezTo>
                  <a:pt x="2903535" y="1298000"/>
                  <a:pt x="2953255" y="1424930"/>
                  <a:pt x="3037656" y="1530915"/>
                </a:cubicBezTo>
                <a:lnTo>
                  <a:pt x="1977771" y="2958484"/>
                </a:lnTo>
                <a:cubicBezTo>
                  <a:pt x="1907115" y="2930347"/>
                  <a:pt x="1829257" y="2908764"/>
                  <a:pt x="1744866" y="2908764"/>
                </a:cubicBezTo>
                <a:cubicBezTo>
                  <a:pt x="1426902" y="2908764"/>
                  <a:pt x="1165203" y="3170463"/>
                  <a:pt x="1165203" y="3488427"/>
                </a:cubicBezTo>
                <a:cubicBezTo>
                  <a:pt x="1165203" y="3799837"/>
                  <a:pt x="1426902" y="4060879"/>
                  <a:pt x="1744866" y="4060879"/>
                </a:cubicBezTo>
                <a:close/>
                <a:moveTo>
                  <a:pt x="5517880" y="2485463"/>
                </a:moveTo>
                <a:cubicBezTo>
                  <a:pt x="5517880" y="2662104"/>
                  <a:pt x="5376567" y="2803427"/>
                  <a:pt x="5199917" y="2803427"/>
                </a:cubicBezTo>
                <a:cubicBezTo>
                  <a:pt x="5023266" y="2803427"/>
                  <a:pt x="4881953" y="2662114"/>
                  <a:pt x="4881953" y="2485463"/>
                </a:cubicBezTo>
                <a:cubicBezTo>
                  <a:pt x="4881953" y="2308822"/>
                  <a:pt x="5023266" y="2167499"/>
                  <a:pt x="5199917" y="2167499"/>
                </a:cubicBezTo>
                <a:cubicBezTo>
                  <a:pt x="5376567" y="2167499"/>
                  <a:pt x="5517880" y="2308822"/>
                  <a:pt x="5517880" y="2485463"/>
                </a:cubicBezTo>
                <a:close/>
                <a:moveTo>
                  <a:pt x="3482531" y="845934"/>
                </a:moveTo>
                <a:cubicBezTo>
                  <a:pt x="3659172" y="845934"/>
                  <a:pt x="3800494" y="987247"/>
                  <a:pt x="3800494" y="1163898"/>
                </a:cubicBezTo>
                <a:cubicBezTo>
                  <a:pt x="3800494" y="1340549"/>
                  <a:pt x="3659181" y="1481861"/>
                  <a:pt x="3482531" y="1481861"/>
                </a:cubicBezTo>
                <a:cubicBezTo>
                  <a:pt x="3305890" y="1481861"/>
                  <a:pt x="3164567" y="1340549"/>
                  <a:pt x="3164567" y="1163898"/>
                </a:cubicBezTo>
                <a:cubicBezTo>
                  <a:pt x="3164567" y="987247"/>
                  <a:pt x="3305890" y="845934"/>
                  <a:pt x="3482531" y="845934"/>
                </a:cubicBezTo>
                <a:close/>
                <a:moveTo>
                  <a:pt x="1744866" y="3170453"/>
                </a:moveTo>
                <a:cubicBezTo>
                  <a:pt x="1921507" y="3170453"/>
                  <a:pt x="2062829" y="3311767"/>
                  <a:pt x="2062829" y="3488417"/>
                </a:cubicBezTo>
                <a:cubicBezTo>
                  <a:pt x="2062829" y="3665058"/>
                  <a:pt x="1921516" y="3806381"/>
                  <a:pt x="1744866" y="3806381"/>
                </a:cubicBezTo>
                <a:cubicBezTo>
                  <a:pt x="1568215" y="3806381"/>
                  <a:pt x="1426902" y="3665068"/>
                  <a:pt x="1426902" y="3488417"/>
                </a:cubicBezTo>
                <a:cubicBezTo>
                  <a:pt x="1426902" y="3311776"/>
                  <a:pt x="1568215" y="3170453"/>
                  <a:pt x="1744866" y="3170453"/>
                </a:cubicBezTo>
                <a:close/>
                <a:moveTo>
                  <a:pt x="5828643" y="4930369"/>
                </a:moveTo>
                <a:cubicBezTo>
                  <a:pt x="5828643" y="5001025"/>
                  <a:pt x="5772379" y="5057289"/>
                  <a:pt x="5701723" y="5057289"/>
                </a:cubicBezTo>
                <a:lnTo>
                  <a:pt x="797519" y="5057289"/>
                </a:lnTo>
                <a:cubicBezTo>
                  <a:pt x="790318" y="5057289"/>
                  <a:pt x="783127" y="5057289"/>
                  <a:pt x="776583" y="5057289"/>
                </a:cubicBezTo>
                <a:cubicBezTo>
                  <a:pt x="720319" y="5057289"/>
                  <a:pt x="614334" y="5042897"/>
                  <a:pt x="529276" y="4965697"/>
                </a:cubicBezTo>
                <a:cubicBezTo>
                  <a:pt x="444227" y="4887840"/>
                  <a:pt x="402355" y="4774654"/>
                  <a:pt x="402355" y="4626798"/>
                </a:cubicBezTo>
                <a:lnTo>
                  <a:pt x="402355" y="4429221"/>
                </a:lnTo>
                <a:lnTo>
                  <a:pt x="126921" y="4429221"/>
                </a:lnTo>
                <a:cubicBezTo>
                  <a:pt x="56264" y="4429221"/>
                  <a:pt x="0" y="4372956"/>
                  <a:pt x="0" y="4302300"/>
                </a:cubicBezTo>
                <a:cubicBezTo>
                  <a:pt x="0" y="4231643"/>
                  <a:pt x="56264" y="4175379"/>
                  <a:pt x="126921" y="4175379"/>
                </a:cubicBezTo>
                <a:lnTo>
                  <a:pt x="402355" y="4175379"/>
                </a:lnTo>
                <a:lnTo>
                  <a:pt x="402355" y="3602917"/>
                </a:lnTo>
                <a:lnTo>
                  <a:pt x="126921" y="3602917"/>
                </a:lnTo>
                <a:cubicBezTo>
                  <a:pt x="56264" y="3602907"/>
                  <a:pt x="0" y="3546643"/>
                  <a:pt x="0" y="3475987"/>
                </a:cubicBezTo>
                <a:cubicBezTo>
                  <a:pt x="0" y="3405331"/>
                  <a:pt x="56264" y="3349066"/>
                  <a:pt x="126921" y="3349066"/>
                </a:cubicBezTo>
                <a:lnTo>
                  <a:pt x="402355" y="3349066"/>
                </a:lnTo>
                <a:lnTo>
                  <a:pt x="402355" y="2775299"/>
                </a:lnTo>
                <a:lnTo>
                  <a:pt x="126921" y="2775299"/>
                </a:lnTo>
                <a:cubicBezTo>
                  <a:pt x="56264" y="2775299"/>
                  <a:pt x="0" y="2719035"/>
                  <a:pt x="0" y="2648369"/>
                </a:cubicBezTo>
                <a:cubicBezTo>
                  <a:pt x="0" y="2577703"/>
                  <a:pt x="56264" y="2521449"/>
                  <a:pt x="126921" y="2521449"/>
                </a:cubicBezTo>
                <a:lnTo>
                  <a:pt x="402355" y="2521449"/>
                </a:lnTo>
                <a:lnTo>
                  <a:pt x="402355" y="1948986"/>
                </a:lnTo>
                <a:lnTo>
                  <a:pt x="126921" y="1948986"/>
                </a:lnTo>
                <a:cubicBezTo>
                  <a:pt x="56264" y="1948986"/>
                  <a:pt x="0" y="1892722"/>
                  <a:pt x="0" y="1822066"/>
                </a:cubicBezTo>
                <a:cubicBezTo>
                  <a:pt x="0" y="1751409"/>
                  <a:pt x="56264" y="1695145"/>
                  <a:pt x="126921" y="1695145"/>
                </a:cubicBezTo>
                <a:lnTo>
                  <a:pt x="402355" y="1695145"/>
                </a:lnTo>
                <a:lnTo>
                  <a:pt x="402355" y="1122683"/>
                </a:lnTo>
                <a:lnTo>
                  <a:pt x="126921" y="1122683"/>
                </a:lnTo>
                <a:cubicBezTo>
                  <a:pt x="56264" y="1122683"/>
                  <a:pt x="0" y="1066409"/>
                  <a:pt x="0" y="995753"/>
                </a:cubicBezTo>
                <a:cubicBezTo>
                  <a:pt x="0" y="925097"/>
                  <a:pt x="56264" y="868832"/>
                  <a:pt x="126921" y="868832"/>
                </a:cubicBezTo>
                <a:lnTo>
                  <a:pt x="402355" y="868832"/>
                </a:lnTo>
                <a:lnTo>
                  <a:pt x="402355" y="253841"/>
                </a:lnTo>
                <a:lnTo>
                  <a:pt x="126921" y="253841"/>
                </a:lnTo>
                <a:cubicBezTo>
                  <a:pt x="56264" y="253841"/>
                  <a:pt x="0" y="197577"/>
                  <a:pt x="0" y="126921"/>
                </a:cubicBezTo>
                <a:cubicBezTo>
                  <a:pt x="0" y="56264"/>
                  <a:pt x="56264" y="0"/>
                  <a:pt x="126921" y="0"/>
                </a:cubicBezTo>
                <a:lnTo>
                  <a:pt x="529933" y="0"/>
                </a:lnTo>
                <a:cubicBezTo>
                  <a:pt x="600589" y="0"/>
                  <a:pt x="656854" y="56264"/>
                  <a:pt x="656854" y="126921"/>
                </a:cubicBezTo>
                <a:lnTo>
                  <a:pt x="656854" y="4634646"/>
                </a:lnTo>
                <a:cubicBezTo>
                  <a:pt x="656854" y="4684367"/>
                  <a:pt x="664054" y="4747832"/>
                  <a:pt x="699383" y="4775959"/>
                </a:cubicBezTo>
                <a:cubicBezTo>
                  <a:pt x="734711" y="4804086"/>
                  <a:pt x="784431" y="4804096"/>
                  <a:pt x="784431" y="4804096"/>
                </a:cubicBezTo>
                <a:cubicBezTo>
                  <a:pt x="784431" y="4804096"/>
                  <a:pt x="791632" y="4804096"/>
                  <a:pt x="798824" y="4804096"/>
                </a:cubicBezTo>
                <a:lnTo>
                  <a:pt x="5701713" y="4804096"/>
                </a:lnTo>
                <a:cubicBezTo>
                  <a:pt x="5772379" y="4802791"/>
                  <a:pt x="5828643" y="4859713"/>
                  <a:pt x="5828643" y="493036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2" name="Forma libre 374">
            <a:extLst>
              <a:ext uri="{FF2B5EF4-FFF2-40B4-BE49-F238E27FC236}">
                <a16:creationId xmlns:a16="http://schemas.microsoft.com/office/drawing/2014/main" xmlns="" id="{6B2C0B81-236A-F143-92ED-A7E7E2B8BD94}"/>
              </a:ext>
            </a:extLst>
          </p:cNvPr>
          <p:cNvSpPr/>
          <p:nvPr/>
        </p:nvSpPr>
        <p:spPr>
          <a:xfrm>
            <a:off x="7236684" y="3986379"/>
            <a:ext cx="301831" cy="301338"/>
          </a:xfrm>
          <a:custGeom>
            <a:avLst/>
            <a:gdLst>
              <a:gd name="connsiteX0" fmla="*/ 5361518 w 5829300"/>
              <a:gd name="connsiteY0" fmla="*/ 0 h 5819775"/>
              <a:gd name="connsiteX1" fmla="*/ 2389556 w 5829300"/>
              <a:gd name="connsiteY1" fmla="*/ 0 h 5819775"/>
              <a:gd name="connsiteX2" fmla="*/ 1921774 w 5829300"/>
              <a:gd name="connsiteY2" fmla="*/ 467782 h 5819775"/>
              <a:gd name="connsiteX3" fmla="*/ 1921774 w 5829300"/>
              <a:gd name="connsiteY3" fmla="*/ 1914449 h 5819775"/>
              <a:gd name="connsiteX4" fmla="*/ 467782 w 5829300"/>
              <a:gd name="connsiteY4" fmla="*/ 1914449 h 5819775"/>
              <a:gd name="connsiteX5" fmla="*/ 0 w 5829300"/>
              <a:gd name="connsiteY5" fmla="*/ 2382231 h 5819775"/>
              <a:gd name="connsiteX6" fmla="*/ 0 w 5829300"/>
              <a:gd name="connsiteY6" fmla="*/ 5354184 h 5819775"/>
              <a:gd name="connsiteX7" fmla="*/ 467782 w 5829300"/>
              <a:gd name="connsiteY7" fmla="*/ 5821966 h 5819775"/>
              <a:gd name="connsiteX8" fmla="*/ 3447069 w 5829300"/>
              <a:gd name="connsiteY8" fmla="*/ 5821966 h 5819775"/>
              <a:gd name="connsiteX9" fmla="*/ 3914851 w 5829300"/>
              <a:gd name="connsiteY9" fmla="*/ 5354184 h 5819775"/>
              <a:gd name="connsiteX10" fmla="*/ 3914851 w 5829300"/>
              <a:gd name="connsiteY10" fmla="*/ 3907517 h 5819775"/>
              <a:gd name="connsiteX11" fmla="*/ 5361518 w 5829300"/>
              <a:gd name="connsiteY11" fmla="*/ 3907517 h 5819775"/>
              <a:gd name="connsiteX12" fmla="*/ 5829300 w 5829300"/>
              <a:gd name="connsiteY12" fmla="*/ 3439735 h 5819775"/>
              <a:gd name="connsiteX13" fmla="*/ 5829300 w 5829300"/>
              <a:gd name="connsiteY13" fmla="*/ 467782 h 5819775"/>
              <a:gd name="connsiteX14" fmla="*/ 5361518 w 5829300"/>
              <a:gd name="connsiteY14" fmla="*/ 0 h 5819775"/>
              <a:gd name="connsiteX15" fmla="*/ 3439744 w 5829300"/>
              <a:gd name="connsiteY15" fmla="*/ 1914449 h 5819775"/>
              <a:gd name="connsiteX16" fmla="*/ 3036599 w 5829300"/>
              <a:gd name="connsiteY16" fmla="*/ 1914449 h 5819775"/>
              <a:gd name="connsiteX17" fmla="*/ 3036599 w 5829300"/>
              <a:gd name="connsiteY17" fmla="*/ 1122817 h 5819775"/>
              <a:gd name="connsiteX18" fmla="*/ 4706493 w 5829300"/>
              <a:gd name="connsiteY18" fmla="*/ 1122817 h 5819775"/>
              <a:gd name="connsiteX19" fmla="*/ 4706493 w 5829300"/>
              <a:gd name="connsiteY19" fmla="*/ 2792711 h 5819775"/>
              <a:gd name="connsiteX20" fmla="*/ 3907527 w 5829300"/>
              <a:gd name="connsiteY20" fmla="*/ 2792711 h 5819775"/>
              <a:gd name="connsiteX21" fmla="*/ 3907527 w 5829300"/>
              <a:gd name="connsiteY21" fmla="*/ 2382231 h 5819775"/>
              <a:gd name="connsiteX22" fmla="*/ 3439744 w 5829300"/>
              <a:gd name="connsiteY22" fmla="*/ 1914449 h 5819775"/>
              <a:gd name="connsiteX23" fmla="*/ 2389556 w 5829300"/>
              <a:gd name="connsiteY23" fmla="*/ 3907517 h 5819775"/>
              <a:gd name="connsiteX24" fmla="*/ 2792701 w 5829300"/>
              <a:gd name="connsiteY24" fmla="*/ 3907517 h 5819775"/>
              <a:gd name="connsiteX25" fmla="*/ 2792701 w 5829300"/>
              <a:gd name="connsiteY25" fmla="*/ 4699150 h 5819775"/>
              <a:gd name="connsiteX26" fmla="*/ 1122817 w 5829300"/>
              <a:gd name="connsiteY26" fmla="*/ 4699150 h 5819775"/>
              <a:gd name="connsiteX27" fmla="*/ 1122817 w 5829300"/>
              <a:gd name="connsiteY27" fmla="*/ 3029931 h 5819775"/>
              <a:gd name="connsiteX28" fmla="*/ 1929108 w 5829300"/>
              <a:gd name="connsiteY28" fmla="*/ 3029931 h 5819775"/>
              <a:gd name="connsiteX29" fmla="*/ 1929108 w 5829300"/>
              <a:gd name="connsiteY29" fmla="*/ 3440411 h 5819775"/>
              <a:gd name="connsiteX30" fmla="*/ 2389556 w 5829300"/>
              <a:gd name="connsiteY30" fmla="*/ 3907517 h 5819775"/>
              <a:gd name="connsiteX31" fmla="*/ 3641646 w 5829300"/>
              <a:gd name="connsiteY31" fmla="*/ 5354184 h 5819775"/>
              <a:gd name="connsiteX32" fmla="*/ 3440401 w 5829300"/>
              <a:gd name="connsiteY32" fmla="*/ 5555428 h 5819775"/>
              <a:gd name="connsiteX33" fmla="*/ 468449 w 5829300"/>
              <a:gd name="connsiteY33" fmla="*/ 5555428 h 5819775"/>
              <a:gd name="connsiteX34" fmla="*/ 267205 w 5829300"/>
              <a:gd name="connsiteY34" fmla="*/ 5354184 h 5819775"/>
              <a:gd name="connsiteX35" fmla="*/ 267205 w 5829300"/>
              <a:gd name="connsiteY35" fmla="*/ 2374897 h 5819775"/>
              <a:gd name="connsiteX36" fmla="*/ 468449 w 5829300"/>
              <a:gd name="connsiteY36" fmla="*/ 2173653 h 5819775"/>
              <a:gd name="connsiteX37" fmla="*/ 1928441 w 5829300"/>
              <a:gd name="connsiteY37" fmla="*/ 2173653 h 5819775"/>
              <a:gd name="connsiteX38" fmla="*/ 1928441 w 5829300"/>
              <a:gd name="connsiteY38" fmla="*/ 2764050 h 5819775"/>
              <a:gd name="connsiteX39" fmla="*/ 1108158 w 5829300"/>
              <a:gd name="connsiteY39" fmla="*/ 2764050 h 5819775"/>
              <a:gd name="connsiteX40" fmla="*/ 856279 w 5829300"/>
              <a:gd name="connsiteY40" fmla="*/ 3015930 h 5819775"/>
              <a:gd name="connsiteX41" fmla="*/ 856279 w 5829300"/>
              <a:gd name="connsiteY41" fmla="*/ 4706484 h 5819775"/>
              <a:gd name="connsiteX42" fmla="*/ 1108158 w 5829300"/>
              <a:gd name="connsiteY42" fmla="*/ 4958363 h 5819775"/>
              <a:gd name="connsiteX43" fmla="*/ 2799379 w 5829300"/>
              <a:gd name="connsiteY43" fmla="*/ 4958363 h 5819775"/>
              <a:gd name="connsiteX44" fmla="*/ 3051258 w 5829300"/>
              <a:gd name="connsiteY44" fmla="*/ 4706484 h 5819775"/>
              <a:gd name="connsiteX45" fmla="*/ 3051258 w 5829300"/>
              <a:gd name="connsiteY45" fmla="*/ 3770919 h 5819775"/>
              <a:gd name="connsiteX46" fmla="*/ 3051258 w 5829300"/>
              <a:gd name="connsiteY46" fmla="*/ 2850013 h 5819775"/>
              <a:gd name="connsiteX47" fmla="*/ 3051258 w 5829300"/>
              <a:gd name="connsiteY47" fmla="*/ 2172995 h 5819775"/>
              <a:gd name="connsiteX48" fmla="*/ 3439744 w 5829300"/>
              <a:gd name="connsiteY48" fmla="*/ 2172995 h 5819775"/>
              <a:gd name="connsiteX49" fmla="*/ 3640989 w 5829300"/>
              <a:gd name="connsiteY49" fmla="*/ 2374240 h 5819775"/>
              <a:gd name="connsiteX50" fmla="*/ 3640989 w 5829300"/>
              <a:gd name="connsiteY50" fmla="*/ 2921318 h 5819775"/>
              <a:gd name="connsiteX51" fmla="*/ 3640989 w 5829300"/>
              <a:gd name="connsiteY51" fmla="*/ 3770262 h 5819775"/>
              <a:gd name="connsiteX52" fmla="*/ 3640989 w 5829300"/>
              <a:gd name="connsiteY52" fmla="*/ 5354193 h 5819775"/>
              <a:gd name="connsiteX53" fmla="*/ 3641646 w 5829300"/>
              <a:gd name="connsiteY53" fmla="*/ 5354193 h 5819775"/>
              <a:gd name="connsiteX54" fmla="*/ 5562753 w 5829300"/>
              <a:gd name="connsiteY54" fmla="*/ 3439735 h 5819775"/>
              <a:gd name="connsiteX55" fmla="*/ 5361508 w 5829300"/>
              <a:gd name="connsiteY55" fmla="*/ 3640979 h 5819775"/>
              <a:gd name="connsiteX56" fmla="*/ 3907517 w 5829300"/>
              <a:gd name="connsiteY56" fmla="*/ 3640979 h 5819775"/>
              <a:gd name="connsiteX57" fmla="*/ 3907517 w 5829300"/>
              <a:gd name="connsiteY57" fmla="*/ 3050581 h 5819775"/>
              <a:gd name="connsiteX58" fmla="*/ 4720476 w 5829300"/>
              <a:gd name="connsiteY58" fmla="*/ 3050581 h 5819775"/>
              <a:gd name="connsiteX59" fmla="*/ 4972355 w 5829300"/>
              <a:gd name="connsiteY59" fmla="*/ 2798702 h 5819775"/>
              <a:gd name="connsiteX60" fmla="*/ 4972355 w 5829300"/>
              <a:gd name="connsiteY60" fmla="*/ 1108148 h 5819775"/>
              <a:gd name="connsiteX61" fmla="*/ 4720476 w 5829300"/>
              <a:gd name="connsiteY61" fmla="*/ 856269 h 5819775"/>
              <a:gd name="connsiteX62" fmla="*/ 3029931 w 5829300"/>
              <a:gd name="connsiteY62" fmla="*/ 856269 h 5819775"/>
              <a:gd name="connsiteX63" fmla="*/ 2778052 w 5829300"/>
              <a:gd name="connsiteY63" fmla="*/ 1108148 h 5819775"/>
              <a:gd name="connsiteX64" fmla="*/ 2778052 w 5829300"/>
              <a:gd name="connsiteY64" fmla="*/ 2799369 h 5819775"/>
              <a:gd name="connsiteX65" fmla="*/ 2792711 w 5829300"/>
              <a:gd name="connsiteY65" fmla="*/ 2878665 h 5819775"/>
              <a:gd name="connsiteX66" fmla="*/ 2792711 w 5829300"/>
              <a:gd name="connsiteY66" fmla="*/ 3641646 h 5819775"/>
              <a:gd name="connsiteX67" fmla="*/ 2389565 w 5829300"/>
              <a:gd name="connsiteY67" fmla="*/ 3641646 h 5819775"/>
              <a:gd name="connsiteX68" fmla="*/ 2188321 w 5829300"/>
              <a:gd name="connsiteY68" fmla="*/ 3440402 h 5819775"/>
              <a:gd name="connsiteX69" fmla="*/ 2188321 w 5829300"/>
              <a:gd name="connsiteY69" fmla="*/ 2893324 h 5819775"/>
              <a:gd name="connsiteX70" fmla="*/ 2188321 w 5829300"/>
              <a:gd name="connsiteY70" fmla="*/ 2043713 h 5819775"/>
              <a:gd name="connsiteX71" fmla="*/ 2188321 w 5829300"/>
              <a:gd name="connsiteY71" fmla="*/ 467782 h 5819775"/>
              <a:gd name="connsiteX72" fmla="*/ 2389565 w 5829300"/>
              <a:gd name="connsiteY72" fmla="*/ 266538 h 5819775"/>
              <a:gd name="connsiteX73" fmla="*/ 5361518 w 5829300"/>
              <a:gd name="connsiteY73" fmla="*/ 266538 h 5819775"/>
              <a:gd name="connsiteX74" fmla="*/ 5562762 w 5829300"/>
              <a:gd name="connsiteY74" fmla="*/ 467782 h 5819775"/>
              <a:gd name="connsiteX75" fmla="*/ 5562753 w 5829300"/>
              <a:gd name="connsiteY75" fmla="*/ 3439735 h 5819775"/>
              <a:gd name="connsiteX76" fmla="*/ 5562753 w 5829300"/>
              <a:gd name="connsiteY76" fmla="*/ 3439735 h 581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829300" h="5819775">
                <a:moveTo>
                  <a:pt x="5361518" y="0"/>
                </a:moveTo>
                <a:lnTo>
                  <a:pt x="2389556" y="0"/>
                </a:lnTo>
                <a:cubicBezTo>
                  <a:pt x="2130343" y="0"/>
                  <a:pt x="1921774" y="208569"/>
                  <a:pt x="1921774" y="467782"/>
                </a:cubicBezTo>
                <a:lnTo>
                  <a:pt x="1921774" y="1914449"/>
                </a:lnTo>
                <a:lnTo>
                  <a:pt x="467782" y="1914449"/>
                </a:lnTo>
                <a:cubicBezTo>
                  <a:pt x="208569" y="1914449"/>
                  <a:pt x="0" y="2123018"/>
                  <a:pt x="0" y="2382231"/>
                </a:cubicBezTo>
                <a:lnTo>
                  <a:pt x="0" y="5354184"/>
                </a:lnTo>
                <a:cubicBezTo>
                  <a:pt x="0" y="5613397"/>
                  <a:pt x="208569" y="5821966"/>
                  <a:pt x="467782" y="5821966"/>
                </a:cubicBezTo>
                <a:lnTo>
                  <a:pt x="3447069" y="5821966"/>
                </a:lnTo>
                <a:cubicBezTo>
                  <a:pt x="3706282" y="5821966"/>
                  <a:pt x="3914851" y="5613397"/>
                  <a:pt x="3914851" y="5354184"/>
                </a:cubicBezTo>
                <a:lnTo>
                  <a:pt x="3914851" y="3907517"/>
                </a:lnTo>
                <a:lnTo>
                  <a:pt x="5361518" y="3907517"/>
                </a:lnTo>
                <a:cubicBezTo>
                  <a:pt x="5620732" y="3907517"/>
                  <a:pt x="5829300" y="3698948"/>
                  <a:pt x="5829300" y="3439735"/>
                </a:cubicBezTo>
                <a:lnTo>
                  <a:pt x="5829300" y="467782"/>
                </a:lnTo>
                <a:cubicBezTo>
                  <a:pt x="5829300" y="208569"/>
                  <a:pt x="5620732" y="0"/>
                  <a:pt x="5361518" y="0"/>
                </a:cubicBezTo>
                <a:close/>
                <a:moveTo>
                  <a:pt x="3439744" y="1914449"/>
                </a:moveTo>
                <a:lnTo>
                  <a:pt x="3036599" y="1914449"/>
                </a:lnTo>
                <a:lnTo>
                  <a:pt x="3036599" y="1122817"/>
                </a:lnTo>
                <a:lnTo>
                  <a:pt x="4706493" y="1122817"/>
                </a:lnTo>
                <a:lnTo>
                  <a:pt x="4706493" y="2792711"/>
                </a:lnTo>
                <a:lnTo>
                  <a:pt x="3907527" y="2792711"/>
                </a:lnTo>
                <a:lnTo>
                  <a:pt x="3907527" y="2382231"/>
                </a:lnTo>
                <a:cubicBezTo>
                  <a:pt x="3907527" y="2123018"/>
                  <a:pt x="3698958" y="1914449"/>
                  <a:pt x="3439744" y="1914449"/>
                </a:cubicBezTo>
                <a:close/>
                <a:moveTo>
                  <a:pt x="2389556" y="3907517"/>
                </a:moveTo>
                <a:lnTo>
                  <a:pt x="2792701" y="3907517"/>
                </a:lnTo>
                <a:lnTo>
                  <a:pt x="2792701" y="4699150"/>
                </a:lnTo>
                <a:lnTo>
                  <a:pt x="1122817" y="4699150"/>
                </a:lnTo>
                <a:lnTo>
                  <a:pt x="1122817" y="3029931"/>
                </a:lnTo>
                <a:lnTo>
                  <a:pt x="1929108" y="3029931"/>
                </a:lnTo>
                <a:lnTo>
                  <a:pt x="1929108" y="3440411"/>
                </a:lnTo>
                <a:cubicBezTo>
                  <a:pt x="1921774" y="3698948"/>
                  <a:pt x="2130343" y="3907517"/>
                  <a:pt x="2389556" y="3907517"/>
                </a:cubicBezTo>
                <a:close/>
                <a:moveTo>
                  <a:pt x="3641646" y="5354184"/>
                </a:moveTo>
                <a:cubicBezTo>
                  <a:pt x="3641646" y="5462130"/>
                  <a:pt x="3555016" y="5555428"/>
                  <a:pt x="3440401" y="5555428"/>
                </a:cubicBezTo>
                <a:lnTo>
                  <a:pt x="468449" y="5555428"/>
                </a:lnTo>
                <a:cubicBezTo>
                  <a:pt x="360502" y="5555428"/>
                  <a:pt x="267205" y="5468798"/>
                  <a:pt x="267205" y="5354184"/>
                </a:cubicBezTo>
                <a:lnTo>
                  <a:pt x="267205" y="2374897"/>
                </a:lnTo>
                <a:cubicBezTo>
                  <a:pt x="267205" y="2266950"/>
                  <a:pt x="353835" y="2173653"/>
                  <a:pt x="468449" y="2173653"/>
                </a:cubicBezTo>
                <a:lnTo>
                  <a:pt x="1928441" y="2173653"/>
                </a:lnTo>
                <a:lnTo>
                  <a:pt x="1928441" y="2764050"/>
                </a:lnTo>
                <a:lnTo>
                  <a:pt x="1108158" y="2764050"/>
                </a:lnTo>
                <a:cubicBezTo>
                  <a:pt x="964225" y="2764050"/>
                  <a:pt x="856279" y="2879331"/>
                  <a:pt x="856279" y="3015930"/>
                </a:cubicBezTo>
                <a:lnTo>
                  <a:pt x="856279" y="4706484"/>
                </a:lnTo>
                <a:cubicBezTo>
                  <a:pt x="856279" y="4850416"/>
                  <a:pt x="971560" y="4958363"/>
                  <a:pt x="1108158" y="4958363"/>
                </a:cubicBezTo>
                <a:lnTo>
                  <a:pt x="2799379" y="4958363"/>
                </a:lnTo>
                <a:cubicBezTo>
                  <a:pt x="2943311" y="4958363"/>
                  <a:pt x="3051258" y="4843082"/>
                  <a:pt x="3051258" y="4706484"/>
                </a:cubicBezTo>
                <a:lnTo>
                  <a:pt x="3051258" y="3770919"/>
                </a:lnTo>
                <a:lnTo>
                  <a:pt x="3051258" y="2850013"/>
                </a:lnTo>
                <a:lnTo>
                  <a:pt x="3051258" y="2172995"/>
                </a:lnTo>
                <a:lnTo>
                  <a:pt x="3439744" y="2172995"/>
                </a:lnTo>
                <a:cubicBezTo>
                  <a:pt x="3547691" y="2172995"/>
                  <a:pt x="3640989" y="2259625"/>
                  <a:pt x="3640989" y="2374240"/>
                </a:cubicBezTo>
                <a:lnTo>
                  <a:pt x="3640989" y="2921318"/>
                </a:lnTo>
                <a:lnTo>
                  <a:pt x="3640989" y="3770262"/>
                </a:lnTo>
                <a:lnTo>
                  <a:pt x="3640989" y="5354193"/>
                </a:lnTo>
                <a:lnTo>
                  <a:pt x="3641646" y="5354193"/>
                </a:lnTo>
                <a:close/>
                <a:moveTo>
                  <a:pt x="5562753" y="3439735"/>
                </a:moveTo>
                <a:cubicBezTo>
                  <a:pt x="5562753" y="3547682"/>
                  <a:pt x="5476123" y="3640979"/>
                  <a:pt x="5361508" y="3640979"/>
                </a:cubicBezTo>
                <a:lnTo>
                  <a:pt x="3907517" y="3640979"/>
                </a:lnTo>
                <a:lnTo>
                  <a:pt x="3907517" y="3050581"/>
                </a:lnTo>
                <a:lnTo>
                  <a:pt x="4720476" y="3050581"/>
                </a:lnTo>
                <a:cubicBezTo>
                  <a:pt x="4864408" y="3050581"/>
                  <a:pt x="4972355" y="2935300"/>
                  <a:pt x="4972355" y="2798702"/>
                </a:cubicBezTo>
                <a:lnTo>
                  <a:pt x="4972355" y="1108148"/>
                </a:lnTo>
                <a:cubicBezTo>
                  <a:pt x="4972355" y="964216"/>
                  <a:pt x="4857074" y="856269"/>
                  <a:pt x="4720476" y="856269"/>
                </a:cubicBezTo>
                <a:lnTo>
                  <a:pt x="3029931" y="856269"/>
                </a:lnTo>
                <a:cubicBezTo>
                  <a:pt x="2885999" y="856269"/>
                  <a:pt x="2778052" y="971550"/>
                  <a:pt x="2778052" y="1108148"/>
                </a:cubicBezTo>
                <a:lnTo>
                  <a:pt x="2778052" y="2799369"/>
                </a:lnTo>
                <a:cubicBezTo>
                  <a:pt x="2778052" y="2828020"/>
                  <a:pt x="2785386" y="2850013"/>
                  <a:pt x="2792711" y="2878665"/>
                </a:cubicBezTo>
                <a:lnTo>
                  <a:pt x="2792711" y="3641646"/>
                </a:lnTo>
                <a:lnTo>
                  <a:pt x="2389565" y="3641646"/>
                </a:lnTo>
                <a:cubicBezTo>
                  <a:pt x="2281619" y="3641646"/>
                  <a:pt x="2188321" y="3555016"/>
                  <a:pt x="2188321" y="3440402"/>
                </a:cubicBezTo>
                <a:lnTo>
                  <a:pt x="2188321" y="2893324"/>
                </a:lnTo>
                <a:lnTo>
                  <a:pt x="2188321" y="2043713"/>
                </a:lnTo>
                <a:lnTo>
                  <a:pt x="2188321" y="467782"/>
                </a:lnTo>
                <a:cubicBezTo>
                  <a:pt x="2188321" y="359835"/>
                  <a:pt x="2274951" y="266538"/>
                  <a:pt x="2389565" y="266538"/>
                </a:cubicBezTo>
                <a:lnTo>
                  <a:pt x="5361518" y="266538"/>
                </a:lnTo>
                <a:cubicBezTo>
                  <a:pt x="5469465" y="266538"/>
                  <a:pt x="5562762" y="353168"/>
                  <a:pt x="5562762" y="467782"/>
                </a:cubicBezTo>
                <a:lnTo>
                  <a:pt x="5562753" y="3439735"/>
                </a:lnTo>
                <a:lnTo>
                  <a:pt x="5562753" y="3439735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3" name="Forma libre 376">
            <a:extLst>
              <a:ext uri="{FF2B5EF4-FFF2-40B4-BE49-F238E27FC236}">
                <a16:creationId xmlns:a16="http://schemas.microsoft.com/office/drawing/2014/main" xmlns="" id="{0583F117-C987-A141-923F-25BF237FCEF6}"/>
              </a:ext>
            </a:extLst>
          </p:cNvPr>
          <p:cNvSpPr/>
          <p:nvPr/>
        </p:nvSpPr>
        <p:spPr>
          <a:xfrm>
            <a:off x="2782649" y="5934139"/>
            <a:ext cx="261838" cy="354647"/>
          </a:xfrm>
          <a:custGeom>
            <a:avLst/>
            <a:gdLst>
              <a:gd name="connsiteX0" fmla="*/ 4657838 w 5056909"/>
              <a:gd name="connsiteY0" fmla="*/ 0 h 6849340"/>
              <a:gd name="connsiteX1" fmla="*/ 406666 w 5056909"/>
              <a:gd name="connsiteY1" fmla="*/ 0 h 6849340"/>
              <a:gd name="connsiteX2" fmla="*/ 0 w 5056909"/>
              <a:gd name="connsiteY2" fmla="*/ 406666 h 6849340"/>
              <a:gd name="connsiteX3" fmla="*/ 0 w 5056909"/>
              <a:gd name="connsiteY3" fmla="*/ 6450564 h 6849340"/>
              <a:gd name="connsiteX4" fmla="*/ 406666 w 5056909"/>
              <a:gd name="connsiteY4" fmla="*/ 6857230 h 6849340"/>
              <a:gd name="connsiteX5" fmla="*/ 4657838 w 5056909"/>
              <a:gd name="connsiteY5" fmla="*/ 6857230 h 6849340"/>
              <a:gd name="connsiteX6" fmla="*/ 5064503 w 5056909"/>
              <a:gd name="connsiteY6" fmla="*/ 6450564 h 6849340"/>
              <a:gd name="connsiteX7" fmla="*/ 5064503 w 5056909"/>
              <a:gd name="connsiteY7" fmla="*/ 406666 h 6849340"/>
              <a:gd name="connsiteX8" fmla="*/ 4657838 w 5056909"/>
              <a:gd name="connsiteY8" fmla="*/ 0 h 6849340"/>
              <a:gd name="connsiteX9" fmla="*/ 4757781 w 5056909"/>
              <a:gd name="connsiteY9" fmla="*/ 6451335 h 6849340"/>
              <a:gd name="connsiteX10" fmla="*/ 4657847 w 5056909"/>
              <a:gd name="connsiteY10" fmla="*/ 6551270 h 6849340"/>
              <a:gd name="connsiteX11" fmla="*/ 406666 w 5056909"/>
              <a:gd name="connsiteY11" fmla="*/ 6551270 h 6849340"/>
              <a:gd name="connsiteX12" fmla="*/ 306731 w 5056909"/>
              <a:gd name="connsiteY12" fmla="*/ 6451335 h 6849340"/>
              <a:gd name="connsiteX13" fmla="*/ 306731 w 5056909"/>
              <a:gd name="connsiteY13" fmla="*/ 406666 h 6849340"/>
              <a:gd name="connsiteX14" fmla="*/ 406666 w 5056909"/>
              <a:gd name="connsiteY14" fmla="*/ 306731 h 6849340"/>
              <a:gd name="connsiteX15" fmla="*/ 4657838 w 5056909"/>
              <a:gd name="connsiteY15" fmla="*/ 306731 h 6849340"/>
              <a:gd name="connsiteX16" fmla="*/ 4757772 w 5056909"/>
              <a:gd name="connsiteY16" fmla="*/ 406666 h 6849340"/>
              <a:gd name="connsiteX17" fmla="*/ 4757772 w 5056909"/>
              <a:gd name="connsiteY17" fmla="*/ 6451335 h 6849340"/>
              <a:gd name="connsiteX18" fmla="*/ 4052065 w 5056909"/>
              <a:gd name="connsiteY18" fmla="*/ 4815433 h 6849340"/>
              <a:gd name="connsiteX19" fmla="*/ 3902930 w 5056909"/>
              <a:gd name="connsiteY19" fmla="*/ 4964569 h 6849340"/>
              <a:gd name="connsiteX20" fmla="*/ 1992595 w 5056909"/>
              <a:gd name="connsiteY20" fmla="*/ 4964569 h 6849340"/>
              <a:gd name="connsiteX21" fmla="*/ 1843460 w 5056909"/>
              <a:gd name="connsiteY21" fmla="*/ 4815433 h 6849340"/>
              <a:gd name="connsiteX22" fmla="*/ 1992595 w 5056909"/>
              <a:gd name="connsiteY22" fmla="*/ 4666298 h 6849340"/>
              <a:gd name="connsiteX23" fmla="*/ 3902159 w 5056909"/>
              <a:gd name="connsiteY23" fmla="*/ 4666298 h 6849340"/>
              <a:gd name="connsiteX24" fmla="*/ 4052065 w 5056909"/>
              <a:gd name="connsiteY24" fmla="*/ 4815433 h 6849340"/>
              <a:gd name="connsiteX25" fmla="*/ 4052065 w 5056909"/>
              <a:gd name="connsiteY25" fmla="*/ 5737168 h 6849340"/>
              <a:gd name="connsiteX26" fmla="*/ 3902930 w 5056909"/>
              <a:gd name="connsiteY26" fmla="*/ 5886303 h 6849340"/>
              <a:gd name="connsiteX27" fmla="*/ 1992595 w 5056909"/>
              <a:gd name="connsiteY27" fmla="*/ 5886303 h 6849340"/>
              <a:gd name="connsiteX28" fmla="*/ 1843460 w 5056909"/>
              <a:gd name="connsiteY28" fmla="*/ 5737168 h 6849340"/>
              <a:gd name="connsiteX29" fmla="*/ 1992595 w 5056909"/>
              <a:gd name="connsiteY29" fmla="*/ 5588032 h 6849340"/>
              <a:gd name="connsiteX30" fmla="*/ 3902159 w 5056909"/>
              <a:gd name="connsiteY30" fmla="*/ 5588032 h 6849340"/>
              <a:gd name="connsiteX31" fmla="*/ 4052065 w 5056909"/>
              <a:gd name="connsiteY31" fmla="*/ 5737168 h 6849340"/>
              <a:gd name="connsiteX32" fmla="*/ 4052065 w 5056909"/>
              <a:gd name="connsiteY32" fmla="*/ 3902168 h 6849340"/>
              <a:gd name="connsiteX33" fmla="*/ 3902930 w 5056909"/>
              <a:gd name="connsiteY33" fmla="*/ 4051303 h 6849340"/>
              <a:gd name="connsiteX34" fmla="*/ 1992595 w 5056909"/>
              <a:gd name="connsiteY34" fmla="*/ 4051303 h 6849340"/>
              <a:gd name="connsiteX35" fmla="*/ 1843460 w 5056909"/>
              <a:gd name="connsiteY35" fmla="*/ 3902168 h 6849340"/>
              <a:gd name="connsiteX36" fmla="*/ 1992595 w 5056909"/>
              <a:gd name="connsiteY36" fmla="*/ 3753032 h 6849340"/>
              <a:gd name="connsiteX37" fmla="*/ 3902159 w 5056909"/>
              <a:gd name="connsiteY37" fmla="*/ 3753032 h 6849340"/>
              <a:gd name="connsiteX38" fmla="*/ 4052065 w 5056909"/>
              <a:gd name="connsiteY38" fmla="*/ 3902168 h 6849340"/>
              <a:gd name="connsiteX39" fmla="*/ 4052065 w 5056909"/>
              <a:gd name="connsiteY39" fmla="*/ 2997344 h 6849340"/>
              <a:gd name="connsiteX40" fmla="*/ 3902930 w 5056909"/>
              <a:gd name="connsiteY40" fmla="*/ 3146480 h 6849340"/>
              <a:gd name="connsiteX41" fmla="*/ 1992595 w 5056909"/>
              <a:gd name="connsiteY41" fmla="*/ 3146480 h 6849340"/>
              <a:gd name="connsiteX42" fmla="*/ 1843460 w 5056909"/>
              <a:gd name="connsiteY42" fmla="*/ 2997344 h 6849340"/>
              <a:gd name="connsiteX43" fmla="*/ 1992595 w 5056909"/>
              <a:gd name="connsiteY43" fmla="*/ 2848209 h 6849340"/>
              <a:gd name="connsiteX44" fmla="*/ 3902159 w 5056909"/>
              <a:gd name="connsiteY44" fmla="*/ 2848209 h 6849340"/>
              <a:gd name="connsiteX45" fmla="*/ 4052065 w 5056909"/>
              <a:gd name="connsiteY45" fmla="*/ 2997344 h 6849340"/>
              <a:gd name="connsiteX46" fmla="*/ 1835000 w 5056909"/>
              <a:gd name="connsiteY46" fmla="*/ 2092530 h 6849340"/>
              <a:gd name="connsiteX47" fmla="*/ 1984136 w 5056909"/>
              <a:gd name="connsiteY47" fmla="*/ 1943395 h 6849340"/>
              <a:gd name="connsiteX48" fmla="*/ 3876797 w 5056909"/>
              <a:gd name="connsiteY48" fmla="*/ 1943395 h 6849340"/>
              <a:gd name="connsiteX49" fmla="*/ 4025932 w 5056909"/>
              <a:gd name="connsiteY49" fmla="*/ 2092530 h 6849340"/>
              <a:gd name="connsiteX50" fmla="*/ 3876797 w 5056909"/>
              <a:gd name="connsiteY50" fmla="*/ 2241666 h 6849340"/>
              <a:gd name="connsiteX51" fmla="*/ 1984906 w 5056909"/>
              <a:gd name="connsiteY51" fmla="*/ 2241666 h 6849340"/>
              <a:gd name="connsiteX52" fmla="*/ 1835000 w 5056909"/>
              <a:gd name="connsiteY52" fmla="*/ 2092530 h 6849340"/>
              <a:gd name="connsiteX53" fmla="*/ 1835000 w 5056909"/>
              <a:gd name="connsiteY53" fmla="*/ 1179256 h 6849340"/>
              <a:gd name="connsiteX54" fmla="*/ 1984136 w 5056909"/>
              <a:gd name="connsiteY54" fmla="*/ 1030120 h 6849340"/>
              <a:gd name="connsiteX55" fmla="*/ 3876797 w 5056909"/>
              <a:gd name="connsiteY55" fmla="*/ 1030120 h 6849340"/>
              <a:gd name="connsiteX56" fmla="*/ 4025932 w 5056909"/>
              <a:gd name="connsiteY56" fmla="*/ 1179256 h 6849340"/>
              <a:gd name="connsiteX57" fmla="*/ 3876797 w 5056909"/>
              <a:gd name="connsiteY57" fmla="*/ 1328391 h 6849340"/>
              <a:gd name="connsiteX58" fmla="*/ 1984906 w 5056909"/>
              <a:gd name="connsiteY58" fmla="*/ 1328391 h 6849340"/>
              <a:gd name="connsiteX59" fmla="*/ 1835000 w 5056909"/>
              <a:gd name="connsiteY59" fmla="*/ 1179256 h 6849340"/>
              <a:gd name="connsiteX60" fmla="*/ 1286879 w 5056909"/>
              <a:gd name="connsiteY60" fmla="*/ 1179256 h 6849340"/>
              <a:gd name="connsiteX61" fmla="*/ 1120833 w 5056909"/>
              <a:gd name="connsiteY61" fmla="*/ 1345302 h 6849340"/>
              <a:gd name="connsiteX62" fmla="*/ 954786 w 5056909"/>
              <a:gd name="connsiteY62" fmla="*/ 1179256 h 6849340"/>
              <a:gd name="connsiteX63" fmla="*/ 1120833 w 5056909"/>
              <a:gd name="connsiteY63" fmla="*/ 1013209 h 6849340"/>
              <a:gd name="connsiteX64" fmla="*/ 1286879 w 5056909"/>
              <a:gd name="connsiteY64" fmla="*/ 1179256 h 6849340"/>
              <a:gd name="connsiteX65" fmla="*/ 1286879 w 5056909"/>
              <a:gd name="connsiteY65" fmla="*/ 2092530 h 6849340"/>
              <a:gd name="connsiteX66" fmla="*/ 1120833 w 5056909"/>
              <a:gd name="connsiteY66" fmla="*/ 2258577 h 6849340"/>
              <a:gd name="connsiteX67" fmla="*/ 954786 w 5056909"/>
              <a:gd name="connsiteY67" fmla="*/ 2092530 h 6849340"/>
              <a:gd name="connsiteX68" fmla="*/ 1120833 w 5056909"/>
              <a:gd name="connsiteY68" fmla="*/ 1926483 h 6849340"/>
              <a:gd name="connsiteX69" fmla="*/ 1286879 w 5056909"/>
              <a:gd name="connsiteY69" fmla="*/ 2092530 h 6849340"/>
              <a:gd name="connsiteX70" fmla="*/ 1286879 w 5056909"/>
              <a:gd name="connsiteY70" fmla="*/ 2980433 h 6849340"/>
              <a:gd name="connsiteX71" fmla="*/ 1120833 w 5056909"/>
              <a:gd name="connsiteY71" fmla="*/ 3146480 h 6849340"/>
              <a:gd name="connsiteX72" fmla="*/ 954786 w 5056909"/>
              <a:gd name="connsiteY72" fmla="*/ 2980433 h 6849340"/>
              <a:gd name="connsiteX73" fmla="*/ 1120833 w 5056909"/>
              <a:gd name="connsiteY73" fmla="*/ 2814386 h 6849340"/>
              <a:gd name="connsiteX74" fmla="*/ 1286879 w 5056909"/>
              <a:gd name="connsiteY74" fmla="*/ 2980433 h 6849340"/>
              <a:gd name="connsiteX75" fmla="*/ 1286879 w 5056909"/>
              <a:gd name="connsiteY75" fmla="*/ 3886018 h 6849340"/>
              <a:gd name="connsiteX76" fmla="*/ 1120833 w 5056909"/>
              <a:gd name="connsiteY76" fmla="*/ 4052065 h 6849340"/>
              <a:gd name="connsiteX77" fmla="*/ 954786 w 5056909"/>
              <a:gd name="connsiteY77" fmla="*/ 3886018 h 6849340"/>
              <a:gd name="connsiteX78" fmla="*/ 1120833 w 5056909"/>
              <a:gd name="connsiteY78" fmla="*/ 3719972 h 6849340"/>
              <a:gd name="connsiteX79" fmla="*/ 1286879 w 5056909"/>
              <a:gd name="connsiteY79" fmla="*/ 3886018 h 6849340"/>
              <a:gd name="connsiteX80" fmla="*/ 1286879 w 5056909"/>
              <a:gd name="connsiteY80" fmla="*/ 4823893 h 6849340"/>
              <a:gd name="connsiteX81" fmla="*/ 1120833 w 5056909"/>
              <a:gd name="connsiteY81" fmla="*/ 4989940 h 6849340"/>
              <a:gd name="connsiteX82" fmla="*/ 954786 w 5056909"/>
              <a:gd name="connsiteY82" fmla="*/ 4823893 h 6849340"/>
              <a:gd name="connsiteX83" fmla="*/ 1120833 w 5056909"/>
              <a:gd name="connsiteY83" fmla="*/ 4657846 h 6849340"/>
              <a:gd name="connsiteX84" fmla="*/ 1286879 w 5056909"/>
              <a:gd name="connsiteY84" fmla="*/ 4823893 h 6849340"/>
              <a:gd name="connsiteX85" fmla="*/ 1286879 w 5056909"/>
              <a:gd name="connsiteY85" fmla="*/ 5737168 h 6849340"/>
              <a:gd name="connsiteX86" fmla="*/ 1120833 w 5056909"/>
              <a:gd name="connsiteY86" fmla="*/ 5903214 h 6849340"/>
              <a:gd name="connsiteX87" fmla="*/ 954786 w 5056909"/>
              <a:gd name="connsiteY87" fmla="*/ 5737168 h 6849340"/>
              <a:gd name="connsiteX88" fmla="*/ 1120833 w 5056909"/>
              <a:gd name="connsiteY88" fmla="*/ 5571121 h 6849340"/>
              <a:gd name="connsiteX89" fmla="*/ 1286879 w 5056909"/>
              <a:gd name="connsiteY89" fmla="*/ 5737168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5056909" h="6849340">
                <a:moveTo>
                  <a:pt x="4657838" y="0"/>
                </a:moveTo>
                <a:lnTo>
                  <a:pt x="406666" y="0"/>
                </a:lnTo>
                <a:cubicBezTo>
                  <a:pt x="182187" y="0"/>
                  <a:pt x="0" y="182958"/>
                  <a:pt x="0" y="406666"/>
                </a:cubicBezTo>
                <a:lnTo>
                  <a:pt x="0" y="6450564"/>
                </a:lnTo>
                <a:cubicBezTo>
                  <a:pt x="0" y="6675042"/>
                  <a:pt x="182958" y="6857230"/>
                  <a:pt x="406666" y="6857230"/>
                </a:cubicBezTo>
                <a:lnTo>
                  <a:pt x="4657838" y="6857230"/>
                </a:lnTo>
                <a:cubicBezTo>
                  <a:pt x="4882316" y="6857230"/>
                  <a:pt x="5064503" y="6674263"/>
                  <a:pt x="5064503" y="6450564"/>
                </a:cubicBezTo>
                <a:lnTo>
                  <a:pt x="5064503" y="406666"/>
                </a:lnTo>
                <a:cubicBezTo>
                  <a:pt x="5064512" y="182958"/>
                  <a:pt x="4882316" y="0"/>
                  <a:pt x="4657838" y="0"/>
                </a:cubicBezTo>
                <a:close/>
                <a:moveTo>
                  <a:pt x="4757781" y="6451335"/>
                </a:moveTo>
                <a:cubicBezTo>
                  <a:pt x="4757781" y="6509758"/>
                  <a:pt x="4716269" y="6551270"/>
                  <a:pt x="4657847" y="6551270"/>
                </a:cubicBezTo>
                <a:lnTo>
                  <a:pt x="406666" y="6551270"/>
                </a:lnTo>
                <a:cubicBezTo>
                  <a:pt x="348243" y="6551270"/>
                  <a:pt x="306731" y="6509758"/>
                  <a:pt x="306731" y="6451335"/>
                </a:cubicBezTo>
                <a:lnTo>
                  <a:pt x="306731" y="406666"/>
                </a:lnTo>
                <a:cubicBezTo>
                  <a:pt x="306731" y="348243"/>
                  <a:pt x="348243" y="306731"/>
                  <a:pt x="406666" y="306731"/>
                </a:cubicBezTo>
                <a:lnTo>
                  <a:pt x="4657838" y="306731"/>
                </a:lnTo>
                <a:cubicBezTo>
                  <a:pt x="4716261" y="306731"/>
                  <a:pt x="4757772" y="348243"/>
                  <a:pt x="4757772" y="406666"/>
                </a:cubicBezTo>
                <a:lnTo>
                  <a:pt x="4757772" y="6451335"/>
                </a:lnTo>
                <a:close/>
                <a:moveTo>
                  <a:pt x="4052065" y="4815433"/>
                </a:moveTo>
                <a:cubicBezTo>
                  <a:pt x="4052065" y="4898457"/>
                  <a:pt x="3985953" y="4964569"/>
                  <a:pt x="3902930" y="4964569"/>
                </a:cubicBezTo>
                <a:lnTo>
                  <a:pt x="1992595" y="4964569"/>
                </a:lnTo>
                <a:cubicBezTo>
                  <a:pt x="1909572" y="4964569"/>
                  <a:pt x="1843460" y="4898457"/>
                  <a:pt x="1843460" y="4815433"/>
                </a:cubicBezTo>
                <a:cubicBezTo>
                  <a:pt x="1843460" y="4732410"/>
                  <a:pt x="1909572" y="4666298"/>
                  <a:pt x="1992595" y="4666298"/>
                </a:cubicBezTo>
                <a:lnTo>
                  <a:pt x="3902159" y="4666298"/>
                </a:lnTo>
                <a:cubicBezTo>
                  <a:pt x="3977502" y="4657846"/>
                  <a:pt x="4052065" y="4732410"/>
                  <a:pt x="4052065" y="4815433"/>
                </a:cubicBezTo>
                <a:close/>
                <a:moveTo>
                  <a:pt x="4052065" y="5737168"/>
                </a:moveTo>
                <a:cubicBezTo>
                  <a:pt x="4052065" y="5820191"/>
                  <a:pt x="3985953" y="5886303"/>
                  <a:pt x="3902930" y="5886303"/>
                </a:cubicBezTo>
                <a:lnTo>
                  <a:pt x="1992595" y="5886303"/>
                </a:lnTo>
                <a:cubicBezTo>
                  <a:pt x="1909572" y="5886303"/>
                  <a:pt x="1843460" y="5820191"/>
                  <a:pt x="1843460" y="5737168"/>
                </a:cubicBezTo>
                <a:cubicBezTo>
                  <a:pt x="1843460" y="5654144"/>
                  <a:pt x="1909572" y="5588032"/>
                  <a:pt x="1992595" y="5588032"/>
                </a:cubicBezTo>
                <a:lnTo>
                  <a:pt x="3902159" y="5588032"/>
                </a:lnTo>
                <a:cubicBezTo>
                  <a:pt x="3977502" y="5579572"/>
                  <a:pt x="4052065" y="5654144"/>
                  <a:pt x="4052065" y="5737168"/>
                </a:cubicBezTo>
                <a:close/>
                <a:moveTo>
                  <a:pt x="4052065" y="3902168"/>
                </a:moveTo>
                <a:cubicBezTo>
                  <a:pt x="4052065" y="3985191"/>
                  <a:pt x="3985953" y="4051303"/>
                  <a:pt x="3902930" y="4051303"/>
                </a:cubicBezTo>
                <a:lnTo>
                  <a:pt x="1992595" y="4051303"/>
                </a:lnTo>
                <a:cubicBezTo>
                  <a:pt x="1909572" y="4051303"/>
                  <a:pt x="1843460" y="3985191"/>
                  <a:pt x="1843460" y="3902168"/>
                </a:cubicBezTo>
                <a:cubicBezTo>
                  <a:pt x="1843460" y="3819144"/>
                  <a:pt x="1909572" y="3753032"/>
                  <a:pt x="1992595" y="3753032"/>
                </a:cubicBezTo>
                <a:lnTo>
                  <a:pt x="3902159" y="3753032"/>
                </a:lnTo>
                <a:cubicBezTo>
                  <a:pt x="3977502" y="3753023"/>
                  <a:pt x="4052065" y="3819144"/>
                  <a:pt x="4052065" y="3902168"/>
                </a:cubicBezTo>
                <a:close/>
                <a:moveTo>
                  <a:pt x="4052065" y="2997344"/>
                </a:moveTo>
                <a:cubicBezTo>
                  <a:pt x="4052065" y="3080368"/>
                  <a:pt x="3985953" y="3146480"/>
                  <a:pt x="3902930" y="3146480"/>
                </a:cubicBezTo>
                <a:lnTo>
                  <a:pt x="1992595" y="3146480"/>
                </a:lnTo>
                <a:cubicBezTo>
                  <a:pt x="1909572" y="3146480"/>
                  <a:pt x="1843460" y="3080368"/>
                  <a:pt x="1843460" y="2997344"/>
                </a:cubicBezTo>
                <a:cubicBezTo>
                  <a:pt x="1843460" y="2914321"/>
                  <a:pt x="1909572" y="2848209"/>
                  <a:pt x="1992595" y="2848209"/>
                </a:cubicBezTo>
                <a:lnTo>
                  <a:pt x="3902159" y="2848209"/>
                </a:lnTo>
                <a:cubicBezTo>
                  <a:pt x="3977502" y="2848209"/>
                  <a:pt x="4052065" y="2914321"/>
                  <a:pt x="4052065" y="2997344"/>
                </a:cubicBezTo>
                <a:close/>
                <a:moveTo>
                  <a:pt x="1835000" y="2092530"/>
                </a:moveTo>
                <a:cubicBezTo>
                  <a:pt x="1835000" y="2009507"/>
                  <a:pt x="1901112" y="1943395"/>
                  <a:pt x="1984136" y="1943395"/>
                </a:cubicBezTo>
                <a:lnTo>
                  <a:pt x="3876797" y="1943395"/>
                </a:lnTo>
                <a:cubicBezTo>
                  <a:pt x="3959819" y="1943395"/>
                  <a:pt x="4025932" y="2009507"/>
                  <a:pt x="4025932" y="2092530"/>
                </a:cubicBezTo>
                <a:cubicBezTo>
                  <a:pt x="4025932" y="2175553"/>
                  <a:pt x="3959819" y="2241666"/>
                  <a:pt x="3876797" y="2241666"/>
                </a:cubicBezTo>
                <a:lnTo>
                  <a:pt x="1984906" y="2241666"/>
                </a:lnTo>
                <a:cubicBezTo>
                  <a:pt x="1901883" y="2241666"/>
                  <a:pt x="1835000" y="2175553"/>
                  <a:pt x="1835000" y="2092530"/>
                </a:cubicBezTo>
                <a:close/>
                <a:moveTo>
                  <a:pt x="1835000" y="1179256"/>
                </a:moveTo>
                <a:cubicBezTo>
                  <a:pt x="1835000" y="1096232"/>
                  <a:pt x="1901112" y="1030120"/>
                  <a:pt x="1984136" y="1030120"/>
                </a:cubicBezTo>
                <a:lnTo>
                  <a:pt x="3876797" y="1030120"/>
                </a:lnTo>
                <a:cubicBezTo>
                  <a:pt x="3959819" y="1030120"/>
                  <a:pt x="4025932" y="1096232"/>
                  <a:pt x="4025932" y="1179256"/>
                </a:cubicBezTo>
                <a:cubicBezTo>
                  <a:pt x="4025932" y="1262279"/>
                  <a:pt x="3959819" y="1328391"/>
                  <a:pt x="3876797" y="1328391"/>
                </a:cubicBezTo>
                <a:lnTo>
                  <a:pt x="1984906" y="1328391"/>
                </a:lnTo>
                <a:cubicBezTo>
                  <a:pt x="1901883" y="1336851"/>
                  <a:pt x="1835000" y="1262288"/>
                  <a:pt x="1835000" y="1179256"/>
                </a:cubicBezTo>
                <a:close/>
                <a:moveTo>
                  <a:pt x="1286879" y="1179256"/>
                </a:moveTo>
                <a:cubicBezTo>
                  <a:pt x="1286879" y="1270739"/>
                  <a:pt x="1212307" y="1345302"/>
                  <a:pt x="1120833" y="1345302"/>
                </a:cubicBezTo>
                <a:cubicBezTo>
                  <a:pt x="1029349" y="1345302"/>
                  <a:pt x="954786" y="1270730"/>
                  <a:pt x="954786" y="1179256"/>
                </a:cubicBezTo>
                <a:cubicBezTo>
                  <a:pt x="954786" y="1087772"/>
                  <a:pt x="1029358" y="1013209"/>
                  <a:pt x="1120833" y="1013209"/>
                </a:cubicBezTo>
                <a:cubicBezTo>
                  <a:pt x="1212316" y="1013209"/>
                  <a:pt x="1286879" y="1087781"/>
                  <a:pt x="1286879" y="1179256"/>
                </a:cubicBezTo>
                <a:close/>
                <a:moveTo>
                  <a:pt x="1286879" y="2092530"/>
                </a:moveTo>
                <a:cubicBezTo>
                  <a:pt x="1286879" y="2184013"/>
                  <a:pt x="1212307" y="2258577"/>
                  <a:pt x="1120833" y="2258577"/>
                </a:cubicBezTo>
                <a:cubicBezTo>
                  <a:pt x="1029349" y="2258577"/>
                  <a:pt x="954786" y="2184005"/>
                  <a:pt x="954786" y="2092530"/>
                </a:cubicBezTo>
                <a:cubicBezTo>
                  <a:pt x="954786" y="2001055"/>
                  <a:pt x="1029358" y="1926483"/>
                  <a:pt x="1120833" y="1926483"/>
                </a:cubicBezTo>
                <a:cubicBezTo>
                  <a:pt x="1212316" y="1918023"/>
                  <a:pt x="1286879" y="1992595"/>
                  <a:pt x="1286879" y="2092530"/>
                </a:cubicBezTo>
                <a:close/>
                <a:moveTo>
                  <a:pt x="1286879" y="2980433"/>
                </a:moveTo>
                <a:cubicBezTo>
                  <a:pt x="1286879" y="3071916"/>
                  <a:pt x="1212307" y="3146480"/>
                  <a:pt x="1120833" y="3146480"/>
                </a:cubicBezTo>
                <a:cubicBezTo>
                  <a:pt x="1029349" y="3146480"/>
                  <a:pt x="954786" y="3071908"/>
                  <a:pt x="954786" y="2980433"/>
                </a:cubicBezTo>
                <a:cubicBezTo>
                  <a:pt x="954786" y="2888959"/>
                  <a:pt x="1029358" y="2814386"/>
                  <a:pt x="1120833" y="2814386"/>
                </a:cubicBezTo>
                <a:cubicBezTo>
                  <a:pt x="1212316" y="2806697"/>
                  <a:pt x="1286879" y="2881269"/>
                  <a:pt x="1286879" y="2980433"/>
                </a:cubicBezTo>
                <a:close/>
                <a:moveTo>
                  <a:pt x="1286879" y="3886018"/>
                </a:moveTo>
                <a:cubicBezTo>
                  <a:pt x="1286879" y="3977502"/>
                  <a:pt x="1212307" y="4052065"/>
                  <a:pt x="1120833" y="4052065"/>
                </a:cubicBezTo>
                <a:cubicBezTo>
                  <a:pt x="1029349" y="4052065"/>
                  <a:pt x="954786" y="3977493"/>
                  <a:pt x="954786" y="3886018"/>
                </a:cubicBezTo>
                <a:cubicBezTo>
                  <a:pt x="954786" y="3794535"/>
                  <a:pt x="1029358" y="3719972"/>
                  <a:pt x="1120833" y="3719972"/>
                </a:cubicBezTo>
                <a:cubicBezTo>
                  <a:pt x="1212316" y="3719972"/>
                  <a:pt x="1286879" y="3794544"/>
                  <a:pt x="1286879" y="3886018"/>
                </a:cubicBezTo>
                <a:close/>
                <a:moveTo>
                  <a:pt x="1286879" y="4823893"/>
                </a:moveTo>
                <a:cubicBezTo>
                  <a:pt x="1286879" y="4915377"/>
                  <a:pt x="1212307" y="4989940"/>
                  <a:pt x="1120833" y="4989940"/>
                </a:cubicBezTo>
                <a:cubicBezTo>
                  <a:pt x="1029349" y="4989940"/>
                  <a:pt x="954786" y="4915368"/>
                  <a:pt x="954786" y="4823893"/>
                </a:cubicBezTo>
                <a:cubicBezTo>
                  <a:pt x="954786" y="4732410"/>
                  <a:pt x="1029358" y="4657846"/>
                  <a:pt x="1120833" y="4657846"/>
                </a:cubicBezTo>
                <a:cubicBezTo>
                  <a:pt x="1212316" y="4657846"/>
                  <a:pt x="1286879" y="4732410"/>
                  <a:pt x="1286879" y="4823893"/>
                </a:cubicBezTo>
                <a:close/>
                <a:moveTo>
                  <a:pt x="1286879" y="5737168"/>
                </a:moveTo>
                <a:cubicBezTo>
                  <a:pt x="1286879" y="5828651"/>
                  <a:pt x="1212307" y="5903214"/>
                  <a:pt x="1120833" y="5903214"/>
                </a:cubicBezTo>
                <a:cubicBezTo>
                  <a:pt x="1029349" y="5903214"/>
                  <a:pt x="954786" y="5828642"/>
                  <a:pt x="954786" y="5737168"/>
                </a:cubicBezTo>
                <a:cubicBezTo>
                  <a:pt x="954786" y="5645684"/>
                  <a:pt x="1029358" y="5571121"/>
                  <a:pt x="1120833" y="5571121"/>
                </a:cubicBezTo>
                <a:cubicBezTo>
                  <a:pt x="1212316" y="5562661"/>
                  <a:pt x="1286879" y="5645684"/>
                  <a:pt x="1286879" y="5737168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4" name="Forma libre 378">
            <a:extLst>
              <a:ext uri="{FF2B5EF4-FFF2-40B4-BE49-F238E27FC236}">
                <a16:creationId xmlns:a16="http://schemas.microsoft.com/office/drawing/2014/main" xmlns="" id="{2E5FD926-5357-184A-B2E1-94388DB348FA}"/>
              </a:ext>
            </a:extLst>
          </p:cNvPr>
          <p:cNvSpPr/>
          <p:nvPr/>
        </p:nvSpPr>
        <p:spPr>
          <a:xfrm>
            <a:off x="8805216" y="3919484"/>
            <a:ext cx="263631" cy="355095"/>
          </a:xfrm>
          <a:custGeom>
            <a:avLst/>
            <a:gdLst>
              <a:gd name="connsiteX0" fmla="*/ 4801362 w 5091545"/>
              <a:gd name="connsiteY0" fmla="*/ 2449614 h 6858000"/>
              <a:gd name="connsiteX1" fmla="*/ 4801362 w 5091545"/>
              <a:gd name="connsiteY1" fmla="*/ 2253130 h 6858000"/>
              <a:gd name="connsiteX2" fmla="*/ 2548232 w 5091545"/>
              <a:gd name="connsiteY2" fmla="*/ 0 h 6858000"/>
              <a:gd name="connsiteX3" fmla="*/ 303449 w 5091545"/>
              <a:gd name="connsiteY3" fmla="*/ 2253130 h 6858000"/>
              <a:gd name="connsiteX4" fmla="*/ 303449 w 5091545"/>
              <a:gd name="connsiteY4" fmla="*/ 2449614 h 6858000"/>
              <a:gd name="connsiteX5" fmla="*/ 0 w 5091545"/>
              <a:gd name="connsiteY5" fmla="*/ 2826648 h 6858000"/>
              <a:gd name="connsiteX6" fmla="*/ 0 w 5091545"/>
              <a:gd name="connsiteY6" fmla="*/ 5784541 h 6858000"/>
              <a:gd name="connsiteX7" fmla="*/ 1073459 w 5091545"/>
              <a:gd name="connsiteY7" fmla="*/ 6858000 h 6858000"/>
              <a:gd name="connsiteX8" fmla="*/ 4023005 w 5091545"/>
              <a:gd name="connsiteY8" fmla="*/ 6858000 h 6858000"/>
              <a:gd name="connsiteX9" fmla="*/ 5096464 w 5091545"/>
              <a:gd name="connsiteY9" fmla="*/ 5784541 h 6858000"/>
              <a:gd name="connsiteX10" fmla="*/ 5096464 w 5091545"/>
              <a:gd name="connsiteY10" fmla="*/ 2826648 h 6858000"/>
              <a:gd name="connsiteX11" fmla="*/ 4801362 w 5091545"/>
              <a:gd name="connsiteY11" fmla="*/ 2449614 h 6858000"/>
              <a:gd name="connsiteX12" fmla="*/ 606145 w 5091545"/>
              <a:gd name="connsiteY12" fmla="*/ 2253130 h 6858000"/>
              <a:gd name="connsiteX13" fmla="*/ 2548232 w 5091545"/>
              <a:gd name="connsiteY13" fmla="*/ 303458 h 6858000"/>
              <a:gd name="connsiteX14" fmla="*/ 4497904 w 5091545"/>
              <a:gd name="connsiteY14" fmla="*/ 2253130 h 6858000"/>
              <a:gd name="connsiteX15" fmla="*/ 4497904 w 5091545"/>
              <a:gd name="connsiteY15" fmla="*/ 2441266 h 6858000"/>
              <a:gd name="connsiteX16" fmla="*/ 3949411 w 5091545"/>
              <a:gd name="connsiteY16" fmla="*/ 2441266 h 6858000"/>
              <a:gd name="connsiteX17" fmla="*/ 3949411 w 5091545"/>
              <a:gd name="connsiteY17" fmla="*/ 2236435 h 6858000"/>
              <a:gd name="connsiteX18" fmla="*/ 2564918 w 5091545"/>
              <a:gd name="connsiteY18" fmla="*/ 851942 h 6858000"/>
              <a:gd name="connsiteX19" fmla="*/ 1180425 w 5091545"/>
              <a:gd name="connsiteY19" fmla="*/ 2236435 h 6858000"/>
              <a:gd name="connsiteX20" fmla="*/ 1180425 w 5091545"/>
              <a:gd name="connsiteY20" fmla="*/ 2441266 h 6858000"/>
              <a:gd name="connsiteX21" fmla="*/ 606898 w 5091545"/>
              <a:gd name="connsiteY21" fmla="*/ 2441266 h 6858000"/>
              <a:gd name="connsiteX22" fmla="*/ 606145 w 5091545"/>
              <a:gd name="connsiteY22" fmla="*/ 2253130 h 6858000"/>
              <a:gd name="connsiteX23" fmla="*/ 606145 w 5091545"/>
              <a:gd name="connsiteY23" fmla="*/ 2253130 h 6858000"/>
              <a:gd name="connsiteX24" fmla="*/ 3645971 w 5091545"/>
              <a:gd name="connsiteY24" fmla="*/ 2228088 h 6858000"/>
              <a:gd name="connsiteX25" fmla="*/ 3645971 w 5091545"/>
              <a:gd name="connsiteY25" fmla="*/ 2432919 h 6858000"/>
              <a:gd name="connsiteX26" fmla="*/ 1483120 w 5091545"/>
              <a:gd name="connsiteY26" fmla="*/ 2432919 h 6858000"/>
              <a:gd name="connsiteX27" fmla="*/ 1483120 w 5091545"/>
              <a:gd name="connsiteY27" fmla="*/ 2228088 h 6858000"/>
              <a:gd name="connsiteX28" fmla="*/ 2564927 w 5091545"/>
              <a:gd name="connsiteY28" fmla="*/ 1146282 h 6858000"/>
              <a:gd name="connsiteX29" fmla="*/ 3645971 w 5091545"/>
              <a:gd name="connsiteY29" fmla="*/ 2228088 h 6858000"/>
              <a:gd name="connsiteX30" fmla="*/ 4793015 w 5091545"/>
              <a:gd name="connsiteY30" fmla="*/ 5792127 h 6858000"/>
              <a:gd name="connsiteX31" fmla="*/ 4023005 w 5091545"/>
              <a:gd name="connsiteY31" fmla="*/ 6562136 h 6858000"/>
              <a:gd name="connsiteX32" fmla="*/ 1073459 w 5091545"/>
              <a:gd name="connsiteY32" fmla="*/ 6562136 h 6858000"/>
              <a:gd name="connsiteX33" fmla="*/ 303449 w 5091545"/>
              <a:gd name="connsiteY33" fmla="*/ 5792127 h 6858000"/>
              <a:gd name="connsiteX34" fmla="*/ 303449 w 5091545"/>
              <a:gd name="connsiteY34" fmla="*/ 2825894 h 6858000"/>
              <a:gd name="connsiteX35" fmla="*/ 393729 w 5091545"/>
              <a:gd name="connsiteY35" fmla="*/ 2735615 h 6858000"/>
              <a:gd name="connsiteX36" fmla="*/ 451381 w 5091545"/>
              <a:gd name="connsiteY36" fmla="*/ 2735615 h 6858000"/>
              <a:gd name="connsiteX37" fmla="*/ 1328356 w 5091545"/>
              <a:gd name="connsiteY37" fmla="*/ 2735615 h 6858000"/>
              <a:gd name="connsiteX38" fmla="*/ 3794656 w 5091545"/>
              <a:gd name="connsiteY38" fmla="*/ 2735615 h 6858000"/>
              <a:gd name="connsiteX39" fmla="*/ 4646598 w 5091545"/>
              <a:gd name="connsiteY39" fmla="*/ 2735615 h 6858000"/>
              <a:gd name="connsiteX40" fmla="*/ 4695912 w 5091545"/>
              <a:gd name="connsiteY40" fmla="*/ 2735615 h 6858000"/>
              <a:gd name="connsiteX41" fmla="*/ 4786192 w 5091545"/>
              <a:gd name="connsiteY41" fmla="*/ 2825894 h 6858000"/>
              <a:gd name="connsiteX42" fmla="*/ 4786192 w 5091545"/>
              <a:gd name="connsiteY42" fmla="*/ 5792136 h 6858000"/>
              <a:gd name="connsiteX43" fmla="*/ 4793015 w 5091545"/>
              <a:gd name="connsiteY43" fmla="*/ 5792136 h 6858000"/>
              <a:gd name="connsiteX44" fmla="*/ 2523199 w 5091545"/>
              <a:gd name="connsiteY44" fmla="*/ 3400174 h 6858000"/>
              <a:gd name="connsiteX45" fmla="*/ 1810088 w 5091545"/>
              <a:gd name="connsiteY45" fmla="*/ 4113285 h 6858000"/>
              <a:gd name="connsiteX46" fmla="*/ 1998224 w 5091545"/>
              <a:gd name="connsiteY46" fmla="*/ 4596532 h 6858000"/>
              <a:gd name="connsiteX47" fmla="*/ 1998224 w 5091545"/>
              <a:gd name="connsiteY47" fmla="*/ 5563024 h 6858000"/>
              <a:gd name="connsiteX48" fmla="*/ 2350225 w 5091545"/>
              <a:gd name="connsiteY48" fmla="*/ 5915025 h 6858000"/>
              <a:gd name="connsiteX49" fmla="*/ 2686293 w 5091545"/>
              <a:gd name="connsiteY49" fmla="*/ 5915025 h 6858000"/>
              <a:gd name="connsiteX50" fmla="*/ 3038293 w 5091545"/>
              <a:gd name="connsiteY50" fmla="*/ 5563024 h 6858000"/>
              <a:gd name="connsiteX51" fmla="*/ 3038293 w 5091545"/>
              <a:gd name="connsiteY51" fmla="*/ 4588184 h 6858000"/>
              <a:gd name="connsiteX52" fmla="*/ 3226429 w 5091545"/>
              <a:gd name="connsiteY52" fmla="*/ 4104937 h 6858000"/>
              <a:gd name="connsiteX53" fmla="*/ 2523199 w 5091545"/>
              <a:gd name="connsiteY53" fmla="*/ 3400174 h 6858000"/>
              <a:gd name="connsiteX54" fmla="*/ 2785682 w 5091545"/>
              <a:gd name="connsiteY54" fmla="*/ 4407633 h 6858000"/>
              <a:gd name="connsiteX55" fmla="*/ 2736368 w 5091545"/>
              <a:gd name="connsiteY55" fmla="*/ 4522185 h 6858000"/>
              <a:gd name="connsiteX56" fmla="*/ 2736368 w 5091545"/>
              <a:gd name="connsiteY56" fmla="*/ 5546330 h 6858000"/>
              <a:gd name="connsiteX57" fmla="*/ 2687055 w 5091545"/>
              <a:gd name="connsiteY57" fmla="*/ 5595643 h 6858000"/>
              <a:gd name="connsiteX58" fmla="*/ 2350987 w 5091545"/>
              <a:gd name="connsiteY58" fmla="*/ 5595643 h 6858000"/>
              <a:gd name="connsiteX59" fmla="*/ 2301673 w 5091545"/>
              <a:gd name="connsiteY59" fmla="*/ 5546330 h 6858000"/>
              <a:gd name="connsiteX60" fmla="*/ 2301673 w 5091545"/>
              <a:gd name="connsiteY60" fmla="*/ 4522185 h 6858000"/>
              <a:gd name="connsiteX61" fmla="*/ 2252359 w 5091545"/>
              <a:gd name="connsiteY61" fmla="*/ 4407633 h 6858000"/>
              <a:gd name="connsiteX62" fmla="*/ 2112775 w 5091545"/>
              <a:gd name="connsiteY62" fmla="*/ 4104184 h 6858000"/>
              <a:gd name="connsiteX63" fmla="*/ 2522437 w 5091545"/>
              <a:gd name="connsiteY63" fmla="*/ 3694523 h 6858000"/>
              <a:gd name="connsiteX64" fmla="*/ 2932098 w 5091545"/>
              <a:gd name="connsiteY64" fmla="*/ 4104184 h 6858000"/>
              <a:gd name="connsiteX65" fmla="*/ 2785682 w 5091545"/>
              <a:gd name="connsiteY65" fmla="*/ 44076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5091545" h="6858000">
                <a:moveTo>
                  <a:pt x="4801362" y="2449614"/>
                </a:moveTo>
                <a:lnTo>
                  <a:pt x="4801362" y="2253130"/>
                </a:lnTo>
                <a:cubicBezTo>
                  <a:pt x="4801362" y="1007459"/>
                  <a:pt x="3793903" y="0"/>
                  <a:pt x="2548232" y="0"/>
                </a:cubicBezTo>
                <a:cubicBezTo>
                  <a:pt x="1302561" y="0"/>
                  <a:pt x="303449" y="1007459"/>
                  <a:pt x="303449" y="2253130"/>
                </a:cubicBezTo>
                <a:lnTo>
                  <a:pt x="303449" y="2449614"/>
                </a:lnTo>
                <a:cubicBezTo>
                  <a:pt x="131237" y="2490580"/>
                  <a:pt x="0" y="2646097"/>
                  <a:pt x="0" y="2826648"/>
                </a:cubicBezTo>
                <a:lnTo>
                  <a:pt x="0" y="5784541"/>
                </a:lnTo>
                <a:cubicBezTo>
                  <a:pt x="0" y="6374754"/>
                  <a:pt x="483247" y="6858000"/>
                  <a:pt x="1073459" y="6858000"/>
                </a:cubicBezTo>
                <a:lnTo>
                  <a:pt x="4023005" y="6858000"/>
                </a:lnTo>
                <a:cubicBezTo>
                  <a:pt x="4613218" y="6858000"/>
                  <a:pt x="5096464" y="6374754"/>
                  <a:pt x="5096464" y="5784541"/>
                </a:cubicBezTo>
                <a:lnTo>
                  <a:pt x="5096464" y="2826648"/>
                </a:lnTo>
                <a:cubicBezTo>
                  <a:pt x="5096464" y="2646097"/>
                  <a:pt x="4973566" y="2490580"/>
                  <a:pt x="4801362" y="2449614"/>
                </a:cubicBezTo>
                <a:close/>
                <a:moveTo>
                  <a:pt x="606145" y="2253130"/>
                </a:moveTo>
                <a:cubicBezTo>
                  <a:pt x="606145" y="1171324"/>
                  <a:pt x="1474773" y="303458"/>
                  <a:pt x="2548232" y="303458"/>
                </a:cubicBezTo>
                <a:cubicBezTo>
                  <a:pt x="3621691" y="303458"/>
                  <a:pt x="4497904" y="1180433"/>
                  <a:pt x="4497904" y="2253130"/>
                </a:cubicBezTo>
                <a:lnTo>
                  <a:pt x="4497904" y="2441266"/>
                </a:lnTo>
                <a:lnTo>
                  <a:pt x="3949411" y="2441266"/>
                </a:lnTo>
                <a:lnTo>
                  <a:pt x="3949411" y="2236435"/>
                </a:lnTo>
                <a:cubicBezTo>
                  <a:pt x="3949411" y="1474773"/>
                  <a:pt x="3326580" y="851942"/>
                  <a:pt x="2564918" y="851942"/>
                </a:cubicBezTo>
                <a:cubicBezTo>
                  <a:pt x="1803256" y="851942"/>
                  <a:pt x="1180425" y="1474773"/>
                  <a:pt x="1180425" y="2236435"/>
                </a:cubicBezTo>
                <a:lnTo>
                  <a:pt x="1180425" y="2441266"/>
                </a:lnTo>
                <a:lnTo>
                  <a:pt x="606898" y="2441266"/>
                </a:lnTo>
                <a:lnTo>
                  <a:pt x="606145" y="2253130"/>
                </a:lnTo>
                <a:lnTo>
                  <a:pt x="606145" y="2253130"/>
                </a:lnTo>
                <a:close/>
                <a:moveTo>
                  <a:pt x="3645971" y="2228088"/>
                </a:moveTo>
                <a:lnTo>
                  <a:pt x="3645971" y="2432919"/>
                </a:lnTo>
                <a:lnTo>
                  <a:pt x="1483120" y="2432919"/>
                </a:lnTo>
                <a:lnTo>
                  <a:pt x="1483120" y="2228088"/>
                </a:lnTo>
                <a:cubicBezTo>
                  <a:pt x="1483120" y="1630290"/>
                  <a:pt x="1966367" y="1146282"/>
                  <a:pt x="2564927" y="1146282"/>
                </a:cubicBezTo>
                <a:cubicBezTo>
                  <a:pt x="3163486" y="1146282"/>
                  <a:pt x="3645971" y="1630290"/>
                  <a:pt x="3645971" y="2228088"/>
                </a:cubicBezTo>
                <a:close/>
                <a:moveTo>
                  <a:pt x="4793015" y="5792127"/>
                </a:moveTo>
                <a:cubicBezTo>
                  <a:pt x="4793015" y="6218474"/>
                  <a:pt x="4448600" y="6562136"/>
                  <a:pt x="4023005" y="6562136"/>
                </a:cubicBezTo>
                <a:lnTo>
                  <a:pt x="1073459" y="6562136"/>
                </a:lnTo>
                <a:cubicBezTo>
                  <a:pt x="647111" y="6562136"/>
                  <a:pt x="303449" y="6217721"/>
                  <a:pt x="303449" y="5792127"/>
                </a:cubicBezTo>
                <a:lnTo>
                  <a:pt x="303449" y="2825894"/>
                </a:lnTo>
                <a:cubicBezTo>
                  <a:pt x="303449" y="2776581"/>
                  <a:pt x="344415" y="2735615"/>
                  <a:pt x="393729" y="2735615"/>
                </a:cubicBezTo>
                <a:lnTo>
                  <a:pt x="451381" y="2735615"/>
                </a:lnTo>
                <a:lnTo>
                  <a:pt x="1328356" y="2735615"/>
                </a:lnTo>
                <a:lnTo>
                  <a:pt x="3794656" y="2735615"/>
                </a:lnTo>
                <a:lnTo>
                  <a:pt x="4646598" y="2735615"/>
                </a:lnTo>
                <a:lnTo>
                  <a:pt x="4695912" y="2735615"/>
                </a:lnTo>
                <a:cubicBezTo>
                  <a:pt x="4745225" y="2735615"/>
                  <a:pt x="4786192" y="2776581"/>
                  <a:pt x="4786192" y="2825894"/>
                </a:cubicBezTo>
                <a:lnTo>
                  <a:pt x="4786192" y="5792136"/>
                </a:lnTo>
                <a:lnTo>
                  <a:pt x="4793015" y="5792136"/>
                </a:lnTo>
                <a:close/>
                <a:moveTo>
                  <a:pt x="2523199" y="3400174"/>
                </a:moveTo>
                <a:cubicBezTo>
                  <a:pt x="2130232" y="3400174"/>
                  <a:pt x="1810088" y="3719556"/>
                  <a:pt x="1810088" y="4113285"/>
                </a:cubicBezTo>
                <a:cubicBezTo>
                  <a:pt x="1810088" y="4293836"/>
                  <a:pt x="1875325" y="4465286"/>
                  <a:pt x="1998224" y="4596532"/>
                </a:cubicBezTo>
                <a:lnTo>
                  <a:pt x="1998224" y="5563024"/>
                </a:lnTo>
                <a:cubicBezTo>
                  <a:pt x="1998224" y="5759508"/>
                  <a:pt x="2153741" y="5915025"/>
                  <a:pt x="2350225" y="5915025"/>
                </a:cubicBezTo>
                <a:lnTo>
                  <a:pt x="2686293" y="5915025"/>
                </a:lnTo>
                <a:cubicBezTo>
                  <a:pt x="2882776" y="5915025"/>
                  <a:pt x="3038293" y="5759508"/>
                  <a:pt x="3038293" y="5563024"/>
                </a:cubicBezTo>
                <a:lnTo>
                  <a:pt x="3038293" y="4588184"/>
                </a:lnTo>
                <a:cubicBezTo>
                  <a:pt x="3161192" y="4456938"/>
                  <a:pt x="3226429" y="4284735"/>
                  <a:pt x="3226429" y="4104937"/>
                </a:cubicBezTo>
                <a:cubicBezTo>
                  <a:pt x="3236309" y="3711209"/>
                  <a:pt x="2916928" y="3400174"/>
                  <a:pt x="2523199" y="3400174"/>
                </a:cubicBezTo>
                <a:close/>
                <a:moveTo>
                  <a:pt x="2785682" y="4407633"/>
                </a:moveTo>
                <a:cubicBezTo>
                  <a:pt x="2753063" y="4440252"/>
                  <a:pt x="2736368" y="4481218"/>
                  <a:pt x="2736368" y="4522185"/>
                </a:cubicBezTo>
                <a:lnTo>
                  <a:pt x="2736368" y="5546330"/>
                </a:lnTo>
                <a:cubicBezTo>
                  <a:pt x="2736368" y="5570610"/>
                  <a:pt x="2712088" y="5595643"/>
                  <a:pt x="2687055" y="5595643"/>
                </a:cubicBezTo>
                <a:lnTo>
                  <a:pt x="2350987" y="5595643"/>
                </a:lnTo>
                <a:cubicBezTo>
                  <a:pt x="2326706" y="5595643"/>
                  <a:pt x="2301673" y="5571363"/>
                  <a:pt x="2301673" y="5546330"/>
                </a:cubicBezTo>
                <a:lnTo>
                  <a:pt x="2301673" y="4522185"/>
                </a:lnTo>
                <a:cubicBezTo>
                  <a:pt x="2301673" y="4481218"/>
                  <a:pt x="2284987" y="4440252"/>
                  <a:pt x="2252359" y="4407633"/>
                </a:cubicBezTo>
                <a:cubicBezTo>
                  <a:pt x="2162080" y="4334048"/>
                  <a:pt x="2112775" y="4219497"/>
                  <a:pt x="2112775" y="4104184"/>
                </a:cubicBezTo>
                <a:cubicBezTo>
                  <a:pt x="2112775" y="3882667"/>
                  <a:pt x="2293326" y="3694523"/>
                  <a:pt x="2522437" y="3694523"/>
                </a:cubicBezTo>
                <a:cubicBezTo>
                  <a:pt x="2751539" y="3694523"/>
                  <a:pt x="2932098" y="3875073"/>
                  <a:pt x="2932098" y="4104184"/>
                </a:cubicBezTo>
                <a:cubicBezTo>
                  <a:pt x="2932860" y="4219489"/>
                  <a:pt x="2875961" y="4334040"/>
                  <a:pt x="2785682" y="4407633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5" name="Forma libre 380">
            <a:extLst>
              <a:ext uri="{FF2B5EF4-FFF2-40B4-BE49-F238E27FC236}">
                <a16:creationId xmlns:a16="http://schemas.microsoft.com/office/drawing/2014/main" xmlns="" id="{433DCE2B-0102-E94A-994F-6C9C6F040337}"/>
              </a:ext>
            </a:extLst>
          </p:cNvPr>
          <p:cNvSpPr/>
          <p:nvPr/>
        </p:nvSpPr>
        <p:spPr>
          <a:xfrm>
            <a:off x="7284968" y="2727959"/>
            <a:ext cx="261838" cy="355095"/>
          </a:xfrm>
          <a:custGeom>
            <a:avLst/>
            <a:gdLst>
              <a:gd name="connsiteX0" fmla="*/ 4657846 w 5056909"/>
              <a:gd name="connsiteY0" fmla="*/ 6858000 h 6858000"/>
              <a:gd name="connsiteX1" fmla="*/ 406666 w 5056909"/>
              <a:gd name="connsiteY1" fmla="*/ 6858000 h 6858000"/>
              <a:gd name="connsiteX2" fmla="*/ 0 w 5056909"/>
              <a:gd name="connsiteY2" fmla="*/ 6451335 h 6858000"/>
              <a:gd name="connsiteX3" fmla="*/ 0 w 5056909"/>
              <a:gd name="connsiteY3" fmla="*/ 406666 h 6858000"/>
              <a:gd name="connsiteX4" fmla="*/ 406666 w 5056909"/>
              <a:gd name="connsiteY4" fmla="*/ 0 h 6858000"/>
              <a:gd name="connsiteX5" fmla="*/ 4657838 w 5056909"/>
              <a:gd name="connsiteY5" fmla="*/ 0 h 6858000"/>
              <a:gd name="connsiteX6" fmla="*/ 5064503 w 5056909"/>
              <a:gd name="connsiteY6" fmla="*/ 406666 h 6858000"/>
              <a:gd name="connsiteX7" fmla="*/ 5064503 w 5056909"/>
              <a:gd name="connsiteY7" fmla="*/ 6450564 h 6858000"/>
              <a:gd name="connsiteX8" fmla="*/ 4657846 w 5056909"/>
              <a:gd name="connsiteY8" fmla="*/ 6858000 h 6858000"/>
              <a:gd name="connsiteX9" fmla="*/ 406666 w 5056909"/>
              <a:gd name="connsiteY9" fmla="*/ 307502 h 6858000"/>
              <a:gd name="connsiteX10" fmla="*/ 306731 w 5056909"/>
              <a:gd name="connsiteY10" fmla="*/ 407436 h 6858000"/>
              <a:gd name="connsiteX11" fmla="*/ 306731 w 5056909"/>
              <a:gd name="connsiteY11" fmla="*/ 6451335 h 6858000"/>
              <a:gd name="connsiteX12" fmla="*/ 406666 w 5056909"/>
              <a:gd name="connsiteY12" fmla="*/ 6551270 h 6858000"/>
              <a:gd name="connsiteX13" fmla="*/ 4657838 w 5056909"/>
              <a:gd name="connsiteY13" fmla="*/ 6551270 h 6858000"/>
              <a:gd name="connsiteX14" fmla="*/ 4757773 w 5056909"/>
              <a:gd name="connsiteY14" fmla="*/ 6451335 h 6858000"/>
              <a:gd name="connsiteX15" fmla="*/ 4757773 w 5056909"/>
              <a:gd name="connsiteY15" fmla="*/ 406666 h 6858000"/>
              <a:gd name="connsiteX16" fmla="*/ 4657838 w 5056909"/>
              <a:gd name="connsiteY16" fmla="*/ 306731 h 6858000"/>
              <a:gd name="connsiteX17" fmla="*/ 406666 w 5056909"/>
              <a:gd name="connsiteY17" fmla="*/ 306731 h 6858000"/>
              <a:gd name="connsiteX18" fmla="*/ 406666 w 5056909"/>
              <a:gd name="connsiteY18" fmla="*/ 307502 h 6858000"/>
              <a:gd name="connsiteX19" fmla="*/ 4052074 w 5056909"/>
              <a:gd name="connsiteY19" fmla="*/ 4815433 h 6858000"/>
              <a:gd name="connsiteX20" fmla="*/ 3902938 w 5056909"/>
              <a:gd name="connsiteY20" fmla="*/ 4666298 h 6858000"/>
              <a:gd name="connsiteX21" fmla="*/ 2117130 w 5056909"/>
              <a:gd name="connsiteY21" fmla="*/ 4666298 h 6858000"/>
              <a:gd name="connsiteX22" fmla="*/ 1967995 w 5056909"/>
              <a:gd name="connsiteY22" fmla="*/ 4815433 h 6858000"/>
              <a:gd name="connsiteX23" fmla="*/ 2117130 w 5056909"/>
              <a:gd name="connsiteY23" fmla="*/ 4964569 h 6858000"/>
              <a:gd name="connsiteX24" fmla="*/ 3893708 w 5056909"/>
              <a:gd name="connsiteY24" fmla="*/ 4964569 h 6858000"/>
              <a:gd name="connsiteX25" fmla="*/ 4052074 w 5056909"/>
              <a:gd name="connsiteY25" fmla="*/ 4815433 h 6858000"/>
              <a:gd name="connsiteX26" fmla="*/ 4052074 w 5056909"/>
              <a:gd name="connsiteY26" fmla="*/ 5737168 h 6858000"/>
              <a:gd name="connsiteX27" fmla="*/ 3902938 w 5056909"/>
              <a:gd name="connsiteY27" fmla="*/ 5588032 h 6858000"/>
              <a:gd name="connsiteX28" fmla="*/ 2117130 w 5056909"/>
              <a:gd name="connsiteY28" fmla="*/ 5588032 h 6858000"/>
              <a:gd name="connsiteX29" fmla="*/ 1967995 w 5056909"/>
              <a:gd name="connsiteY29" fmla="*/ 5737168 h 6858000"/>
              <a:gd name="connsiteX30" fmla="*/ 2117130 w 5056909"/>
              <a:gd name="connsiteY30" fmla="*/ 5886303 h 6858000"/>
              <a:gd name="connsiteX31" fmla="*/ 3893708 w 5056909"/>
              <a:gd name="connsiteY31" fmla="*/ 5886303 h 6858000"/>
              <a:gd name="connsiteX32" fmla="*/ 4052074 w 5056909"/>
              <a:gd name="connsiteY32" fmla="*/ 5737168 h 6858000"/>
              <a:gd name="connsiteX33" fmla="*/ 4052074 w 5056909"/>
              <a:gd name="connsiteY33" fmla="*/ 3902168 h 6858000"/>
              <a:gd name="connsiteX34" fmla="*/ 3902938 w 5056909"/>
              <a:gd name="connsiteY34" fmla="*/ 3753032 h 6858000"/>
              <a:gd name="connsiteX35" fmla="*/ 2117130 w 5056909"/>
              <a:gd name="connsiteY35" fmla="*/ 3753032 h 6858000"/>
              <a:gd name="connsiteX36" fmla="*/ 1967995 w 5056909"/>
              <a:gd name="connsiteY36" fmla="*/ 3902168 h 6858000"/>
              <a:gd name="connsiteX37" fmla="*/ 2117130 w 5056909"/>
              <a:gd name="connsiteY37" fmla="*/ 4051303 h 6858000"/>
              <a:gd name="connsiteX38" fmla="*/ 3893708 w 5056909"/>
              <a:gd name="connsiteY38" fmla="*/ 4051303 h 6858000"/>
              <a:gd name="connsiteX39" fmla="*/ 4052074 w 5056909"/>
              <a:gd name="connsiteY39" fmla="*/ 3902168 h 6858000"/>
              <a:gd name="connsiteX40" fmla="*/ 4052074 w 5056909"/>
              <a:gd name="connsiteY40" fmla="*/ 2997344 h 6858000"/>
              <a:gd name="connsiteX41" fmla="*/ 3902938 w 5056909"/>
              <a:gd name="connsiteY41" fmla="*/ 2848209 h 6858000"/>
              <a:gd name="connsiteX42" fmla="*/ 2117130 w 5056909"/>
              <a:gd name="connsiteY42" fmla="*/ 2848209 h 6858000"/>
              <a:gd name="connsiteX43" fmla="*/ 1967995 w 5056909"/>
              <a:gd name="connsiteY43" fmla="*/ 2997344 h 6858000"/>
              <a:gd name="connsiteX44" fmla="*/ 2117130 w 5056909"/>
              <a:gd name="connsiteY44" fmla="*/ 3146480 h 6858000"/>
              <a:gd name="connsiteX45" fmla="*/ 3893708 w 5056909"/>
              <a:gd name="connsiteY45" fmla="*/ 3146480 h 6858000"/>
              <a:gd name="connsiteX46" fmla="*/ 4052074 w 5056909"/>
              <a:gd name="connsiteY46" fmla="*/ 2997344 h 6858000"/>
              <a:gd name="connsiteX47" fmla="*/ 4035163 w 5056909"/>
              <a:gd name="connsiteY47" fmla="*/ 2092530 h 6858000"/>
              <a:gd name="connsiteX48" fmla="*/ 3886027 w 5056909"/>
              <a:gd name="connsiteY48" fmla="*/ 1943395 h 6858000"/>
              <a:gd name="connsiteX49" fmla="*/ 2117901 w 5056909"/>
              <a:gd name="connsiteY49" fmla="*/ 1943395 h 6858000"/>
              <a:gd name="connsiteX50" fmla="*/ 1968766 w 5056909"/>
              <a:gd name="connsiteY50" fmla="*/ 2092530 h 6858000"/>
              <a:gd name="connsiteX51" fmla="*/ 2117901 w 5056909"/>
              <a:gd name="connsiteY51" fmla="*/ 2241666 h 6858000"/>
              <a:gd name="connsiteX52" fmla="*/ 3886019 w 5056909"/>
              <a:gd name="connsiteY52" fmla="*/ 2241666 h 6858000"/>
              <a:gd name="connsiteX53" fmla="*/ 4035163 w 5056909"/>
              <a:gd name="connsiteY53" fmla="*/ 2092530 h 6858000"/>
              <a:gd name="connsiteX54" fmla="*/ 4035163 w 5056909"/>
              <a:gd name="connsiteY54" fmla="*/ 1179256 h 6858000"/>
              <a:gd name="connsiteX55" fmla="*/ 3886027 w 5056909"/>
              <a:gd name="connsiteY55" fmla="*/ 1030120 h 6858000"/>
              <a:gd name="connsiteX56" fmla="*/ 2117901 w 5056909"/>
              <a:gd name="connsiteY56" fmla="*/ 1030120 h 6858000"/>
              <a:gd name="connsiteX57" fmla="*/ 1968766 w 5056909"/>
              <a:gd name="connsiteY57" fmla="*/ 1179256 h 6858000"/>
              <a:gd name="connsiteX58" fmla="*/ 2117901 w 5056909"/>
              <a:gd name="connsiteY58" fmla="*/ 1328391 h 6858000"/>
              <a:gd name="connsiteX59" fmla="*/ 3886019 w 5056909"/>
              <a:gd name="connsiteY59" fmla="*/ 1328391 h 6858000"/>
              <a:gd name="connsiteX60" fmla="*/ 4035163 w 5056909"/>
              <a:gd name="connsiteY60" fmla="*/ 1179256 h 6858000"/>
              <a:gd name="connsiteX61" fmla="*/ 1170804 w 5056909"/>
              <a:gd name="connsiteY61" fmla="*/ 1452935 h 6858000"/>
              <a:gd name="connsiteX62" fmla="*/ 1552869 w 5056909"/>
              <a:gd name="connsiteY62" fmla="*/ 1070870 h 6858000"/>
              <a:gd name="connsiteX63" fmla="*/ 1552869 w 5056909"/>
              <a:gd name="connsiteY63" fmla="*/ 854851 h 6858000"/>
              <a:gd name="connsiteX64" fmla="*/ 1336851 w 5056909"/>
              <a:gd name="connsiteY64" fmla="*/ 854851 h 6858000"/>
              <a:gd name="connsiteX65" fmla="*/ 1063181 w 5056909"/>
              <a:gd name="connsiteY65" fmla="*/ 1129293 h 6858000"/>
              <a:gd name="connsiteX66" fmla="*/ 1013209 w 5056909"/>
              <a:gd name="connsiteY66" fmla="*/ 1079321 h 6858000"/>
              <a:gd name="connsiteX67" fmla="*/ 797191 w 5056909"/>
              <a:gd name="connsiteY67" fmla="*/ 1079321 h 6858000"/>
              <a:gd name="connsiteX68" fmla="*/ 797191 w 5056909"/>
              <a:gd name="connsiteY68" fmla="*/ 1295339 h 6858000"/>
              <a:gd name="connsiteX69" fmla="*/ 954786 w 5056909"/>
              <a:gd name="connsiteY69" fmla="*/ 1452935 h 6858000"/>
              <a:gd name="connsiteX70" fmla="*/ 1062410 w 5056909"/>
              <a:gd name="connsiteY70" fmla="*/ 1494447 h 6858000"/>
              <a:gd name="connsiteX71" fmla="*/ 1170804 w 5056909"/>
              <a:gd name="connsiteY71" fmla="*/ 1452935 h 6858000"/>
              <a:gd name="connsiteX72" fmla="*/ 1170804 w 5056909"/>
              <a:gd name="connsiteY72" fmla="*/ 2391572 h 6858000"/>
              <a:gd name="connsiteX73" fmla="*/ 1552869 w 5056909"/>
              <a:gd name="connsiteY73" fmla="*/ 2009507 h 6858000"/>
              <a:gd name="connsiteX74" fmla="*/ 1552869 w 5056909"/>
              <a:gd name="connsiteY74" fmla="*/ 1793488 h 6858000"/>
              <a:gd name="connsiteX75" fmla="*/ 1336851 w 5056909"/>
              <a:gd name="connsiteY75" fmla="*/ 1793488 h 6858000"/>
              <a:gd name="connsiteX76" fmla="*/ 1063181 w 5056909"/>
              <a:gd name="connsiteY76" fmla="*/ 2067159 h 6858000"/>
              <a:gd name="connsiteX77" fmla="*/ 1013209 w 5056909"/>
              <a:gd name="connsiteY77" fmla="*/ 2017187 h 6858000"/>
              <a:gd name="connsiteX78" fmla="*/ 797191 w 5056909"/>
              <a:gd name="connsiteY78" fmla="*/ 2017187 h 6858000"/>
              <a:gd name="connsiteX79" fmla="*/ 797191 w 5056909"/>
              <a:gd name="connsiteY79" fmla="*/ 2233206 h 6858000"/>
              <a:gd name="connsiteX80" fmla="*/ 954786 w 5056909"/>
              <a:gd name="connsiteY80" fmla="*/ 2390801 h 6858000"/>
              <a:gd name="connsiteX81" fmla="*/ 1062410 w 5056909"/>
              <a:gd name="connsiteY81" fmla="*/ 2432313 h 6858000"/>
              <a:gd name="connsiteX82" fmla="*/ 1062410 w 5056909"/>
              <a:gd name="connsiteY82" fmla="*/ 2432313 h 6858000"/>
              <a:gd name="connsiteX83" fmla="*/ 1170804 w 5056909"/>
              <a:gd name="connsiteY83" fmla="*/ 2391572 h 6858000"/>
              <a:gd name="connsiteX84" fmla="*/ 1170804 w 5056909"/>
              <a:gd name="connsiteY84" fmla="*/ 3296395 h 6858000"/>
              <a:gd name="connsiteX85" fmla="*/ 1552869 w 5056909"/>
              <a:gd name="connsiteY85" fmla="*/ 2914330 h 6858000"/>
              <a:gd name="connsiteX86" fmla="*/ 1552869 w 5056909"/>
              <a:gd name="connsiteY86" fmla="*/ 2698311 h 6858000"/>
              <a:gd name="connsiteX87" fmla="*/ 1336851 w 5056909"/>
              <a:gd name="connsiteY87" fmla="*/ 2698311 h 6858000"/>
              <a:gd name="connsiteX88" fmla="*/ 1063181 w 5056909"/>
              <a:gd name="connsiteY88" fmla="*/ 2971982 h 6858000"/>
              <a:gd name="connsiteX89" fmla="*/ 1013209 w 5056909"/>
              <a:gd name="connsiteY89" fmla="*/ 2922010 h 6858000"/>
              <a:gd name="connsiteX90" fmla="*/ 797191 w 5056909"/>
              <a:gd name="connsiteY90" fmla="*/ 2922010 h 6858000"/>
              <a:gd name="connsiteX91" fmla="*/ 797191 w 5056909"/>
              <a:gd name="connsiteY91" fmla="*/ 3138029 h 6858000"/>
              <a:gd name="connsiteX92" fmla="*/ 954786 w 5056909"/>
              <a:gd name="connsiteY92" fmla="*/ 3295624 h 6858000"/>
              <a:gd name="connsiteX93" fmla="*/ 1062410 w 5056909"/>
              <a:gd name="connsiteY93" fmla="*/ 3337136 h 6858000"/>
              <a:gd name="connsiteX94" fmla="*/ 1062410 w 5056909"/>
              <a:gd name="connsiteY94" fmla="*/ 3337136 h 6858000"/>
              <a:gd name="connsiteX95" fmla="*/ 1170804 w 5056909"/>
              <a:gd name="connsiteY95" fmla="*/ 3296395 h 6858000"/>
              <a:gd name="connsiteX96" fmla="*/ 1170804 w 5056909"/>
              <a:gd name="connsiteY96" fmla="*/ 4201209 h 6858000"/>
              <a:gd name="connsiteX97" fmla="*/ 1552869 w 5056909"/>
              <a:gd name="connsiteY97" fmla="*/ 3819144 h 6858000"/>
              <a:gd name="connsiteX98" fmla="*/ 1552869 w 5056909"/>
              <a:gd name="connsiteY98" fmla="*/ 3603126 h 6858000"/>
              <a:gd name="connsiteX99" fmla="*/ 1336851 w 5056909"/>
              <a:gd name="connsiteY99" fmla="*/ 3603126 h 6858000"/>
              <a:gd name="connsiteX100" fmla="*/ 1063181 w 5056909"/>
              <a:gd name="connsiteY100" fmla="*/ 3876796 h 6858000"/>
              <a:gd name="connsiteX101" fmla="*/ 1004758 w 5056909"/>
              <a:gd name="connsiteY101" fmla="*/ 3826825 h 6858000"/>
              <a:gd name="connsiteX102" fmla="*/ 788739 w 5056909"/>
              <a:gd name="connsiteY102" fmla="*/ 3826825 h 6858000"/>
              <a:gd name="connsiteX103" fmla="*/ 788739 w 5056909"/>
              <a:gd name="connsiteY103" fmla="*/ 4042843 h 6858000"/>
              <a:gd name="connsiteX104" fmla="*/ 946335 w 5056909"/>
              <a:gd name="connsiteY104" fmla="*/ 4200439 h 6858000"/>
              <a:gd name="connsiteX105" fmla="*/ 1053959 w 5056909"/>
              <a:gd name="connsiteY105" fmla="*/ 4241950 h 6858000"/>
              <a:gd name="connsiteX106" fmla="*/ 1053959 w 5056909"/>
              <a:gd name="connsiteY106" fmla="*/ 4241950 h 6858000"/>
              <a:gd name="connsiteX107" fmla="*/ 1170804 w 5056909"/>
              <a:gd name="connsiteY107" fmla="*/ 4201209 h 6858000"/>
              <a:gd name="connsiteX108" fmla="*/ 1170804 w 5056909"/>
              <a:gd name="connsiteY108" fmla="*/ 5114484 h 6858000"/>
              <a:gd name="connsiteX109" fmla="*/ 1552869 w 5056909"/>
              <a:gd name="connsiteY109" fmla="*/ 4732419 h 6858000"/>
              <a:gd name="connsiteX110" fmla="*/ 1552869 w 5056909"/>
              <a:gd name="connsiteY110" fmla="*/ 4516400 h 6858000"/>
              <a:gd name="connsiteX111" fmla="*/ 1336851 w 5056909"/>
              <a:gd name="connsiteY111" fmla="*/ 4516400 h 6858000"/>
              <a:gd name="connsiteX112" fmla="*/ 1063181 w 5056909"/>
              <a:gd name="connsiteY112" fmla="*/ 4790071 h 6858000"/>
              <a:gd name="connsiteX113" fmla="*/ 1013209 w 5056909"/>
              <a:gd name="connsiteY113" fmla="*/ 4740099 h 6858000"/>
              <a:gd name="connsiteX114" fmla="*/ 797191 w 5056909"/>
              <a:gd name="connsiteY114" fmla="*/ 4740099 h 6858000"/>
              <a:gd name="connsiteX115" fmla="*/ 797191 w 5056909"/>
              <a:gd name="connsiteY115" fmla="*/ 4956117 h 6858000"/>
              <a:gd name="connsiteX116" fmla="*/ 954786 w 5056909"/>
              <a:gd name="connsiteY116" fmla="*/ 5113713 h 6858000"/>
              <a:gd name="connsiteX117" fmla="*/ 1062410 w 5056909"/>
              <a:gd name="connsiteY117" fmla="*/ 5155225 h 6858000"/>
              <a:gd name="connsiteX118" fmla="*/ 1062410 w 5056909"/>
              <a:gd name="connsiteY118" fmla="*/ 5155225 h 6858000"/>
              <a:gd name="connsiteX119" fmla="*/ 1170804 w 5056909"/>
              <a:gd name="connsiteY119" fmla="*/ 5114484 h 6858000"/>
              <a:gd name="connsiteX120" fmla="*/ 1170804 w 5056909"/>
              <a:gd name="connsiteY120" fmla="*/ 6027749 h 6858000"/>
              <a:gd name="connsiteX121" fmla="*/ 1552869 w 5056909"/>
              <a:gd name="connsiteY121" fmla="*/ 5645684 h 6858000"/>
              <a:gd name="connsiteX122" fmla="*/ 1552869 w 5056909"/>
              <a:gd name="connsiteY122" fmla="*/ 5429666 h 6858000"/>
              <a:gd name="connsiteX123" fmla="*/ 1336851 w 5056909"/>
              <a:gd name="connsiteY123" fmla="*/ 5429666 h 6858000"/>
              <a:gd name="connsiteX124" fmla="*/ 1063181 w 5056909"/>
              <a:gd name="connsiteY124" fmla="*/ 5703337 h 6858000"/>
              <a:gd name="connsiteX125" fmla="*/ 1004758 w 5056909"/>
              <a:gd name="connsiteY125" fmla="*/ 5653365 h 6858000"/>
              <a:gd name="connsiteX126" fmla="*/ 788739 w 5056909"/>
              <a:gd name="connsiteY126" fmla="*/ 5653365 h 6858000"/>
              <a:gd name="connsiteX127" fmla="*/ 788739 w 5056909"/>
              <a:gd name="connsiteY127" fmla="*/ 5869383 h 6858000"/>
              <a:gd name="connsiteX128" fmla="*/ 946335 w 5056909"/>
              <a:gd name="connsiteY128" fmla="*/ 6026979 h 6858000"/>
              <a:gd name="connsiteX129" fmla="*/ 1053959 w 5056909"/>
              <a:gd name="connsiteY129" fmla="*/ 6068490 h 6858000"/>
              <a:gd name="connsiteX130" fmla="*/ 1170804 w 5056909"/>
              <a:gd name="connsiteY130" fmla="*/ 602774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056909" h="6858000">
                <a:moveTo>
                  <a:pt x="4657846" y="6858000"/>
                </a:moveTo>
                <a:lnTo>
                  <a:pt x="406666" y="6858000"/>
                </a:lnTo>
                <a:cubicBezTo>
                  <a:pt x="182187" y="6858000"/>
                  <a:pt x="0" y="6675042"/>
                  <a:pt x="0" y="6451335"/>
                </a:cubicBezTo>
                <a:lnTo>
                  <a:pt x="0" y="406666"/>
                </a:lnTo>
                <a:cubicBezTo>
                  <a:pt x="0" y="182196"/>
                  <a:pt x="182958" y="0"/>
                  <a:pt x="406666" y="0"/>
                </a:cubicBezTo>
                <a:lnTo>
                  <a:pt x="4657838" y="0"/>
                </a:lnTo>
                <a:cubicBezTo>
                  <a:pt x="4882316" y="0"/>
                  <a:pt x="5064503" y="182958"/>
                  <a:pt x="5064503" y="406666"/>
                </a:cubicBezTo>
                <a:lnTo>
                  <a:pt x="5064503" y="6450564"/>
                </a:lnTo>
                <a:cubicBezTo>
                  <a:pt x="5064512" y="6675042"/>
                  <a:pt x="4882316" y="6858000"/>
                  <a:pt x="4657846" y="6858000"/>
                </a:cubicBezTo>
                <a:close/>
                <a:moveTo>
                  <a:pt x="406666" y="307502"/>
                </a:moveTo>
                <a:cubicBezTo>
                  <a:pt x="348243" y="307502"/>
                  <a:pt x="306731" y="349013"/>
                  <a:pt x="306731" y="407436"/>
                </a:cubicBezTo>
                <a:lnTo>
                  <a:pt x="306731" y="6451335"/>
                </a:lnTo>
                <a:cubicBezTo>
                  <a:pt x="306731" y="6509758"/>
                  <a:pt x="348243" y="6551270"/>
                  <a:pt x="406666" y="6551270"/>
                </a:cubicBezTo>
                <a:lnTo>
                  <a:pt x="4657838" y="6551270"/>
                </a:lnTo>
                <a:cubicBezTo>
                  <a:pt x="4716261" y="6551270"/>
                  <a:pt x="4757773" y="6509758"/>
                  <a:pt x="4757773" y="6451335"/>
                </a:cubicBezTo>
                <a:lnTo>
                  <a:pt x="4757773" y="406666"/>
                </a:lnTo>
                <a:cubicBezTo>
                  <a:pt x="4757773" y="348243"/>
                  <a:pt x="4716261" y="306731"/>
                  <a:pt x="4657838" y="306731"/>
                </a:cubicBezTo>
                <a:lnTo>
                  <a:pt x="406666" y="306731"/>
                </a:lnTo>
                <a:lnTo>
                  <a:pt x="406666" y="307502"/>
                </a:lnTo>
                <a:close/>
                <a:moveTo>
                  <a:pt x="4052074" y="4815433"/>
                </a:moveTo>
                <a:cubicBezTo>
                  <a:pt x="4052074" y="4732410"/>
                  <a:pt x="3985962" y="4666298"/>
                  <a:pt x="3902938" y="4666298"/>
                </a:cubicBezTo>
                <a:lnTo>
                  <a:pt x="2117130" y="4666298"/>
                </a:lnTo>
                <a:cubicBezTo>
                  <a:pt x="2034107" y="4666298"/>
                  <a:pt x="1967995" y="4732410"/>
                  <a:pt x="1967995" y="4815433"/>
                </a:cubicBezTo>
                <a:cubicBezTo>
                  <a:pt x="1967995" y="4898457"/>
                  <a:pt x="2034107" y="4964569"/>
                  <a:pt x="2117130" y="4964569"/>
                </a:cubicBezTo>
                <a:lnTo>
                  <a:pt x="3893708" y="4964569"/>
                </a:lnTo>
                <a:cubicBezTo>
                  <a:pt x="3976731" y="4965339"/>
                  <a:pt x="4052074" y="4898466"/>
                  <a:pt x="4052074" y="4815433"/>
                </a:cubicBezTo>
                <a:close/>
                <a:moveTo>
                  <a:pt x="4052074" y="5737168"/>
                </a:moveTo>
                <a:cubicBezTo>
                  <a:pt x="4052074" y="5654144"/>
                  <a:pt x="3985962" y="5588032"/>
                  <a:pt x="3902938" y="5588032"/>
                </a:cubicBezTo>
                <a:lnTo>
                  <a:pt x="2117130" y="5588032"/>
                </a:lnTo>
                <a:cubicBezTo>
                  <a:pt x="2034107" y="5588032"/>
                  <a:pt x="1967995" y="5654144"/>
                  <a:pt x="1967995" y="5737168"/>
                </a:cubicBezTo>
                <a:cubicBezTo>
                  <a:pt x="1967995" y="5820191"/>
                  <a:pt x="2034107" y="5886303"/>
                  <a:pt x="2117130" y="5886303"/>
                </a:cubicBezTo>
                <a:lnTo>
                  <a:pt x="3893708" y="5886303"/>
                </a:lnTo>
                <a:cubicBezTo>
                  <a:pt x="3976731" y="5886303"/>
                  <a:pt x="4052074" y="5820191"/>
                  <a:pt x="4052074" y="5737168"/>
                </a:cubicBezTo>
                <a:close/>
                <a:moveTo>
                  <a:pt x="4052074" y="3902168"/>
                </a:moveTo>
                <a:cubicBezTo>
                  <a:pt x="4052074" y="3819144"/>
                  <a:pt x="3985962" y="3753032"/>
                  <a:pt x="3902938" y="3753032"/>
                </a:cubicBezTo>
                <a:lnTo>
                  <a:pt x="2117130" y="3753032"/>
                </a:lnTo>
                <a:cubicBezTo>
                  <a:pt x="2034107" y="3753032"/>
                  <a:pt x="1967995" y="3819144"/>
                  <a:pt x="1967995" y="3902168"/>
                </a:cubicBezTo>
                <a:cubicBezTo>
                  <a:pt x="1967995" y="3985191"/>
                  <a:pt x="2034107" y="4051303"/>
                  <a:pt x="2117130" y="4051303"/>
                </a:cubicBezTo>
                <a:lnTo>
                  <a:pt x="3893708" y="4051303"/>
                </a:lnTo>
                <a:cubicBezTo>
                  <a:pt x="3976731" y="4059754"/>
                  <a:pt x="4052074" y="3993642"/>
                  <a:pt x="4052074" y="3902168"/>
                </a:cubicBezTo>
                <a:close/>
                <a:moveTo>
                  <a:pt x="4052074" y="2997344"/>
                </a:moveTo>
                <a:cubicBezTo>
                  <a:pt x="4052074" y="2914321"/>
                  <a:pt x="3985962" y="2848209"/>
                  <a:pt x="3902938" y="2848209"/>
                </a:cubicBezTo>
                <a:lnTo>
                  <a:pt x="2117130" y="2848209"/>
                </a:lnTo>
                <a:cubicBezTo>
                  <a:pt x="2034107" y="2848209"/>
                  <a:pt x="1967995" y="2914321"/>
                  <a:pt x="1967995" y="2997344"/>
                </a:cubicBezTo>
                <a:cubicBezTo>
                  <a:pt x="1967995" y="3080368"/>
                  <a:pt x="2034107" y="3146480"/>
                  <a:pt x="2117130" y="3146480"/>
                </a:cubicBezTo>
                <a:lnTo>
                  <a:pt x="3893708" y="3146480"/>
                </a:lnTo>
                <a:cubicBezTo>
                  <a:pt x="3976731" y="3146489"/>
                  <a:pt x="4052074" y="3080377"/>
                  <a:pt x="4052074" y="2997344"/>
                </a:cubicBezTo>
                <a:close/>
                <a:moveTo>
                  <a:pt x="4035163" y="2092530"/>
                </a:moveTo>
                <a:cubicBezTo>
                  <a:pt x="4035163" y="2009507"/>
                  <a:pt x="3969050" y="1943395"/>
                  <a:pt x="3886027" y="1943395"/>
                </a:cubicBezTo>
                <a:lnTo>
                  <a:pt x="2117901" y="1943395"/>
                </a:lnTo>
                <a:cubicBezTo>
                  <a:pt x="2034878" y="1943395"/>
                  <a:pt x="1968766" y="2009507"/>
                  <a:pt x="1968766" y="2092530"/>
                </a:cubicBezTo>
                <a:cubicBezTo>
                  <a:pt x="1968766" y="2175553"/>
                  <a:pt x="2034878" y="2241666"/>
                  <a:pt x="2117901" y="2241666"/>
                </a:cubicBezTo>
                <a:lnTo>
                  <a:pt x="3886019" y="2241666"/>
                </a:lnTo>
                <a:cubicBezTo>
                  <a:pt x="3969050" y="2241666"/>
                  <a:pt x="4035163" y="2175553"/>
                  <a:pt x="4035163" y="2092530"/>
                </a:cubicBezTo>
                <a:close/>
                <a:moveTo>
                  <a:pt x="4035163" y="1179256"/>
                </a:moveTo>
                <a:cubicBezTo>
                  <a:pt x="4035163" y="1096232"/>
                  <a:pt x="3969050" y="1030120"/>
                  <a:pt x="3886027" y="1030120"/>
                </a:cubicBezTo>
                <a:lnTo>
                  <a:pt x="2117901" y="1030120"/>
                </a:lnTo>
                <a:cubicBezTo>
                  <a:pt x="2034878" y="1030120"/>
                  <a:pt x="1968766" y="1096232"/>
                  <a:pt x="1968766" y="1179256"/>
                </a:cubicBezTo>
                <a:cubicBezTo>
                  <a:pt x="1968766" y="1262279"/>
                  <a:pt x="2034878" y="1328391"/>
                  <a:pt x="2117901" y="1328391"/>
                </a:cubicBezTo>
                <a:lnTo>
                  <a:pt x="3886019" y="1328391"/>
                </a:lnTo>
                <a:cubicBezTo>
                  <a:pt x="3969050" y="1336851"/>
                  <a:pt x="4035163" y="1262288"/>
                  <a:pt x="4035163" y="1179256"/>
                </a:cubicBezTo>
                <a:close/>
                <a:moveTo>
                  <a:pt x="1170804" y="1452935"/>
                </a:moveTo>
                <a:lnTo>
                  <a:pt x="1552869" y="1070870"/>
                </a:lnTo>
                <a:cubicBezTo>
                  <a:pt x="1611292" y="1012447"/>
                  <a:pt x="1611292" y="913274"/>
                  <a:pt x="1552869" y="854851"/>
                </a:cubicBezTo>
                <a:cubicBezTo>
                  <a:pt x="1494447" y="796429"/>
                  <a:pt x="1395274" y="796429"/>
                  <a:pt x="1336851" y="854851"/>
                </a:cubicBezTo>
                <a:lnTo>
                  <a:pt x="1063181" y="1129293"/>
                </a:lnTo>
                <a:lnTo>
                  <a:pt x="1013209" y="1079321"/>
                </a:lnTo>
                <a:cubicBezTo>
                  <a:pt x="954786" y="1020898"/>
                  <a:pt x="855613" y="1020898"/>
                  <a:pt x="797191" y="1079321"/>
                </a:cubicBezTo>
                <a:cubicBezTo>
                  <a:pt x="738768" y="1137744"/>
                  <a:pt x="738768" y="1236917"/>
                  <a:pt x="797191" y="1295339"/>
                </a:cubicBezTo>
                <a:lnTo>
                  <a:pt x="954786" y="1452935"/>
                </a:lnTo>
                <a:cubicBezTo>
                  <a:pt x="987847" y="1485995"/>
                  <a:pt x="1020898" y="1494447"/>
                  <a:pt x="1062410" y="1494447"/>
                </a:cubicBezTo>
                <a:cubicBezTo>
                  <a:pt x="1096232" y="1494447"/>
                  <a:pt x="1137744" y="1478306"/>
                  <a:pt x="1170804" y="1452935"/>
                </a:cubicBezTo>
                <a:close/>
                <a:moveTo>
                  <a:pt x="1170804" y="2391572"/>
                </a:moveTo>
                <a:lnTo>
                  <a:pt x="1552869" y="2009507"/>
                </a:lnTo>
                <a:cubicBezTo>
                  <a:pt x="1611292" y="1951084"/>
                  <a:pt x="1611292" y="1851911"/>
                  <a:pt x="1552869" y="1793488"/>
                </a:cubicBezTo>
                <a:cubicBezTo>
                  <a:pt x="1494447" y="1735065"/>
                  <a:pt x="1395274" y="1735065"/>
                  <a:pt x="1336851" y="1793488"/>
                </a:cubicBezTo>
                <a:lnTo>
                  <a:pt x="1063181" y="2067159"/>
                </a:lnTo>
                <a:lnTo>
                  <a:pt x="1013209" y="2017187"/>
                </a:lnTo>
                <a:cubicBezTo>
                  <a:pt x="954786" y="1958764"/>
                  <a:pt x="855613" y="1958764"/>
                  <a:pt x="797191" y="2017187"/>
                </a:cubicBezTo>
                <a:cubicBezTo>
                  <a:pt x="738768" y="2075610"/>
                  <a:pt x="738768" y="2174783"/>
                  <a:pt x="797191" y="2233206"/>
                </a:cubicBezTo>
                <a:lnTo>
                  <a:pt x="954786" y="2390801"/>
                </a:lnTo>
                <a:cubicBezTo>
                  <a:pt x="979387" y="2415402"/>
                  <a:pt x="1020898" y="2432313"/>
                  <a:pt x="1062410" y="2432313"/>
                </a:cubicBezTo>
                <a:lnTo>
                  <a:pt x="1062410" y="2432313"/>
                </a:lnTo>
                <a:cubicBezTo>
                  <a:pt x="1096232" y="2433083"/>
                  <a:pt x="1137744" y="2416172"/>
                  <a:pt x="1170804" y="2391572"/>
                </a:cubicBezTo>
                <a:close/>
                <a:moveTo>
                  <a:pt x="1170804" y="3296395"/>
                </a:moveTo>
                <a:lnTo>
                  <a:pt x="1552869" y="2914330"/>
                </a:lnTo>
                <a:cubicBezTo>
                  <a:pt x="1611292" y="2855907"/>
                  <a:pt x="1611292" y="2756734"/>
                  <a:pt x="1552869" y="2698311"/>
                </a:cubicBezTo>
                <a:cubicBezTo>
                  <a:pt x="1494447" y="2639888"/>
                  <a:pt x="1395274" y="2639888"/>
                  <a:pt x="1336851" y="2698311"/>
                </a:cubicBezTo>
                <a:lnTo>
                  <a:pt x="1063181" y="2971982"/>
                </a:lnTo>
                <a:lnTo>
                  <a:pt x="1013209" y="2922010"/>
                </a:lnTo>
                <a:cubicBezTo>
                  <a:pt x="954786" y="2863587"/>
                  <a:pt x="855613" y="2863587"/>
                  <a:pt x="797191" y="2922010"/>
                </a:cubicBezTo>
                <a:cubicBezTo>
                  <a:pt x="738768" y="2980433"/>
                  <a:pt x="738768" y="3079606"/>
                  <a:pt x="797191" y="3138029"/>
                </a:cubicBezTo>
                <a:lnTo>
                  <a:pt x="954786" y="3295624"/>
                </a:lnTo>
                <a:cubicBezTo>
                  <a:pt x="979387" y="3320225"/>
                  <a:pt x="1020898" y="3337136"/>
                  <a:pt x="1062410" y="3337136"/>
                </a:cubicBezTo>
                <a:lnTo>
                  <a:pt x="1062410" y="3337136"/>
                </a:lnTo>
                <a:cubicBezTo>
                  <a:pt x="1096232" y="3337907"/>
                  <a:pt x="1137744" y="3329446"/>
                  <a:pt x="1170804" y="3296395"/>
                </a:cubicBezTo>
                <a:close/>
                <a:moveTo>
                  <a:pt x="1170804" y="4201209"/>
                </a:moveTo>
                <a:lnTo>
                  <a:pt x="1552869" y="3819144"/>
                </a:lnTo>
                <a:cubicBezTo>
                  <a:pt x="1611292" y="3760721"/>
                  <a:pt x="1611292" y="3661549"/>
                  <a:pt x="1552869" y="3603126"/>
                </a:cubicBezTo>
                <a:cubicBezTo>
                  <a:pt x="1494447" y="3544703"/>
                  <a:pt x="1395274" y="3544703"/>
                  <a:pt x="1336851" y="3603126"/>
                </a:cubicBezTo>
                <a:lnTo>
                  <a:pt x="1063181" y="3876796"/>
                </a:lnTo>
                <a:lnTo>
                  <a:pt x="1004758" y="3826825"/>
                </a:lnTo>
                <a:cubicBezTo>
                  <a:pt x="946335" y="3768402"/>
                  <a:pt x="847162" y="3768402"/>
                  <a:pt x="788739" y="3826825"/>
                </a:cubicBezTo>
                <a:cubicBezTo>
                  <a:pt x="730316" y="3885248"/>
                  <a:pt x="730316" y="3984420"/>
                  <a:pt x="788739" y="4042843"/>
                </a:cubicBezTo>
                <a:lnTo>
                  <a:pt x="946335" y="4200439"/>
                </a:lnTo>
                <a:cubicBezTo>
                  <a:pt x="970935" y="4225039"/>
                  <a:pt x="1012447" y="4241950"/>
                  <a:pt x="1053959" y="4241950"/>
                </a:cubicBezTo>
                <a:lnTo>
                  <a:pt x="1053959" y="4241950"/>
                </a:lnTo>
                <a:cubicBezTo>
                  <a:pt x="1096232" y="4251172"/>
                  <a:pt x="1137744" y="4234261"/>
                  <a:pt x="1170804" y="4201209"/>
                </a:cubicBezTo>
                <a:close/>
                <a:moveTo>
                  <a:pt x="1170804" y="5114484"/>
                </a:moveTo>
                <a:lnTo>
                  <a:pt x="1552869" y="4732419"/>
                </a:lnTo>
                <a:cubicBezTo>
                  <a:pt x="1611292" y="4673996"/>
                  <a:pt x="1611292" y="4574823"/>
                  <a:pt x="1552869" y="4516400"/>
                </a:cubicBezTo>
                <a:cubicBezTo>
                  <a:pt x="1494447" y="4457977"/>
                  <a:pt x="1395274" y="4457977"/>
                  <a:pt x="1336851" y="4516400"/>
                </a:cubicBezTo>
                <a:lnTo>
                  <a:pt x="1063181" y="4790071"/>
                </a:lnTo>
                <a:lnTo>
                  <a:pt x="1013209" y="4740099"/>
                </a:lnTo>
                <a:cubicBezTo>
                  <a:pt x="954786" y="4681676"/>
                  <a:pt x="855613" y="4681676"/>
                  <a:pt x="797191" y="4740099"/>
                </a:cubicBezTo>
                <a:cubicBezTo>
                  <a:pt x="738768" y="4798522"/>
                  <a:pt x="738768" y="4897694"/>
                  <a:pt x="797191" y="4956117"/>
                </a:cubicBezTo>
                <a:lnTo>
                  <a:pt x="954786" y="5113713"/>
                </a:lnTo>
                <a:cubicBezTo>
                  <a:pt x="979387" y="5138313"/>
                  <a:pt x="1020898" y="5155225"/>
                  <a:pt x="1062410" y="5155225"/>
                </a:cubicBezTo>
                <a:lnTo>
                  <a:pt x="1062410" y="5155225"/>
                </a:lnTo>
                <a:cubicBezTo>
                  <a:pt x="1096232" y="5155995"/>
                  <a:pt x="1137744" y="5139084"/>
                  <a:pt x="1170804" y="5114484"/>
                </a:cubicBezTo>
                <a:close/>
                <a:moveTo>
                  <a:pt x="1170804" y="6027749"/>
                </a:moveTo>
                <a:lnTo>
                  <a:pt x="1552869" y="5645684"/>
                </a:lnTo>
                <a:cubicBezTo>
                  <a:pt x="1611292" y="5587261"/>
                  <a:pt x="1611292" y="5488089"/>
                  <a:pt x="1552869" y="5429666"/>
                </a:cubicBezTo>
                <a:cubicBezTo>
                  <a:pt x="1494447" y="5371243"/>
                  <a:pt x="1395274" y="5371243"/>
                  <a:pt x="1336851" y="5429666"/>
                </a:cubicBezTo>
                <a:lnTo>
                  <a:pt x="1063181" y="5703337"/>
                </a:lnTo>
                <a:lnTo>
                  <a:pt x="1004758" y="5653365"/>
                </a:lnTo>
                <a:cubicBezTo>
                  <a:pt x="946335" y="5594942"/>
                  <a:pt x="847162" y="5594942"/>
                  <a:pt x="788739" y="5653365"/>
                </a:cubicBezTo>
                <a:cubicBezTo>
                  <a:pt x="730316" y="5711788"/>
                  <a:pt x="730316" y="5810960"/>
                  <a:pt x="788739" y="5869383"/>
                </a:cubicBezTo>
                <a:lnTo>
                  <a:pt x="946335" y="6026979"/>
                </a:lnTo>
                <a:cubicBezTo>
                  <a:pt x="979387" y="6060039"/>
                  <a:pt x="1012447" y="6068490"/>
                  <a:pt x="1053959" y="6068490"/>
                </a:cubicBezTo>
                <a:cubicBezTo>
                  <a:pt x="1096232" y="6077721"/>
                  <a:pt x="1137744" y="6060809"/>
                  <a:pt x="1170804" y="6027749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6" name="Forma libre 382">
            <a:extLst>
              <a:ext uri="{FF2B5EF4-FFF2-40B4-BE49-F238E27FC236}">
                <a16:creationId xmlns:a16="http://schemas.microsoft.com/office/drawing/2014/main" xmlns="" id="{5909C8BF-9265-1847-83EE-D153448D9C81}"/>
              </a:ext>
            </a:extLst>
          </p:cNvPr>
          <p:cNvSpPr/>
          <p:nvPr/>
        </p:nvSpPr>
        <p:spPr>
          <a:xfrm>
            <a:off x="5038879" y="2734515"/>
            <a:ext cx="219293" cy="311419"/>
          </a:xfrm>
          <a:custGeom>
            <a:avLst/>
            <a:gdLst>
              <a:gd name="connsiteX0" fmla="*/ 4773515 w 4823113"/>
              <a:gd name="connsiteY0" fmla="*/ 1936441 h 6849340"/>
              <a:gd name="connsiteX1" fmla="*/ 2421628 w 4823113"/>
              <a:gd name="connsiteY1" fmla="*/ 0 h 6849340"/>
              <a:gd name="connsiteX2" fmla="*/ 1939707 w 4823113"/>
              <a:gd name="connsiteY2" fmla="*/ 47227 h 6849340"/>
              <a:gd name="connsiteX3" fmla="*/ 409100 w 4823113"/>
              <a:gd name="connsiteY3" fmla="*/ 1067051 h 6849340"/>
              <a:gd name="connsiteX4" fmla="*/ 50501 w 4823113"/>
              <a:gd name="connsiteY4" fmla="*/ 2889790 h 6849340"/>
              <a:gd name="connsiteX5" fmla="*/ 465955 w 4823113"/>
              <a:gd name="connsiteY5" fmla="*/ 4042557 h 6849340"/>
              <a:gd name="connsiteX6" fmla="*/ 1741171 w 4823113"/>
              <a:gd name="connsiteY6" fmla="*/ 6167914 h 6849340"/>
              <a:gd name="connsiteX7" fmla="*/ 2119010 w 4823113"/>
              <a:gd name="connsiteY7" fmla="*/ 6677822 h 6849340"/>
              <a:gd name="connsiteX8" fmla="*/ 2119010 w 4823113"/>
              <a:gd name="connsiteY8" fmla="*/ 6687442 h 6849340"/>
              <a:gd name="connsiteX9" fmla="*/ 2146997 w 4823113"/>
              <a:gd name="connsiteY9" fmla="*/ 6725049 h 6849340"/>
              <a:gd name="connsiteX10" fmla="*/ 2156617 w 4823113"/>
              <a:gd name="connsiteY10" fmla="*/ 6734669 h 6849340"/>
              <a:gd name="connsiteX11" fmla="*/ 2412008 w 4823113"/>
              <a:gd name="connsiteY11" fmla="*/ 6857117 h 6849340"/>
              <a:gd name="connsiteX12" fmla="*/ 2695386 w 4823113"/>
              <a:gd name="connsiteY12" fmla="*/ 6705808 h 6849340"/>
              <a:gd name="connsiteX13" fmla="*/ 3696844 w 4823113"/>
              <a:gd name="connsiteY13" fmla="*/ 5251297 h 6849340"/>
              <a:gd name="connsiteX14" fmla="*/ 4707923 w 4823113"/>
              <a:gd name="connsiteY14" fmla="*/ 3163547 h 6849340"/>
              <a:gd name="connsiteX15" fmla="*/ 4773515 w 4823113"/>
              <a:gd name="connsiteY15" fmla="*/ 1936441 h 6849340"/>
              <a:gd name="connsiteX16" fmla="*/ 4366816 w 4823113"/>
              <a:gd name="connsiteY16" fmla="*/ 3060339 h 6849340"/>
              <a:gd name="connsiteX17" fmla="*/ 3394226 w 4823113"/>
              <a:gd name="connsiteY17" fmla="*/ 5063248 h 6849340"/>
              <a:gd name="connsiteX18" fmla="*/ 2421637 w 4823113"/>
              <a:gd name="connsiteY18" fmla="*/ 6480152 h 6849340"/>
              <a:gd name="connsiteX19" fmla="*/ 2412017 w 4823113"/>
              <a:gd name="connsiteY19" fmla="*/ 6489772 h 6849340"/>
              <a:gd name="connsiteX20" fmla="*/ 2402396 w 4823113"/>
              <a:gd name="connsiteY20" fmla="*/ 6470532 h 6849340"/>
              <a:gd name="connsiteX21" fmla="*/ 2392776 w 4823113"/>
              <a:gd name="connsiteY21" fmla="*/ 6460912 h 6849340"/>
              <a:gd name="connsiteX22" fmla="*/ 2392776 w 4823113"/>
              <a:gd name="connsiteY22" fmla="*/ 6460912 h 6849340"/>
              <a:gd name="connsiteX23" fmla="*/ 2024557 w 4823113"/>
              <a:gd name="connsiteY23" fmla="*/ 5951004 h 6849340"/>
              <a:gd name="connsiteX24" fmla="*/ 777328 w 4823113"/>
              <a:gd name="connsiteY24" fmla="*/ 3882494 h 6849340"/>
              <a:gd name="connsiteX25" fmla="*/ 389868 w 4823113"/>
              <a:gd name="connsiteY25" fmla="*/ 2805823 h 6849340"/>
              <a:gd name="connsiteX26" fmla="*/ 692495 w 4823113"/>
              <a:gd name="connsiteY26" fmla="*/ 1247230 h 6849340"/>
              <a:gd name="connsiteX27" fmla="*/ 2005316 w 4823113"/>
              <a:gd name="connsiteY27" fmla="*/ 377848 h 6849340"/>
              <a:gd name="connsiteX28" fmla="*/ 2420771 w 4823113"/>
              <a:gd name="connsiteY28" fmla="*/ 340242 h 6849340"/>
              <a:gd name="connsiteX29" fmla="*/ 4432425 w 4823113"/>
              <a:gd name="connsiteY29" fmla="*/ 2002917 h 6849340"/>
              <a:gd name="connsiteX30" fmla="*/ 4366816 w 4823113"/>
              <a:gd name="connsiteY30" fmla="*/ 3060339 h 6849340"/>
              <a:gd name="connsiteX31" fmla="*/ 2392768 w 4823113"/>
              <a:gd name="connsiteY31" fmla="*/ 1265596 h 6849340"/>
              <a:gd name="connsiteX32" fmla="*/ 1278481 w 4823113"/>
              <a:gd name="connsiteY32" fmla="*/ 2379882 h 6849340"/>
              <a:gd name="connsiteX33" fmla="*/ 2392768 w 4823113"/>
              <a:gd name="connsiteY33" fmla="*/ 3494168 h 6849340"/>
              <a:gd name="connsiteX34" fmla="*/ 3507054 w 4823113"/>
              <a:gd name="connsiteY34" fmla="*/ 2379882 h 6849340"/>
              <a:gd name="connsiteX35" fmla="*/ 2392768 w 4823113"/>
              <a:gd name="connsiteY35" fmla="*/ 1265596 h 6849340"/>
              <a:gd name="connsiteX36" fmla="*/ 2392768 w 4823113"/>
              <a:gd name="connsiteY36" fmla="*/ 3145181 h 6849340"/>
              <a:gd name="connsiteX37" fmla="*/ 1627460 w 4823113"/>
              <a:gd name="connsiteY37" fmla="*/ 2379873 h 6849340"/>
              <a:gd name="connsiteX38" fmla="*/ 2392768 w 4823113"/>
              <a:gd name="connsiteY38" fmla="*/ 1614565 h 6849340"/>
              <a:gd name="connsiteX39" fmla="*/ 3158075 w 4823113"/>
              <a:gd name="connsiteY39" fmla="*/ 2379873 h 6849340"/>
              <a:gd name="connsiteX40" fmla="*/ 2392768 w 4823113"/>
              <a:gd name="connsiteY40" fmla="*/ 3145181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823113" h="6849340">
                <a:moveTo>
                  <a:pt x="4773515" y="1936441"/>
                </a:moveTo>
                <a:cubicBezTo>
                  <a:pt x="4537365" y="793294"/>
                  <a:pt x="3564776" y="0"/>
                  <a:pt x="2421628" y="0"/>
                </a:cubicBezTo>
                <a:cubicBezTo>
                  <a:pt x="2260699" y="0"/>
                  <a:pt x="2100636" y="19240"/>
                  <a:pt x="1939707" y="47227"/>
                </a:cubicBezTo>
                <a:cubicBezTo>
                  <a:pt x="1306467" y="169675"/>
                  <a:pt x="768573" y="529157"/>
                  <a:pt x="409100" y="1067051"/>
                </a:cubicBezTo>
                <a:cubicBezTo>
                  <a:pt x="50501" y="1605828"/>
                  <a:pt x="-82442" y="2247805"/>
                  <a:pt x="50501" y="2889790"/>
                </a:cubicBezTo>
                <a:cubicBezTo>
                  <a:pt x="135343" y="3314865"/>
                  <a:pt x="305892" y="3711945"/>
                  <a:pt x="465955" y="4042557"/>
                </a:cubicBezTo>
                <a:cubicBezTo>
                  <a:pt x="777328" y="4703783"/>
                  <a:pt x="1184028" y="5374620"/>
                  <a:pt x="1741171" y="6167914"/>
                </a:cubicBezTo>
                <a:cubicBezTo>
                  <a:pt x="1863619" y="6337598"/>
                  <a:pt x="1986942" y="6508147"/>
                  <a:pt x="2119010" y="6677822"/>
                </a:cubicBezTo>
                <a:cubicBezTo>
                  <a:pt x="2119010" y="6677822"/>
                  <a:pt x="2119010" y="6677822"/>
                  <a:pt x="2119010" y="6687442"/>
                </a:cubicBezTo>
                <a:lnTo>
                  <a:pt x="2146997" y="6725049"/>
                </a:lnTo>
                <a:lnTo>
                  <a:pt x="2156617" y="6734669"/>
                </a:lnTo>
                <a:cubicBezTo>
                  <a:pt x="2223093" y="6819511"/>
                  <a:pt x="2317546" y="6857117"/>
                  <a:pt x="2412008" y="6857117"/>
                </a:cubicBezTo>
                <a:cubicBezTo>
                  <a:pt x="2478484" y="6857117"/>
                  <a:pt x="2591312" y="6829131"/>
                  <a:pt x="2695386" y="6705808"/>
                </a:cubicBezTo>
                <a:cubicBezTo>
                  <a:pt x="3073225" y="6214266"/>
                  <a:pt x="3394218" y="5733219"/>
                  <a:pt x="3696844" y="5251297"/>
                </a:cubicBezTo>
                <a:cubicBezTo>
                  <a:pt x="4037077" y="4703774"/>
                  <a:pt x="4452532" y="3976081"/>
                  <a:pt x="4707923" y="3163547"/>
                </a:cubicBezTo>
                <a:cubicBezTo>
                  <a:pt x="4839117" y="2748101"/>
                  <a:pt x="4858357" y="2332647"/>
                  <a:pt x="4773515" y="1936441"/>
                </a:cubicBezTo>
                <a:close/>
                <a:moveTo>
                  <a:pt x="4366816" y="3060339"/>
                </a:moveTo>
                <a:cubicBezTo>
                  <a:pt x="4121044" y="3835267"/>
                  <a:pt x="3715210" y="4534099"/>
                  <a:pt x="3394226" y="5063248"/>
                </a:cubicBezTo>
                <a:cubicBezTo>
                  <a:pt x="3101220" y="5535549"/>
                  <a:pt x="2780236" y="5998230"/>
                  <a:pt x="2421637" y="6480152"/>
                </a:cubicBezTo>
                <a:cubicBezTo>
                  <a:pt x="2421637" y="6480152"/>
                  <a:pt x="2421637" y="6489772"/>
                  <a:pt x="2412017" y="6489772"/>
                </a:cubicBezTo>
                <a:lnTo>
                  <a:pt x="2402396" y="6470532"/>
                </a:lnTo>
                <a:cubicBezTo>
                  <a:pt x="2402396" y="6470532"/>
                  <a:pt x="2402396" y="6460912"/>
                  <a:pt x="2392776" y="6460912"/>
                </a:cubicBezTo>
                <a:lnTo>
                  <a:pt x="2392776" y="6460912"/>
                </a:lnTo>
                <a:cubicBezTo>
                  <a:pt x="2270328" y="6291237"/>
                  <a:pt x="2147005" y="6120678"/>
                  <a:pt x="2024557" y="5951004"/>
                </a:cubicBezTo>
                <a:cubicBezTo>
                  <a:pt x="1477034" y="5176076"/>
                  <a:pt x="1079954" y="4524479"/>
                  <a:pt x="777328" y="3882494"/>
                </a:cubicBezTo>
                <a:cubicBezTo>
                  <a:pt x="626019" y="3571122"/>
                  <a:pt x="465955" y="3202028"/>
                  <a:pt x="389868" y="2805823"/>
                </a:cubicBezTo>
                <a:cubicBezTo>
                  <a:pt x="276165" y="2258300"/>
                  <a:pt x="389868" y="1700282"/>
                  <a:pt x="692495" y="1247230"/>
                </a:cubicBezTo>
                <a:cubicBezTo>
                  <a:pt x="995121" y="794177"/>
                  <a:pt x="1467423" y="481922"/>
                  <a:pt x="2005316" y="377848"/>
                </a:cubicBezTo>
                <a:cubicBezTo>
                  <a:pt x="2147005" y="349862"/>
                  <a:pt x="2279074" y="340242"/>
                  <a:pt x="2420771" y="340242"/>
                </a:cubicBezTo>
                <a:cubicBezTo>
                  <a:pt x="3402989" y="340242"/>
                  <a:pt x="4225144" y="1020708"/>
                  <a:pt x="4432425" y="2002917"/>
                </a:cubicBezTo>
                <a:cubicBezTo>
                  <a:pt x="4508504" y="2342267"/>
                  <a:pt x="4480518" y="2700866"/>
                  <a:pt x="4366816" y="3060339"/>
                </a:cubicBezTo>
                <a:close/>
                <a:moveTo>
                  <a:pt x="2392768" y="1265596"/>
                </a:moveTo>
                <a:cubicBezTo>
                  <a:pt x="1778777" y="1265596"/>
                  <a:pt x="1278481" y="1765883"/>
                  <a:pt x="1278481" y="2379882"/>
                </a:cubicBezTo>
                <a:cubicBezTo>
                  <a:pt x="1278481" y="2993881"/>
                  <a:pt x="1778769" y="3494168"/>
                  <a:pt x="2392768" y="3494168"/>
                </a:cubicBezTo>
                <a:cubicBezTo>
                  <a:pt x="3006767" y="3494168"/>
                  <a:pt x="3507054" y="2993881"/>
                  <a:pt x="3507054" y="2379882"/>
                </a:cubicBezTo>
                <a:cubicBezTo>
                  <a:pt x="3507054" y="1765883"/>
                  <a:pt x="3006758" y="1265596"/>
                  <a:pt x="2392768" y="1265596"/>
                </a:cubicBezTo>
                <a:close/>
                <a:moveTo>
                  <a:pt x="2392768" y="3145181"/>
                </a:moveTo>
                <a:cubicBezTo>
                  <a:pt x="1967693" y="3145181"/>
                  <a:pt x="1627460" y="2804948"/>
                  <a:pt x="1627460" y="2379873"/>
                </a:cubicBezTo>
                <a:cubicBezTo>
                  <a:pt x="1627460" y="1954799"/>
                  <a:pt x="1967693" y="1614565"/>
                  <a:pt x="2392768" y="1614565"/>
                </a:cubicBezTo>
                <a:cubicBezTo>
                  <a:pt x="2817843" y="1614565"/>
                  <a:pt x="3158075" y="1954799"/>
                  <a:pt x="3158075" y="2379873"/>
                </a:cubicBezTo>
                <a:cubicBezTo>
                  <a:pt x="3158075" y="2804948"/>
                  <a:pt x="2817834" y="3145181"/>
                  <a:pt x="2392768" y="3145181"/>
                </a:cubicBez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7" name="Forma libre 384">
            <a:extLst>
              <a:ext uri="{FF2B5EF4-FFF2-40B4-BE49-F238E27FC236}">
                <a16:creationId xmlns:a16="http://schemas.microsoft.com/office/drawing/2014/main" xmlns="" id="{B353A01F-E69D-B147-AC4A-D5651AD847D0}"/>
              </a:ext>
            </a:extLst>
          </p:cNvPr>
          <p:cNvSpPr/>
          <p:nvPr/>
        </p:nvSpPr>
        <p:spPr>
          <a:xfrm>
            <a:off x="2861016" y="2735892"/>
            <a:ext cx="301831" cy="236730"/>
          </a:xfrm>
          <a:custGeom>
            <a:avLst/>
            <a:gdLst>
              <a:gd name="connsiteX0" fmla="*/ 5792543 w 5829300"/>
              <a:gd name="connsiteY0" fmla="*/ 2658628 h 4572000"/>
              <a:gd name="connsiteX1" fmla="*/ 5792543 w 5829300"/>
              <a:gd name="connsiteY1" fmla="*/ 2843089 h 4572000"/>
              <a:gd name="connsiteX2" fmla="*/ 5700637 w 5829300"/>
              <a:gd name="connsiteY2" fmla="*/ 2878541 h 4572000"/>
              <a:gd name="connsiteX3" fmla="*/ 5608730 w 5829300"/>
              <a:gd name="connsiteY3" fmla="*/ 2843089 h 4572000"/>
              <a:gd name="connsiteX4" fmla="*/ 5162341 w 5829300"/>
              <a:gd name="connsiteY4" fmla="*/ 2396700 h 4572000"/>
              <a:gd name="connsiteX5" fmla="*/ 4715952 w 5829300"/>
              <a:gd name="connsiteY5" fmla="*/ 2843089 h 4572000"/>
              <a:gd name="connsiteX6" fmla="*/ 4624045 w 5829300"/>
              <a:gd name="connsiteY6" fmla="*/ 2878541 h 4572000"/>
              <a:gd name="connsiteX7" fmla="*/ 4532138 w 5829300"/>
              <a:gd name="connsiteY7" fmla="*/ 2843089 h 4572000"/>
              <a:gd name="connsiteX8" fmla="*/ 4532138 w 5829300"/>
              <a:gd name="connsiteY8" fmla="*/ 2658628 h 4572000"/>
              <a:gd name="connsiteX9" fmla="*/ 4978527 w 5829300"/>
              <a:gd name="connsiteY9" fmla="*/ 2212239 h 4572000"/>
              <a:gd name="connsiteX10" fmla="*/ 4532138 w 5829300"/>
              <a:gd name="connsiteY10" fmla="*/ 1765849 h 4572000"/>
              <a:gd name="connsiteX11" fmla="*/ 4532138 w 5829300"/>
              <a:gd name="connsiteY11" fmla="*/ 1581388 h 4572000"/>
              <a:gd name="connsiteX12" fmla="*/ 4716599 w 5829300"/>
              <a:gd name="connsiteY12" fmla="*/ 1581388 h 4572000"/>
              <a:gd name="connsiteX13" fmla="*/ 5162989 w 5829300"/>
              <a:gd name="connsiteY13" fmla="*/ 2027777 h 4572000"/>
              <a:gd name="connsiteX14" fmla="*/ 5609378 w 5829300"/>
              <a:gd name="connsiteY14" fmla="*/ 1581388 h 4572000"/>
              <a:gd name="connsiteX15" fmla="*/ 5793838 w 5829300"/>
              <a:gd name="connsiteY15" fmla="*/ 1581388 h 4572000"/>
              <a:gd name="connsiteX16" fmla="*/ 5793838 w 5829300"/>
              <a:gd name="connsiteY16" fmla="*/ 1765849 h 4572000"/>
              <a:gd name="connsiteX17" fmla="*/ 5347449 w 5829300"/>
              <a:gd name="connsiteY17" fmla="*/ 2212239 h 4572000"/>
              <a:gd name="connsiteX18" fmla="*/ 5792543 w 5829300"/>
              <a:gd name="connsiteY18" fmla="*/ 2658628 h 4572000"/>
              <a:gd name="connsiteX19" fmla="*/ 3899983 w 5829300"/>
              <a:gd name="connsiteY19" fmla="*/ 241564 h 4572000"/>
              <a:gd name="connsiteX20" fmla="*/ 3899983 w 5829300"/>
              <a:gd name="connsiteY20" fmla="*/ 4055555 h 4572000"/>
              <a:gd name="connsiteX21" fmla="*/ 3899983 w 5829300"/>
              <a:gd name="connsiteY21" fmla="*/ 4062774 h 4572000"/>
              <a:gd name="connsiteX22" fmla="*/ 3715522 w 5829300"/>
              <a:gd name="connsiteY22" fmla="*/ 4254456 h 4572000"/>
              <a:gd name="connsiteX23" fmla="*/ 3715522 w 5829300"/>
              <a:gd name="connsiteY23" fmla="*/ 4254456 h 4572000"/>
              <a:gd name="connsiteX24" fmla="*/ 3531060 w 5829300"/>
              <a:gd name="connsiteY24" fmla="*/ 4176341 h 4572000"/>
              <a:gd name="connsiteX25" fmla="*/ 2424941 w 5829300"/>
              <a:gd name="connsiteY25" fmla="*/ 3296698 h 4572000"/>
              <a:gd name="connsiteX26" fmla="*/ 1992335 w 5829300"/>
              <a:gd name="connsiteY26" fmla="*/ 3296698 h 4572000"/>
              <a:gd name="connsiteX27" fmla="*/ 1992335 w 5829300"/>
              <a:gd name="connsiteY27" fmla="*/ 4140899 h 4572000"/>
              <a:gd name="connsiteX28" fmla="*/ 1559728 w 5829300"/>
              <a:gd name="connsiteY28" fmla="*/ 4573505 h 4572000"/>
              <a:gd name="connsiteX29" fmla="*/ 1177014 w 5829300"/>
              <a:gd name="connsiteY29" fmla="*/ 4573505 h 4572000"/>
              <a:gd name="connsiteX30" fmla="*/ 744407 w 5829300"/>
              <a:gd name="connsiteY30" fmla="*/ 4140899 h 4572000"/>
              <a:gd name="connsiteX31" fmla="*/ 744407 w 5829300"/>
              <a:gd name="connsiteY31" fmla="*/ 3296698 h 4572000"/>
              <a:gd name="connsiteX32" fmla="*/ 425377 w 5829300"/>
              <a:gd name="connsiteY32" fmla="*/ 3296698 h 4572000"/>
              <a:gd name="connsiteX33" fmla="*/ 0 w 5829300"/>
              <a:gd name="connsiteY33" fmla="*/ 2871321 h 4572000"/>
              <a:gd name="connsiteX34" fmla="*/ 0 w 5829300"/>
              <a:gd name="connsiteY34" fmla="*/ 1333252 h 4572000"/>
              <a:gd name="connsiteX35" fmla="*/ 425377 w 5829300"/>
              <a:gd name="connsiteY35" fmla="*/ 907875 h 4572000"/>
              <a:gd name="connsiteX36" fmla="*/ 2432152 w 5829300"/>
              <a:gd name="connsiteY36" fmla="*/ 907875 h 4572000"/>
              <a:gd name="connsiteX37" fmla="*/ 3502828 w 5829300"/>
              <a:gd name="connsiteY37" fmla="*/ 49892 h 4572000"/>
              <a:gd name="connsiteX38" fmla="*/ 3523831 w 5829300"/>
              <a:gd name="connsiteY38" fmla="*/ 35452 h 4572000"/>
              <a:gd name="connsiteX39" fmla="*/ 3672850 w 5829300"/>
              <a:gd name="connsiteY39" fmla="*/ 0 h 4572000"/>
              <a:gd name="connsiteX40" fmla="*/ 3899983 w 5829300"/>
              <a:gd name="connsiteY40" fmla="*/ 241564 h 4572000"/>
              <a:gd name="connsiteX41" fmla="*/ 426034 w 5829300"/>
              <a:gd name="connsiteY41" fmla="*/ 3034770 h 4572000"/>
              <a:gd name="connsiteX42" fmla="*/ 879643 w 5829300"/>
              <a:gd name="connsiteY42" fmla="*/ 3034770 h 4572000"/>
              <a:gd name="connsiteX43" fmla="*/ 1864976 w 5829300"/>
              <a:gd name="connsiteY43" fmla="*/ 3034770 h 4572000"/>
              <a:gd name="connsiteX44" fmla="*/ 2346817 w 5829300"/>
              <a:gd name="connsiteY44" fmla="*/ 3034770 h 4572000"/>
              <a:gd name="connsiteX45" fmla="*/ 2346817 w 5829300"/>
              <a:gd name="connsiteY45" fmla="*/ 1170442 h 4572000"/>
              <a:gd name="connsiteX46" fmla="*/ 426034 w 5829300"/>
              <a:gd name="connsiteY46" fmla="*/ 1170442 h 4572000"/>
              <a:gd name="connsiteX47" fmla="*/ 263233 w 5829300"/>
              <a:gd name="connsiteY47" fmla="*/ 1333243 h 4572000"/>
              <a:gd name="connsiteX48" fmla="*/ 263233 w 5829300"/>
              <a:gd name="connsiteY48" fmla="*/ 2871969 h 4572000"/>
              <a:gd name="connsiteX49" fmla="*/ 426034 w 5829300"/>
              <a:gd name="connsiteY49" fmla="*/ 3034770 h 4572000"/>
              <a:gd name="connsiteX50" fmla="*/ 1730407 w 5829300"/>
              <a:gd name="connsiteY50" fmla="*/ 3296698 h 4572000"/>
              <a:gd name="connsiteX51" fmla="*/ 1006993 w 5829300"/>
              <a:gd name="connsiteY51" fmla="*/ 3296698 h 4572000"/>
              <a:gd name="connsiteX52" fmla="*/ 1006993 w 5829300"/>
              <a:gd name="connsiteY52" fmla="*/ 4140899 h 4572000"/>
              <a:gd name="connsiteX53" fmla="*/ 1177014 w 5829300"/>
              <a:gd name="connsiteY53" fmla="*/ 4310920 h 4572000"/>
              <a:gd name="connsiteX54" fmla="*/ 1559728 w 5829300"/>
              <a:gd name="connsiteY54" fmla="*/ 4310920 h 4572000"/>
              <a:gd name="connsiteX55" fmla="*/ 1729750 w 5829300"/>
              <a:gd name="connsiteY55" fmla="*/ 4140899 h 4572000"/>
              <a:gd name="connsiteX56" fmla="*/ 1729750 w 5829300"/>
              <a:gd name="connsiteY56" fmla="*/ 3296698 h 4572000"/>
              <a:gd name="connsiteX57" fmla="*/ 1730407 w 5829300"/>
              <a:gd name="connsiteY57" fmla="*/ 3296698 h 4572000"/>
              <a:gd name="connsiteX58" fmla="*/ 3637407 w 5829300"/>
              <a:gd name="connsiteY58" fmla="*/ 277016 h 4572000"/>
              <a:gd name="connsiteX59" fmla="*/ 2602183 w 5829300"/>
              <a:gd name="connsiteY59" fmla="*/ 1106119 h 4572000"/>
              <a:gd name="connsiteX60" fmla="*/ 2602183 w 5829300"/>
              <a:gd name="connsiteY60" fmla="*/ 3105674 h 4572000"/>
              <a:gd name="connsiteX61" fmla="*/ 3630187 w 5829300"/>
              <a:gd name="connsiteY61" fmla="*/ 3928205 h 4572000"/>
              <a:gd name="connsiteX62" fmla="*/ 3630187 w 5829300"/>
              <a:gd name="connsiteY62" fmla="*/ 277016 h 4572000"/>
              <a:gd name="connsiteX63" fmla="*/ 3637407 w 5829300"/>
              <a:gd name="connsiteY63" fmla="*/ 277016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829300" h="4572000">
                <a:moveTo>
                  <a:pt x="5792543" y="2658628"/>
                </a:moveTo>
                <a:cubicBezTo>
                  <a:pt x="5842435" y="2708520"/>
                  <a:pt x="5842435" y="2793197"/>
                  <a:pt x="5792543" y="2843089"/>
                </a:cubicBezTo>
                <a:cubicBezTo>
                  <a:pt x="5764311" y="2871321"/>
                  <a:pt x="5736088" y="2878541"/>
                  <a:pt x="5700637" y="2878541"/>
                </a:cubicBezTo>
                <a:cubicBezTo>
                  <a:pt x="5665185" y="2878541"/>
                  <a:pt x="5636962" y="2864101"/>
                  <a:pt x="5608730" y="2843089"/>
                </a:cubicBezTo>
                <a:lnTo>
                  <a:pt x="5162341" y="2396700"/>
                </a:lnTo>
                <a:lnTo>
                  <a:pt x="4715952" y="2843089"/>
                </a:lnTo>
                <a:cubicBezTo>
                  <a:pt x="4687719" y="2871321"/>
                  <a:pt x="4659497" y="2878541"/>
                  <a:pt x="4624045" y="2878541"/>
                </a:cubicBezTo>
                <a:cubicBezTo>
                  <a:pt x="4588593" y="2878541"/>
                  <a:pt x="4560370" y="2864101"/>
                  <a:pt x="4532138" y="2843089"/>
                </a:cubicBezTo>
                <a:cubicBezTo>
                  <a:pt x="4482246" y="2793197"/>
                  <a:pt x="4482246" y="2708520"/>
                  <a:pt x="4532138" y="2658628"/>
                </a:cubicBezTo>
                <a:lnTo>
                  <a:pt x="4978527" y="2212239"/>
                </a:lnTo>
                <a:lnTo>
                  <a:pt x="4532138" y="1765849"/>
                </a:lnTo>
                <a:cubicBezTo>
                  <a:pt x="4482246" y="1715957"/>
                  <a:pt x="4482246" y="1631280"/>
                  <a:pt x="4532138" y="1581388"/>
                </a:cubicBezTo>
                <a:cubicBezTo>
                  <a:pt x="4582030" y="1531496"/>
                  <a:pt x="4666707" y="1531496"/>
                  <a:pt x="4716599" y="1581388"/>
                </a:cubicBezTo>
                <a:lnTo>
                  <a:pt x="5162989" y="2027777"/>
                </a:lnTo>
                <a:lnTo>
                  <a:pt x="5609378" y="1581388"/>
                </a:lnTo>
                <a:cubicBezTo>
                  <a:pt x="5659269" y="1531496"/>
                  <a:pt x="5743947" y="1531496"/>
                  <a:pt x="5793838" y="1581388"/>
                </a:cubicBezTo>
                <a:cubicBezTo>
                  <a:pt x="5843731" y="1631280"/>
                  <a:pt x="5843731" y="1715957"/>
                  <a:pt x="5793838" y="1765849"/>
                </a:cubicBezTo>
                <a:lnTo>
                  <a:pt x="5347449" y="2212239"/>
                </a:lnTo>
                <a:lnTo>
                  <a:pt x="5792543" y="2658628"/>
                </a:lnTo>
                <a:close/>
                <a:moveTo>
                  <a:pt x="3899983" y="241564"/>
                </a:moveTo>
                <a:lnTo>
                  <a:pt x="3899983" y="4055555"/>
                </a:lnTo>
                <a:lnTo>
                  <a:pt x="3899983" y="4062774"/>
                </a:lnTo>
                <a:cubicBezTo>
                  <a:pt x="3892763" y="4197344"/>
                  <a:pt x="3800856" y="4254456"/>
                  <a:pt x="3715522" y="4254456"/>
                </a:cubicBezTo>
                <a:lnTo>
                  <a:pt x="3715522" y="4254456"/>
                </a:lnTo>
                <a:cubicBezTo>
                  <a:pt x="3659067" y="4254456"/>
                  <a:pt x="3601955" y="4226224"/>
                  <a:pt x="3531060" y="4176341"/>
                </a:cubicBezTo>
                <a:lnTo>
                  <a:pt x="2424941" y="3296698"/>
                </a:lnTo>
                <a:lnTo>
                  <a:pt x="1992335" y="3296698"/>
                </a:lnTo>
                <a:lnTo>
                  <a:pt x="1992335" y="4140899"/>
                </a:lnTo>
                <a:cubicBezTo>
                  <a:pt x="1992335" y="4381814"/>
                  <a:pt x="1800654" y="4573505"/>
                  <a:pt x="1559728" y="4573505"/>
                </a:cubicBezTo>
                <a:lnTo>
                  <a:pt x="1177014" y="4573505"/>
                </a:lnTo>
                <a:cubicBezTo>
                  <a:pt x="936098" y="4573505"/>
                  <a:pt x="744407" y="4381824"/>
                  <a:pt x="744407" y="4140899"/>
                </a:cubicBezTo>
                <a:lnTo>
                  <a:pt x="744407" y="3296698"/>
                </a:lnTo>
                <a:lnTo>
                  <a:pt x="425377" y="3296698"/>
                </a:lnTo>
                <a:cubicBezTo>
                  <a:pt x="191681" y="3296698"/>
                  <a:pt x="0" y="3105017"/>
                  <a:pt x="0" y="2871321"/>
                </a:cubicBezTo>
                <a:lnTo>
                  <a:pt x="0" y="1333252"/>
                </a:lnTo>
                <a:cubicBezTo>
                  <a:pt x="0" y="1099557"/>
                  <a:pt x="191681" y="907875"/>
                  <a:pt x="425377" y="907875"/>
                </a:cubicBezTo>
                <a:lnTo>
                  <a:pt x="2432152" y="907875"/>
                </a:lnTo>
                <a:lnTo>
                  <a:pt x="3502828" y="49892"/>
                </a:lnTo>
                <a:cubicBezTo>
                  <a:pt x="3510048" y="42672"/>
                  <a:pt x="3517268" y="35452"/>
                  <a:pt x="3523831" y="35452"/>
                </a:cubicBezTo>
                <a:cubicBezTo>
                  <a:pt x="3523831" y="35452"/>
                  <a:pt x="3594725" y="0"/>
                  <a:pt x="3672850" y="0"/>
                </a:cubicBezTo>
                <a:cubicBezTo>
                  <a:pt x="3807428" y="-10"/>
                  <a:pt x="3899983" y="99774"/>
                  <a:pt x="3899983" y="241564"/>
                </a:cubicBezTo>
                <a:close/>
                <a:moveTo>
                  <a:pt x="426034" y="3034770"/>
                </a:moveTo>
                <a:lnTo>
                  <a:pt x="879643" y="3034770"/>
                </a:lnTo>
                <a:lnTo>
                  <a:pt x="1864976" y="3034770"/>
                </a:lnTo>
                <a:lnTo>
                  <a:pt x="2346817" y="3034770"/>
                </a:lnTo>
                <a:lnTo>
                  <a:pt x="2346817" y="1170442"/>
                </a:lnTo>
                <a:lnTo>
                  <a:pt x="426034" y="1170442"/>
                </a:lnTo>
                <a:cubicBezTo>
                  <a:pt x="340700" y="1170442"/>
                  <a:pt x="263233" y="1241336"/>
                  <a:pt x="263233" y="1333243"/>
                </a:cubicBezTo>
                <a:lnTo>
                  <a:pt x="263233" y="2871969"/>
                </a:lnTo>
                <a:cubicBezTo>
                  <a:pt x="262585" y="2963875"/>
                  <a:pt x="333480" y="3034770"/>
                  <a:pt x="426034" y="3034770"/>
                </a:cubicBezTo>
                <a:close/>
                <a:moveTo>
                  <a:pt x="1730407" y="3296698"/>
                </a:moveTo>
                <a:lnTo>
                  <a:pt x="1006993" y="3296698"/>
                </a:lnTo>
                <a:lnTo>
                  <a:pt x="1006993" y="4140899"/>
                </a:lnTo>
                <a:cubicBezTo>
                  <a:pt x="1006993" y="4232805"/>
                  <a:pt x="1085107" y="4310920"/>
                  <a:pt x="1177014" y="4310920"/>
                </a:cubicBezTo>
                <a:lnTo>
                  <a:pt x="1559728" y="4310920"/>
                </a:lnTo>
                <a:cubicBezTo>
                  <a:pt x="1651635" y="4310920"/>
                  <a:pt x="1729750" y="4232805"/>
                  <a:pt x="1729750" y="4140899"/>
                </a:cubicBezTo>
                <a:lnTo>
                  <a:pt x="1729750" y="3296698"/>
                </a:lnTo>
                <a:lnTo>
                  <a:pt x="1730407" y="3296698"/>
                </a:lnTo>
                <a:close/>
                <a:moveTo>
                  <a:pt x="3637407" y="277016"/>
                </a:moveTo>
                <a:lnTo>
                  <a:pt x="2602183" y="1106119"/>
                </a:lnTo>
                <a:lnTo>
                  <a:pt x="2602183" y="3105674"/>
                </a:lnTo>
                <a:lnTo>
                  <a:pt x="3630187" y="3928205"/>
                </a:lnTo>
                <a:lnTo>
                  <a:pt x="3630187" y="277016"/>
                </a:lnTo>
                <a:lnTo>
                  <a:pt x="3637407" y="277016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8" name="Forma libre 386">
            <a:extLst>
              <a:ext uri="{FF2B5EF4-FFF2-40B4-BE49-F238E27FC236}">
                <a16:creationId xmlns:a16="http://schemas.microsoft.com/office/drawing/2014/main" xmlns="" id="{86438B64-16E1-0649-938E-792B20BB091B}"/>
              </a:ext>
            </a:extLst>
          </p:cNvPr>
          <p:cNvSpPr/>
          <p:nvPr/>
        </p:nvSpPr>
        <p:spPr>
          <a:xfrm>
            <a:off x="5746736" y="3430113"/>
            <a:ext cx="301831" cy="239196"/>
          </a:xfrm>
          <a:custGeom>
            <a:avLst/>
            <a:gdLst>
              <a:gd name="connsiteX0" fmla="*/ 4775645 w 5829300"/>
              <a:gd name="connsiteY0" fmla="*/ 1269435 h 4619625"/>
              <a:gd name="connsiteX1" fmla="*/ 4782950 w 5829300"/>
              <a:gd name="connsiteY1" fmla="*/ 3011586 h 4619625"/>
              <a:gd name="connsiteX2" fmla="*/ 4660783 w 5829300"/>
              <a:gd name="connsiteY2" fmla="*/ 3083290 h 4619625"/>
              <a:gd name="connsiteX3" fmla="*/ 4603680 w 5829300"/>
              <a:gd name="connsiteY3" fmla="*/ 3068688 h 4619625"/>
              <a:gd name="connsiteX4" fmla="*/ 4539282 w 5829300"/>
              <a:gd name="connsiteY4" fmla="*/ 2889428 h 4619625"/>
              <a:gd name="connsiteX5" fmla="*/ 4546588 w 5829300"/>
              <a:gd name="connsiteY5" fmla="*/ 1390936 h 4619625"/>
              <a:gd name="connsiteX6" fmla="*/ 4597041 w 5829300"/>
              <a:gd name="connsiteY6" fmla="*/ 1211675 h 4619625"/>
              <a:gd name="connsiteX7" fmla="*/ 4775645 w 5829300"/>
              <a:gd name="connsiteY7" fmla="*/ 1269435 h 4619625"/>
              <a:gd name="connsiteX8" fmla="*/ 5464141 w 5829300"/>
              <a:gd name="connsiteY8" fmla="*/ 588245 h 4619625"/>
              <a:gd name="connsiteX9" fmla="*/ 5284880 w 5829300"/>
              <a:gd name="connsiteY9" fmla="*/ 537782 h 4619625"/>
              <a:gd name="connsiteX10" fmla="*/ 5234426 w 5829300"/>
              <a:gd name="connsiteY10" fmla="*/ 717042 h 4619625"/>
              <a:gd name="connsiteX11" fmla="*/ 5227120 w 5829300"/>
              <a:gd name="connsiteY11" fmla="*/ 3570608 h 4619625"/>
              <a:gd name="connsiteX12" fmla="*/ 5291519 w 5829300"/>
              <a:gd name="connsiteY12" fmla="*/ 3749869 h 4619625"/>
              <a:gd name="connsiteX13" fmla="*/ 5348621 w 5829300"/>
              <a:gd name="connsiteY13" fmla="*/ 3764471 h 4619625"/>
              <a:gd name="connsiteX14" fmla="*/ 5470789 w 5829300"/>
              <a:gd name="connsiteY14" fmla="*/ 3692766 h 4619625"/>
              <a:gd name="connsiteX15" fmla="*/ 5464141 w 5829300"/>
              <a:gd name="connsiteY15" fmla="*/ 588245 h 4619625"/>
              <a:gd name="connsiteX16" fmla="*/ 3937102 w 5829300"/>
              <a:gd name="connsiteY16" fmla="*/ 243659 h 4619625"/>
              <a:gd name="connsiteX17" fmla="*/ 3937102 w 5829300"/>
              <a:gd name="connsiteY17" fmla="*/ 4101084 h 4619625"/>
              <a:gd name="connsiteX18" fmla="*/ 3937102 w 5829300"/>
              <a:gd name="connsiteY18" fmla="*/ 4108390 h 4619625"/>
              <a:gd name="connsiteX19" fmla="*/ 3750535 w 5829300"/>
              <a:gd name="connsiteY19" fmla="*/ 4302262 h 4619625"/>
              <a:gd name="connsiteX20" fmla="*/ 3563970 w 5829300"/>
              <a:gd name="connsiteY20" fmla="*/ 4223252 h 4619625"/>
              <a:gd name="connsiteX21" fmla="*/ 2452554 w 5829300"/>
              <a:gd name="connsiteY21" fmla="*/ 3334255 h 4619625"/>
              <a:gd name="connsiteX22" fmla="*/ 2015023 w 5829300"/>
              <a:gd name="connsiteY22" fmla="*/ 3334255 h 4619625"/>
              <a:gd name="connsiteX23" fmla="*/ 2015023 w 5829300"/>
              <a:gd name="connsiteY23" fmla="*/ 4187400 h 4619625"/>
              <a:gd name="connsiteX24" fmla="*/ 1577492 w 5829300"/>
              <a:gd name="connsiteY24" fmla="*/ 4624931 h 4619625"/>
              <a:gd name="connsiteX25" fmla="*/ 1190425 w 5829300"/>
              <a:gd name="connsiteY25" fmla="*/ 4624931 h 4619625"/>
              <a:gd name="connsiteX26" fmla="*/ 752894 w 5829300"/>
              <a:gd name="connsiteY26" fmla="*/ 4187400 h 4619625"/>
              <a:gd name="connsiteX27" fmla="*/ 752894 w 5829300"/>
              <a:gd name="connsiteY27" fmla="*/ 3334255 h 4619625"/>
              <a:gd name="connsiteX28" fmla="*/ 430225 w 5829300"/>
              <a:gd name="connsiteY28" fmla="*/ 3334255 h 4619625"/>
              <a:gd name="connsiteX29" fmla="*/ 0 w 5829300"/>
              <a:gd name="connsiteY29" fmla="*/ 2904030 h 4619625"/>
              <a:gd name="connsiteX30" fmla="*/ 0 w 5829300"/>
              <a:gd name="connsiteY30" fmla="*/ 1347778 h 4619625"/>
              <a:gd name="connsiteX31" fmla="*/ 430225 w 5829300"/>
              <a:gd name="connsiteY31" fmla="*/ 917553 h 4619625"/>
              <a:gd name="connsiteX32" fmla="*/ 2459193 w 5829300"/>
              <a:gd name="connsiteY32" fmla="*/ 917553 h 4619625"/>
              <a:gd name="connsiteX33" fmla="*/ 3534756 w 5829300"/>
              <a:gd name="connsiteY33" fmla="*/ 49797 h 4619625"/>
              <a:gd name="connsiteX34" fmla="*/ 3563303 w 5829300"/>
              <a:gd name="connsiteY34" fmla="*/ 28546 h 4619625"/>
              <a:gd name="connsiteX35" fmla="*/ 3706711 w 5829300"/>
              <a:gd name="connsiteY35" fmla="*/ 0 h 4619625"/>
              <a:gd name="connsiteX36" fmla="*/ 3937102 w 5829300"/>
              <a:gd name="connsiteY36" fmla="*/ 243659 h 4619625"/>
              <a:gd name="connsiteX37" fmla="*/ 423586 w 5829300"/>
              <a:gd name="connsiteY37" fmla="*/ 3068679 h 4619625"/>
              <a:gd name="connsiteX38" fmla="*/ 882358 w 5829300"/>
              <a:gd name="connsiteY38" fmla="*/ 3068679 h 4619625"/>
              <a:gd name="connsiteX39" fmla="*/ 1878921 w 5829300"/>
              <a:gd name="connsiteY39" fmla="*/ 3068679 h 4619625"/>
              <a:gd name="connsiteX40" fmla="*/ 2366248 w 5829300"/>
              <a:gd name="connsiteY40" fmla="*/ 3068679 h 4619625"/>
              <a:gd name="connsiteX41" fmla="*/ 2366248 w 5829300"/>
              <a:gd name="connsiteY41" fmla="*/ 1183119 h 4619625"/>
              <a:gd name="connsiteX42" fmla="*/ 423586 w 5829300"/>
              <a:gd name="connsiteY42" fmla="*/ 1183119 h 4619625"/>
              <a:gd name="connsiteX43" fmla="*/ 258928 w 5829300"/>
              <a:gd name="connsiteY43" fmla="*/ 1347778 h 4619625"/>
              <a:gd name="connsiteX44" fmla="*/ 258928 w 5829300"/>
              <a:gd name="connsiteY44" fmla="*/ 2904030 h 4619625"/>
              <a:gd name="connsiteX45" fmla="*/ 423586 w 5829300"/>
              <a:gd name="connsiteY45" fmla="*/ 3068679 h 4619625"/>
              <a:gd name="connsiteX46" fmla="*/ 1750114 w 5829300"/>
              <a:gd name="connsiteY46" fmla="*/ 3334255 h 4619625"/>
              <a:gd name="connsiteX47" fmla="*/ 1018461 w 5829300"/>
              <a:gd name="connsiteY47" fmla="*/ 3334255 h 4619625"/>
              <a:gd name="connsiteX48" fmla="*/ 1018461 w 5829300"/>
              <a:gd name="connsiteY48" fmla="*/ 4187400 h 4619625"/>
              <a:gd name="connsiteX49" fmla="*/ 1190415 w 5829300"/>
              <a:gd name="connsiteY49" fmla="*/ 4359355 h 4619625"/>
              <a:gd name="connsiteX50" fmla="*/ 1577483 w 5829300"/>
              <a:gd name="connsiteY50" fmla="*/ 4359355 h 4619625"/>
              <a:gd name="connsiteX51" fmla="*/ 1749438 w 5829300"/>
              <a:gd name="connsiteY51" fmla="*/ 4187400 h 4619625"/>
              <a:gd name="connsiteX52" fmla="*/ 1749438 w 5829300"/>
              <a:gd name="connsiteY52" fmla="*/ 3334255 h 4619625"/>
              <a:gd name="connsiteX53" fmla="*/ 1750114 w 5829300"/>
              <a:gd name="connsiteY53" fmla="*/ 3334255 h 4619625"/>
              <a:gd name="connsiteX54" fmla="*/ 3671526 w 5829300"/>
              <a:gd name="connsiteY54" fmla="*/ 279511 h 4619625"/>
              <a:gd name="connsiteX55" fmla="*/ 2631815 w 5829300"/>
              <a:gd name="connsiteY55" fmla="*/ 1111415 h 4619625"/>
              <a:gd name="connsiteX56" fmla="*/ 2631815 w 5829300"/>
              <a:gd name="connsiteY56" fmla="*/ 3133744 h 4619625"/>
              <a:gd name="connsiteX57" fmla="*/ 3671526 w 5829300"/>
              <a:gd name="connsiteY57" fmla="*/ 3965648 h 4619625"/>
              <a:gd name="connsiteX58" fmla="*/ 3671526 w 5829300"/>
              <a:gd name="connsiteY58" fmla="*/ 279511 h 461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829300" h="4619625">
                <a:moveTo>
                  <a:pt x="4775645" y="1269435"/>
                </a:moveTo>
                <a:cubicBezTo>
                  <a:pt x="4796885" y="1305287"/>
                  <a:pt x="5227120" y="2086727"/>
                  <a:pt x="4782950" y="3011586"/>
                </a:cubicBezTo>
                <a:cubicBezTo>
                  <a:pt x="4761710" y="3062040"/>
                  <a:pt x="4711246" y="3083290"/>
                  <a:pt x="4660783" y="3083290"/>
                </a:cubicBezTo>
                <a:cubicBezTo>
                  <a:pt x="4639542" y="3083290"/>
                  <a:pt x="4624931" y="3075985"/>
                  <a:pt x="4603680" y="3068688"/>
                </a:cubicBezTo>
                <a:cubicBezTo>
                  <a:pt x="4539282" y="3040142"/>
                  <a:pt x="4510726" y="2953826"/>
                  <a:pt x="4539282" y="2889428"/>
                </a:cubicBezTo>
                <a:cubicBezTo>
                  <a:pt x="4926350" y="2093376"/>
                  <a:pt x="4560523" y="1419492"/>
                  <a:pt x="4546588" y="1390936"/>
                </a:cubicBezTo>
                <a:cubicBezTo>
                  <a:pt x="4510735" y="1326537"/>
                  <a:pt x="4531986" y="1247527"/>
                  <a:pt x="4597041" y="1211675"/>
                </a:cubicBezTo>
                <a:cubicBezTo>
                  <a:pt x="4661449" y="1183119"/>
                  <a:pt x="4739793" y="1204370"/>
                  <a:pt x="4775645" y="1269435"/>
                </a:cubicBezTo>
                <a:close/>
                <a:moveTo>
                  <a:pt x="5464141" y="588245"/>
                </a:moveTo>
                <a:cubicBezTo>
                  <a:pt x="5428288" y="523846"/>
                  <a:pt x="5349278" y="501929"/>
                  <a:pt x="5284880" y="537782"/>
                </a:cubicBezTo>
                <a:cubicBezTo>
                  <a:pt x="5220481" y="573634"/>
                  <a:pt x="5198574" y="652644"/>
                  <a:pt x="5234426" y="717042"/>
                </a:cubicBezTo>
                <a:cubicBezTo>
                  <a:pt x="5241731" y="731644"/>
                  <a:pt x="5972718" y="2043570"/>
                  <a:pt x="5227120" y="3570608"/>
                </a:cubicBezTo>
                <a:cubicBezTo>
                  <a:pt x="5198574" y="3635007"/>
                  <a:pt x="5219815" y="3714017"/>
                  <a:pt x="5291519" y="3749869"/>
                </a:cubicBezTo>
                <a:cubicBezTo>
                  <a:pt x="5312760" y="3757174"/>
                  <a:pt x="5327371" y="3764471"/>
                  <a:pt x="5348621" y="3764471"/>
                </a:cubicBezTo>
                <a:cubicBezTo>
                  <a:pt x="5399075" y="3764471"/>
                  <a:pt x="5441576" y="3735924"/>
                  <a:pt x="5470789" y="3692766"/>
                </a:cubicBezTo>
                <a:cubicBezTo>
                  <a:pt x="6267498" y="2043570"/>
                  <a:pt x="5492686" y="645338"/>
                  <a:pt x="5464141" y="588245"/>
                </a:cubicBezTo>
                <a:close/>
                <a:moveTo>
                  <a:pt x="3937102" y="243659"/>
                </a:moveTo>
                <a:lnTo>
                  <a:pt x="3937102" y="4101084"/>
                </a:lnTo>
                <a:lnTo>
                  <a:pt x="3937102" y="4108390"/>
                </a:lnTo>
                <a:cubicBezTo>
                  <a:pt x="3929796" y="4244493"/>
                  <a:pt x="3836851" y="4302262"/>
                  <a:pt x="3750535" y="4302262"/>
                </a:cubicBezTo>
                <a:cubicBezTo>
                  <a:pt x="3693433" y="4302262"/>
                  <a:pt x="3635674" y="4273715"/>
                  <a:pt x="3563970" y="4223252"/>
                </a:cubicBezTo>
                <a:lnTo>
                  <a:pt x="2452554" y="3334255"/>
                </a:lnTo>
                <a:lnTo>
                  <a:pt x="2015023" y="3334255"/>
                </a:lnTo>
                <a:lnTo>
                  <a:pt x="2015023" y="4187400"/>
                </a:lnTo>
                <a:cubicBezTo>
                  <a:pt x="2015023" y="4431059"/>
                  <a:pt x="1821152" y="4624931"/>
                  <a:pt x="1577492" y="4624931"/>
                </a:cubicBezTo>
                <a:lnTo>
                  <a:pt x="1190425" y="4624931"/>
                </a:lnTo>
                <a:cubicBezTo>
                  <a:pt x="946766" y="4624931"/>
                  <a:pt x="752894" y="4431059"/>
                  <a:pt x="752894" y="4187400"/>
                </a:cubicBezTo>
                <a:lnTo>
                  <a:pt x="752894" y="3334255"/>
                </a:lnTo>
                <a:lnTo>
                  <a:pt x="430225" y="3334255"/>
                </a:lnTo>
                <a:cubicBezTo>
                  <a:pt x="193872" y="3334255"/>
                  <a:pt x="0" y="3140383"/>
                  <a:pt x="0" y="2904030"/>
                </a:cubicBezTo>
                <a:lnTo>
                  <a:pt x="0" y="1347778"/>
                </a:lnTo>
                <a:cubicBezTo>
                  <a:pt x="0" y="1111415"/>
                  <a:pt x="193872" y="917553"/>
                  <a:pt x="430225" y="917553"/>
                </a:cubicBezTo>
                <a:lnTo>
                  <a:pt x="2459193" y="917553"/>
                </a:lnTo>
                <a:lnTo>
                  <a:pt x="3534756" y="49797"/>
                </a:lnTo>
                <a:cubicBezTo>
                  <a:pt x="3542062" y="42491"/>
                  <a:pt x="3555997" y="35195"/>
                  <a:pt x="3563303" y="28546"/>
                </a:cubicBezTo>
                <a:cubicBezTo>
                  <a:pt x="3577904" y="21241"/>
                  <a:pt x="3642312" y="0"/>
                  <a:pt x="3706711" y="0"/>
                </a:cubicBezTo>
                <a:cubicBezTo>
                  <a:pt x="3843490" y="0"/>
                  <a:pt x="3937102" y="100251"/>
                  <a:pt x="3937102" y="243659"/>
                </a:cubicBezTo>
                <a:close/>
                <a:moveTo>
                  <a:pt x="423586" y="3068679"/>
                </a:moveTo>
                <a:lnTo>
                  <a:pt x="882358" y="3068679"/>
                </a:lnTo>
                <a:lnTo>
                  <a:pt x="1878921" y="3068679"/>
                </a:lnTo>
                <a:lnTo>
                  <a:pt x="2366248" y="3068679"/>
                </a:lnTo>
                <a:lnTo>
                  <a:pt x="2366248" y="1183119"/>
                </a:lnTo>
                <a:lnTo>
                  <a:pt x="423586" y="1183119"/>
                </a:lnTo>
                <a:cubicBezTo>
                  <a:pt x="337271" y="1183119"/>
                  <a:pt x="258928" y="1254824"/>
                  <a:pt x="258928" y="1347778"/>
                </a:cubicBezTo>
                <a:lnTo>
                  <a:pt x="258928" y="2904030"/>
                </a:lnTo>
                <a:cubicBezTo>
                  <a:pt x="265576" y="2996975"/>
                  <a:pt x="337280" y="3068679"/>
                  <a:pt x="423586" y="3068679"/>
                </a:cubicBezTo>
                <a:close/>
                <a:moveTo>
                  <a:pt x="1750114" y="3334255"/>
                </a:moveTo>
                <a:lnTo>
                  <a:pt x="1018461" y="3334255"/>
                </a:lnTo>
                <a:lnTo>
                  <a:pt x="1018461" y="4187400"/>
                </a:lnTo>
                <a:cubicBezTo>
                  <a:pt x="1018461" y="4280354"/>
                  <a:pt x="1097471" y="4359355"/>
                  <a:pt x="1190415" y="4359355"/>
                </a:cubicBezTo>
                <a:lnTo>
                  <a:pt x="1577483" y="4359355"/>
                </a:lnTo>
                <a:cubicBezTo>
                  <a:pt x="1670437" y="4359355"/>
                  <a:pt x="1749438" y="4280345"/>
                  <a:pt x="1749438" y="4187400"/>
                </a:cubicBezTo>
                <a:lnTo>
                  <a:pt x="1749438" y="3334255"/>
                </a:lnTo>
                <a:lnTo>
                  <a:pt x="1750114" y="3334255"/>
                </a:lnTo>
                <a:close/>
                <a:moveTo>
                  <a:pt x="3671526" y="279511"/>
                </a:moveTo>
                <a:lnTo>
                  <a:pt x="2631815" y="1111415"/>
                </a:lnTo>
                <a:lnTo>
                  <a:pt x="2631815" y="3133744"/>
                </a:lnTo>
                <a:lnTo>
                  <a:pt x="3671526" y="3965648"/>
                </a:lnTo>
                <a:lnTo>
                  <a:pt x="3671526" y="279511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69" name="Forma libre 388">
            <a:extLst>
              <a:ext uri="{FF2B5EF4-FFF2-40B4-BE49-F238E27FC236}">
                <a16:creationId xmlns:a16="http://schemas.microsoft.com/office/drawing/2014/main" xmlns="" id="{21580244-68FB-DB4B-A259-FFA4D82BB3B8}"/>
              </a:ext>
            </a:extLst>
          </p:cNvPr>
          <p:cNvSpPr/>
          <p:nvPr/>
        </p:nvSpPr>
        <p:spPr>
          <a:xfrm>
            <a:off x="2755364" y="4097112"/>
            <a:ext cx="301831" cy="245114"/>
          </a:xfrm>
          <a:custGeom>
            <a:avLst/>
            <a:gdLst>
              <a:gd name="connsiteX0" fmla="*/ 5152521 w 5829300"/>
              <a:gd name="connsiteY0" fmla="*/ 0 h 4733925"/>
              <a:gd name="connsiteX1" fmla="*/ 676780 w 5829300"/>
              <a:gd name="connsiteY1" fmla="*/ 0 h 4733925"/>
              <a:gd name="connsiteX2" fmla="*/ 0 w 5829300"/>
              <a:gd name="connsiteY2" fmla="*/ 676770 h 4733925"/>
              <a:gd name="connsiteX3" fmla="*/ 0 w 5829300"/>
              <a:gd name="connsiteY3" fmla="*/ 3362344 h 4733925"/>
              <a:gd name="connsiteX4" fmla="*/ 676780 w 5829300"/>
              <a:gd name="connsiteY4" fmla="*/ 4039124 h 4733925"/>
              <a:gd name="connsiteX5" fmla="*/ 1149287 w 5829300"/>
              <a:gd name="connsiteY5" fmla="*/ 4039124 h 4733925"/>
              <a:gd name="connsiteX6" fmla="*/ 1565015 w 5829300"/>
              <a:gd name="connsiteY6" fmla="*/ 4595822 h 4733925"/>
              <a:gd name="connsiteX7" fmla="*/ 1826066 w 5829300"/>
              <a:gd name="connsiteY7" fmla="*/ 4736792 h 4733925"/>
              <a:gd name="connsiteX8" fmla="*/ 2079936 w 5829300"/>
              <a:gd name="connsiteY8" fmla="*/ 4588640 h 4733925"/>
              <a:gd name="connsiteX9" fmla="*/ 2495664 w 5829300"/>
              <a:gd name="connsiteY9" fmla="*/ 4039124 h 4733925"/>
              <a:gd name="connsiteX10" fmla="*/ 5153178 w 5829300"/>
              <a:gd name="connsiteY10" fmla="*/ 4039124 h 4733925"/>
              <a:gd name="connsiteX11" fmla="*/ 5829957 w 5829300"/>
              <a:gd name="connsiteY11" fmla="*/ 3362344 h 4733925"/>
              <a:gd name="connsiteX12" fmla="*/ 5829957 w 5829300"/>
              <a:gd name="connsiteY12" fmla="*/ 683304 h 4733925"/>
              <a:gd name="connsiteX13" fmla="*/ 5152521 w 5829300"/>
              <a:gd name="connsiteY13" fmla="*/ 0 h 4733925"/>
              <a:gd name="connsiteX14" fmla="*/ 5568249 w 5829300"/>
              <a:gd name="connsiteY14" fmla="*/ 3368878 h 4733925"/>
              <a:gd name="connsiteX15" fmla="*/ 5152521 w 5829300"/>
              <a:gd name="connsiteY15" fmla="*/ 3784606 h 4733925"/>
              <a:gd name="connsiteX16" fmla="*/ 2424522 w 5829300"/>
              <a:gd name="connsiteY16" fmla="*/ 3784606 h 4733925"/>
              <a:gd name="connsiteX17" fmla="*/ 2318795 w 5829300"/>
              <a:gd name="connsiteY17" fmla="*/ 3834203 h 4733925"/>
              <a:gd name="connsiteX18" fmla="*/ 1867824 w 5829300"/>
              <a:gd name="connsiteY18" fmla="*/ 4440498 h 4733925"/>
              <a:gd name="connsiteX19" fmla="*/ 1825400 w 5829300"/>
              <a:gd name="connsiteY19" fmla="*/ 4482922 h 4733925"/>
              <a:gd name="connsiteX20" fmla="*/ 1775803 w 5829300"/>
              <a:gd name="connsiteY20" fmla="*/ 4440498 h 4733925"/>
              <a:gd name="connsiteX21" fmla="*/ 1324832 w 5829300"/>
              <a:gd name="connsiteY21" fmla="*/ 3834203 h 4733925"/>
              <a:gd name="connsiteX22" fmla="*/ 1219105 w 5829300"/>
              <a:gd name="connsiteY22" fmla="*/ 3784606 h 4733925"/>
              <a:gd name="connsiteX23" fmla="*/ 683304 w 5829300"/>
              <a:gd name="connsiteY23" fmla="*/ 3784606 h 4733925"/>
              <a:gd name="connsiteX24" fmla="*/ 267576 w 5829300"/>
              <a:gd name="connsiteY24" fmla="*/ 3368878 h 4733925"/>
              <a:gd name="connsiteX25" fmla="*/ 267576 w 5829300"/>
              <a:gd name="connsiteY25" fmla="*/ 683304 h 4733925"/>
              <a:gd name="connsiteX26" fmla="*/ 683304 w 5829300"/>
              <a:gd name="connsiteY26" fmla="*/ 267576 h 4733925"/>
              <a:gd name="connsiteX27" fmla="*/ 5159045 w 5829300"/>
              <a:gd name="connsiteY27" fmla="*/ 267576 h 4733925"/>
              <a:gd name="connsiteX28" fmla="*/ 5574773 w 5829300"/>
              <a:gd name="connsiteY28" fmla="*/ 683304 h 4733925"/>
              <a:gd name="connsiteX29" fmla="*/ 5574773 w 5829300"/>
              <a:gd name="connsiteY29" fmla="*/ 3368878 h 4733925"/>
              <a:gd name="connsiteX30" fmla="*/ 5568249 w 5829300"/>
              <a:gd name="connsiteY30" fmla="*/ 3368878 h 4733925"/>
              <a:gd name="connsiteX31" fmla="*/ 4750499 w 5829300"/>
              <a:gd name="connsiteY31" fmla="*/ 2050561 h 4733925"/>
              <a:gd name="connsiteX32" fmla="*/ 4623892 w 5829300"/>
              <a:gd name="connsiteY32" fmla="*/ 2177168 h 4733925"/>
              <a:gd name="connsiteX33" fmla="*/ 1191054 w 5829300"/>
              <a:gd name="connsiteY33" fmla="*/ 2177168 h 4733925"/>
              <a:gd name="connsiteX34" fmla="*/ 1064447 w 5829300"/>
              <a:gd name="connsiteY34" fmla="*/ 2050561 h 4733925"/>
              <a:gd name="connsiteX35" fmla="*/ 1191054 w 5829300"/>
              <a:gd name="connsiteY35" fmla="*/ 1923955 h 4733925"/>
              <a:gd name="connsiteX36" fmla="*/ 4623892 w 5829300"/>
              <a:gd name="connsiteY36" fmla="*/ 1923955 h 4733925"/>
              <a:gd name="connsiteX37" fmla="*/ 4750499 w 5829300"/>
              <a:gd name="connsiteY37" fmla="*/ 2050561 h 4733925"/>
              <a:gd name="connsiteX38" fmla="*/ 4750499 w 5829300"/>
              <a:gd name="connsiteY38" fmla="*/ 2833069 h 4733925"/>
              <a:gd name="connsiteX39" fmla="*/ 4623892 w 5829300"/>
              <a:gd name="connsiteY39" fmla="*/ 2959675 h 4733925"/>
              <a:gd name="connsiteX40" fmla="*/ 1191054 w 5829300"/>
              <a:gd name="connsiteY40" fmla="*/ 2959675 h 4733925"/>
              <a:gd name="connsiteX41" fmla="*/ 1064447 w 5829300"/>
              <a:gd name="connsiteY41" fmla="*/ 2833069 h 4733925"/>
              <a:gd name="connsiteX42" fmla="*/ 1191054 w 5829300"/>
              <a:gd name="connsiteY42" fmla="*/ 2706462 h 4733925"/>
              <a:gd name="connsiteX43" fmla="*/ 4623892 w 5829300"/>
              <a:gd name="connsiteY43" fmla="*/ 2706462 h 4733925"/>
              <a:gd name="connsiteX44" fmla="*/ 4750499 w 5829300"/>
              <a:gd name="connsiteY44" fmla="*/ 2833069 h 4733925"/>
              <a:gd name="connsiteX45" fmla="*/ 1057266 w 5829300"/>
              <a:gd name="connsiteY45" fmla="*/ 1275236 h 4733925"/>
              <a:gd name="connsiteX46" fmla="*/ 1183872 w 5829300"/>
              <a:gd name="connsiteY46" fmla="*/ 1148629 h 4733925"/>
              <a:gd name="connsiteX47" fmla="*/ 3248797 w 5829300"/>
              <a:gd name="connsiteY47" fmla="*/ 1148629 h 4733925"/>
              <a:gd name="connsiteX48" fmla="*/ 3375403 w 5829300"/>
              <a:gd name="connsiteY48" fmla="*/ 1275236 h 4733925"/>
              <a:gd name="connsiteX49" fmla="*/ 3248797 w 5829300"/>
              <a:gd name="connsiteY49" fmla="*/ 1401842 h 4733925"/>
              <a:gd name="connsiteX50" fmla="*/ 1191054 w 5829300"/>
              <a:gd name="connsiteY50" fmla="*/ 1401842 h 4733925"/>
              <a:gd name="connsiteX51" fmla="*/ 1057266 w 5829300"/>
              <a:gd name="connsiteY51" fmla="*/ 1275236 h 473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829300" h="4733925">
                <a:moveTo>
                  <a:pt x="5152521" y="0"/>
                </a:moveTo>
                <a:lnTo>
                  <a:pt x="676780" y="0"/>
                </a:lnTo>
                <a:cubicBezTo>
                  <a:pt x="303476" y="0"/>
                  <a:pt x="0" y="302819"/>
                  <a:pt x="0" y="676770"/>
                </a:cubicBezTo>
                <a:lnTo>
                  <a:pt x="0" y="3362344"/>
                </a:lnTo>
                <a:cubicBezTo>
                  <a:pt x="0" y="3735648"/>
                  <a:pt x="302819" y="4039124"/>
                  <a:pt x="676780" y="4039124"/>
                </a:cubicBezTo>
                <a:lnTo>
                  <a:pt x="1149287" y="4039124"/>
                </a:lnTo>
                <a:lnTo>
                  <a:pt x="1565015" y="4595822"/>
                </a:lnTo>
                <a:cubicBezTo>
                  <a:pt x="1593075" y="4631065"/>
                  <a:pt x="1685096" y="4736792"/>
                  <a:pt x="1826066" y="4736792"/>
                </a:cubicBezTo>
                <a:cubicBezTo>
                  <a:pt x="1889369" y="4736792"/>
                  <a:pt x="1987915" y="4708732"/>
                  <a:pt x="2079936" y="4588640"/>
                </a:cubicBezTo>
                <a:lnTo>
                  <a:pt x="2495664" y="4039124"/>
                </a:lnTo>
                <a:lnTo>
                  <a:pt x="5153178" y="4039124"/>
                </a:lnTo>
                <a:cubicBezTo>
                  <a:pt x="5526482" y="4039124"/>
                  <a:pt x="5829957" y="3736305"/>
                  <a:pt x="5829957" y="3362344"/>
                </a:cubicBezTo>
                <a:lnTo>
                  <a:pt x="5829957" y="683304"/>
                </a:lnTo>
                <a:cubicBezTo>
                  <a:pt x="5828653" y="309991"/>
                  <a:pt x="5525824" y="0"/>
                  <a:pt x="5152521" y="0"/>
                </a:cubicBezTo>
                <a:close/>
                <a:moveTo>
                  <a:pt x="5568249" y="3368878"/>
                </a:moveTo>
                <a:cubicBezTo>
                  <a:pt x="5568249" y="3601212"/>
                  <a:pt x="5377682" y="3784606"/>
                  <a:pt x="5152521" y="3784606"/>
                </a:cubicBezTo>
                <a:lnTo>
                  <a:pt x="2424522" y="3784606"/>
                </a:lnTo>
                <a:cubicBezTo>
                  <a:pt x="2382098" y="3784606"/>
                  <a:pt x="2346855" y="3805495"/>
                  <a:pt x="2318795" y="3834203"/>
                </a:cubicBezTo>
                <a:lnTo>
                  <a:pt x="1867824" y="4440498"/>
                </a:lnTo>
                <a:cubicBezTo>
                  <a:pt x="1839763" y="4475741"/>
                  <a:pt x="1825400" y="4482922"/>
                  <a:pt x="1825400" y="4482922"/>
                </a:cubicBezTo>
                <a:cubicBezTo>
                  <a:pt x="1818218" y="4482922"/>
                  <a:pt x="1790157" y="4462034"/>
                  <a:pt x="1775803" y="4440498"/>
                </a:cubicBezTo>
                <a:lnTo>
                  <a:pt x="1324832" y="3834203"/>
                </a:lnTo>
                <a:cubicBezTo>
                  <a:pt x="1303944" y="3798961"/>
                  <a:pt x="1261529" y="3784606"/>
                  <a:pt x="1219105" y="3784606"/>
                </a:cubicBezTo>
                <a:lnTo>
                  <a:pt x="683304" y="3784606"/>
                </a:lnTo>
                <a:cubicBezTo>
                  <a:pt x="450971" y="3784606"/>
                  <a:pt x="267576" y="3594040"/>
                  <a:pt x="267576" y="3368878"/>
                </a:cubicBezTo>
                <a:lnTo>
                  <a:pt x="267576" y="683304"/>
                </a:lnTo>
                <a:cubicBezTo>
                  <a:pt x="267576" y="450971"/>
                  <a:pt x="458143" y="267576"/>
                  <a:pt x="683304" y="267576"/>
                </a:cubicBezTo>
                <a:lnTo>
                  <a:pt x="5159045" y="267576"/>
                </a:lnTo>
                <a:cubicBezTo>
                  <a:pt x="5391379" y="267576"/>
                  <a:pt x="5574773" y="458143"/>
                  <a:pt x="5574773" y="683304"/>
                </a:cubicBezTo>
                <a:lnTo>
                  <a:pt x="5574773" y="3368878"/>
                </a:lnTo>
                <a:lnTo>
                  <a:pt x="5568249" y="3368878"/>
                </a:lnTo>
                <a:close/>
                <a:moveTo>
                  <a:pt x="4750499" y="2050561"/>
                </a:moveTo>
                <a:cubicBezTo>
                  <a:pt x="4750499" y="2121046"/>
                  <a:pt x="4694377" y="2177168"/>
                  <a:pt x="4623892" y="2177168"/>
                </a:cubicBezTo>
                <a:lnTo>
                  <a:pt x="1191054" y="2177168"/>
                </a:lnTo>
                <a:cubicBezTo>
                  <a:pt x="1120569" y="2177168"/>
                  <a:pt x="1064447" y="2121046"/>
                  <a:pt x="1064447" y="2050561"/>
                </a:cubicBezTo>
                <a:cubicBezTo>
                  <a:pt x="1064447" y="1980076"/>
                  <a:pt x="1120578" y="1923955"/>
                  <a:pt x="1191054" y="1923955"/>
                </a:cubicBezTo>
                <a:lnTo>
                  <a:pt x="4623892" y="1923955"/>
                </a:lnTo>
                <a:cubicBezTo>
                  <a:pt x="4694377" y="1916773"/>
                  <a:pt x="4750499" y="1973551"/>
                  <a:pt x="4750499" y="2050561"/>
                </a:cubicBezTo>
                <a:close/>
                <a:moveTo>
                  <a:pt x="4750499" y="2833069"/>
                </a:moveTo>
                <a:cubicBezTo>
                  <a:pt x="4750499" y="2903553"/>
                  <a:pt x="4694377" y="2959675"/>
                  <a:pt x="4623892" y="2959675"/>
                </a:cubicBezTo>
                <a:lnTo>
                  <a:pt x="1191054" y="2959675"/>
                </a:lnTo>
                <a:cubicBezTo>
                  <a:pt x="1120569" y="2959675"/>
                  <a:pt x="1064447" y="2903544"/>
                  <a:pt x="1064447" y="2833069"/>
                </a:cubicBezTo>
                <a:cubicBezTo>
                  <a:pt x="1064447" y="2762593"/>
                  <a:pt x="1120578" y="2706462"/>
                  <a:pt x="1191054" y="2706462"/>
                </a:cubicBezTo>
                <a:lnTo>
                  <a:pt x="4623892" y="2706462"/>
                </a:lnTo>
                <a:cubicBezTo>
                  <a:pt x="4694377" y="2699280"/>
                  <a:pt x="4750499" y="2755402"/>
                  <a:pt x="4750499" y="2833069"/>
                </a:cubicBezTo>
                <a:close/>
                <a:moveTo>
                  <a:pt x="1057266" y="1275236"/>
                </a:moveTo>
                <a:cubicBezTo>
                  <a:pt x="1057266" y="1204751"/>
                  <a:pt x="1113396" y="1148629"/>
                  <a:pt x="1183872" y="1148629"/>
                </a:cubicBezTo>
                <a:lnTo>
                  <a:pt x="3248797" y="1148629"/>
                </a:lnTo>
                <a:cubicBezTo>
                  <a:pt x="3319282" y="1148629"/>
                  <a:pt x="3375403" y="1204760"/>
                  <a:pt x="3375403" y="1275236"/>
                </a:cubicBezTo>
                <a:cubicBezTo>
                  <a:pt x="3375403" y="1345711"/>
                  <a:pt x="3319272" y="1401842"/>
                  <a:pt x="3248797" y="1401842"/>
                </a:cubicBezTo>
                <a:lnTo>
                  <a:pt x="1191054" y="1401842"/>
                </a:lnTo>
                <a:cubicBezTo>
                  <a:pt x="1120569" y="1409681"/>
                  <a:pt x="1057266" y="1345721"/>
                  <a:pt x="1057266" y="127523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0" name="Forma libre 390">
            <a:extLst>
              <a:ext uri="{FF2B5EF4-FFF2-40B4-BE49-F238E27FC236}">
                <a16:creationId xmlns:a16="http://schemas.microsoft.com/office/drawing/2014/main" xmlns="" id="{D539A507-22E5-9E40-A9C3-7D0A6A20534F}"/>
              </a:ext>
            </a:extLst>
          </p:cNvPr>
          <p:cNvSpPr/>
          <p:nvPr/>
        </p:nvSpPr>
        <p:spPr>
          <a:xfrm>
            <a:off x="4277078" y="4014821"/>
            <a:ext cx="301339" cy="301339"/>
          </a:xfrm>
          <a:custGeom>
            <a:avLst/>
            <a:gdLst>
              <a:gd name="connsiteX0" fmla="*/ 2910247 w 5819790"/>
              <a:gd name="connsiteY0" fmla="*/ 0 h 5819790"/>
              <a:gd name="connsiteX1" fmla="*/ 0 w 5819790"/>
              <a:gd name="connsiteY1" fmla="*/ 2909544 h 5819790"/>
              <a:gd name="connsiteX2" fmla="*/ 2910247 w 5819790"/>
              <a:gd name="connsiteY2" fmla="*/ 5827550 h 5819790"/>
              <a:gd name="connsiteX3" fmla="*/ 5820495 w 5819790"/>
              <a:gd name="connsiteY3" fmla="*/ 2917303 h 5819790"/>
              <a:gd name="connsiteX4" fmla="*/ 2910247 w 5819790"/>
              <a:gd name="connsiteY4" fmla="*/ 0 h 5819790"/>
              <a:gd name="connsiteX5" fmla="*/ 2910247 w 5819790"/>
              <a:gd name="connsiteY5" fmla="*/ 5545414 h 5819790"/>
              <a:gd name="connsiteX6" fmla="*/ 282136 w 5819790"/>
              <a:gd name="connsiteY6" fmla="*/ 2917303 h 5819790"/>
              <a:gd name="connsiteX7" fmla="*/ 2910247 w 5819790"/>
              <a:gd name="connsiteY7" fmla="*/ 289192 h 5819790"/>
              <a:gd name="connsiteX8" fmla="*/ 5538358 w 5819790"/>
              <a:gd name="connsiteY8" fmla="*/ 2917303 h 5819790"/>
              <a:gd name="connsiteX9" fmla="*/ 2910247 w 5819790"/>
              <a:gd name="connsiteY9" fmla="*/ 5545414 h 5819790"/>
              <a:gd name="connsiteX10" fmla="*/ 4205255 w 5819790"/>
              <a:gd name="connsiteY10" fmla="*/ 2947629 h 5819790"/>
              <a:gd name="connsiteX11" fmla="*/ 4068414 w 5819790"/>
              <a:gd name="connsiteY11" fmla="*/ 3084470 h 5819790"/>
              <a:gd name="connsiteX12" fmla="*/ 1783110 w 5819790"/>
              <a:gd name="connsiteY12" fmla="*/ 3084470 h 5819790"/>
              <a:gd name="connsiteX13" fmla="*/ 1646269 w 5819790"/>
              <a:gd name="connsiteY13" fmla="*/ 2947629 h 5819790"/>
              <a:gd name="connsiteX14" fmla="*/ 1783110 w 5819790"/>
              <a:gd name="connsiteY14" fmla="*/ 2810788 h 5819790"/>
              <a:gd name="connsiteX15" fmla="*/ 4068424 w 5819790"/>
              <a:gd name="connsiteY15" fmla="*/ 2810788 h 5819790"/>
              <a:gd name="connsiteX16" fmla="*/ 4205255 w 5819790"/>
              <a:gd name="connsiteY16" fmla="*/ 2947629 h 581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819790" h="5819790">
                <a:moveTo>
                  <a:pt x="2910247" y="0"/>
                </a:moveTo>
                <a:cubicBezTo>
                  <a:pt x="1302768" y="0"/>
                  <a:pt x="0" y="1302064"/>
                  <a:pt x="0" y="2909544"/>
                </a:cubicBezTo>
                <a:cubicBezTo>
                  <a:pt x="0" y="4517023"/>
                  <a:pt x="1302768" y="5827550"/>
                  <a:pt x="2910247" y="5827550"/>
                </a:cubicBezTo>
                <a:cubicBezTo>
                  <a:pt x="4517727" y="5827550"/>
                  <a:pt x="5820495" y="4524783"/>
                  <a:pt x="5820495" y="2917303"/>
                </a:cubicBezTo>
                <a:cubicBezTo>
                  <a:pt x="5820495" y="1309824"/>
                  <a:pt x="4517023" y="0"/>
                  <a:pt x="2910247" y="0"/>
                </a:cubicBezTo>
                <a:close/>
                <a:moveTo>
                  <a:pt x="2910247" y="5545414"/>
                </a:moveTo>
                <a:cubicBezTo>
                  <a:pt x="1462879" y="5545414"/>
                  <a:pt x="282136" y="4364672"/>
                  <a:pt x="282136" y="2917303"/>
                </a:cubicBezTo>
                <a:cubicBezTo>
                  <a:pt x="282136" y="1469935"/>
                  <a:pt x="1462879" y="289192"/>
                  <a:pt x="2910247" y="289192"/>
                </a:cubicBezTo>
                <a:cubicBezTo>
                  <a:pt x="4357616" y="289192"/>
                  <a:pt x="5538358" y="1469935"/>
                  <a:pt x="5538358" y="2917303"/>
                </a:cubicBezTo>
                <a:cubicBezTo>
                  <a:pt x="5538358" y="4364672"/>
                  <a:pt x="4357616" y="5545414"/>
                  <a:pt x="2910247" y="5545414"/>
                </a:cubicBezTo>
                <a:close/>
                <a:moveTo>
                  <a:pt x="4205255" y="2947629"/>
                </a:moveTo>
                <a:cubicBezTo>
                  <a:pt x="4205255" y="3023809"/>
                  <a:pt x="4144594" y="3084470"/>
                  <a:pt x="4068414" y="3084470"/>
                </a:cubicBezTo>
                <a:lnTo>
                  <a:pt x="1783110" y="3084470"/>
                </a:lnTo>
                <a:cubicBezTo>
                  <a:pt x="1706929" y="3084470"/>
                  <a:pt x="1646269" y="3023809"/>
                  <a:pt x="1646269" y="2947629"/>
                </a:cubicBezTo>
                <a:cubicBezTo>
                  <a:pt x="1646269" y="2871449"/>
                  <a:pt x="1706929" y="2810788"/>
                  <a:pt x="1783110" y="2810788"/>
                </a:cubicBezTo>
                <a:lnTo>
                  <a:pt x="4068424" y="2810788"/>
                </a:lnTo>
                <a:cubicBezTo>
                  <a:pt x="4143891" y="2810797"/>
                  <a:pt x="4205255" y="2871458"/>
                  <a:pt x="4205255" y="2947629"/>
                </a:cubicBez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1" name="Forma libre 392">
            <a:extLst>
              <a:ext uri="{FF2B5EF4-FFF2-40B4-BE49-F238E27FC236}">
                <a16:creationId xmlns:a16="http://schemas.microsoft.com/office/drawing/2014/main" xmlns="" id="{41A2EFD7-D1B6-D748-8373-833257252816}"/>
              </a:ext>
            </a:extLst>
          </p:cNvPr>
          <p:cNvSpPr/>
          <p:nvPr/>
        </p:nvSpPr>
        <p:spPr>
          <a:xfrm>
            <a:off x="481872" y="4108126"/>
            <a:ext cx="301831" cy="236730"/>
          </a:xfrm>
          <a:custGeom>
            <a:avLst/>
            <a:gdLst>
              <a:gd name="connsiteX0" fmla="*/ 3580143 w 5829300"/>
              <a:gd name="connsiteY0" fmla="*/ 1344120 h 4572000"/>
              <a:gd name="connsiteX1" fmla="*/ 3445040 w 5829300"/>
              <a:gd name="connsiteY1" fmla="*/ 1479223 h 4572000"/>
              <a:gd name="connsiteX2" fmla="*/ 3309938 w 5829300"/>
              <a:gd name="connsiteY2" fmla="*/ 1344120 h 4572000"/>
              <a:gd name="connsiteX3" fmla="*/ 3445040 w 5829300"/>
              <a:gd name="connsiteY3" fmla="*/ 1209018 h 4572000"/>
              <a:gd name="connsiteX4" fmla="*/ 3580143 w 5829300"/>
              <a:gd name="connsiteY4" fmla="*/ 1344120 h 4572000"/>
              <a:gd name="connsiteX5" fmla="*/ 2944673 w 5829300"/>
              <a:gd name="connsiteY5" fmla="*/ 1209018 h 4572000"/>
              <a:gd name="connsiteX6" fmla="*/ 2809570 w 5829300"/>
              <a:gd name="connsiteY6" fmla="*/ 1344120 h 4572000"/>
              <a:gd name="connsiteX7" fmla="*/ 2944673 w 5829300"/>
              <a:gd name="connsiteY7" fmla="*/ 1479223 h 4572000"/>
              <a:gd name="connsiteX8" fmla="*/ 3079776 w 5829300"/>
              <a:gd name="connsiteY8" fmla="*/ 1344120 h 4572000"/>
              <a:gd name="connsiteX9" fmla="*/ 2944673 w 5829300"/>
              <a:gd name="connsiteY9" fmla="*/ 1209018 h 4572000"/>
              <a:gd name="connsiteX10" fmla="*/ 5829300 w 5829300"/>
              <a:gd name="connsiteY10" fmla="*/ 1303468 h 4572000"/>
              <a:gd name="connsiteX11" fmla="*/ 5829300 w 5829300"/>
              <a:gd name="connsiteY11" fmla="*/ 2661342 h 4572000"/>
              <a:gd name="connsiteX12" fmla="*/ 5559105 w 5829300"/>
              <a:gd name="connsiteY12" fmla="*/ 2931538 h 4572000"/>
              <a:gd name="connsiteX13" fmla="*/ 5100019 w 5829300"/>
              <a:gd name="connsiteY13" fmla="*/ 2931538 h 4572000"/>
              <a:gd name="connsiteX14" fmla="*/ 4836700 w 5829300"/>
              <a:gd name="connsiteY14" fmla="*/ 2701995 h 4572000"/>
              <a:gd name="connsiteX15" fmla="*/ 4079891 w 5829300"/>
              <a:gd name="connsiteY15" fmla="*/ 2701995 h 4572000"/>
              <a:gd name="connsiteX16" fmla="*/ 4079891 w 5829300"/>
              <a:gd name="connsiteY16" fmla="*/ 2897762 h 4572000"/>
              <a:gd name="connsiteX17" fmla="*/ 3722132 w 5829300"/>
              <a:gd name="connsiteY17" fmla="*/ 3255531 h 4572000"/>
              <a:gd name="connsiteX18" fmla="*/ 2526240 w 5829300"/>
              <a:gd name="connsiteY18" fmla="*/ 3255531 h 4572000"/>
              <a:gd name="connsiteX19" fmla="*/ 2526240 w 5829300"/>
              <a:gd name="connsiteY19" fmla="*/ 4288793 h 4572000"/>
              <a:gd name="connsiteX20" fmla="*/ 2236023 w 5829300"/>
              <a:gd name="connsiteY20" fmla="*/ 4579010 h 4572000"/>
              <a:gd name="connsiteX21" fmla="*/ 1702508 w 5829300"/>
              <a:gd name="connsiteY21" fmla="*/ 4579010 h 4572000"/>
              <a:gd name="connsiteX22" fmla="*/ 1412291 w 5829300"/>
              <a:gd name="connsiteY22" fmla="*/ 4288793 h 4572000"/>
              <a:gd name="connsiteX23" fmla="*/ 1412291 w 5829300"/>
              <a:gd name="connsiteY23" fmla="*/ 3255531 h 4572000"/>
              <a:gd name="connsiteX24" fmla="*/ 357769 w 5829300"/>
              <a:gd name="connsiteY24" fmla="*/ 3255531 h 4572000"/>
              <a:gd name="connsiteX25" fmla="*/ 0 w 5829300"/>
              <a:gd name="connsiteY25" fmla="*/ 2897762 h 4572000"/>
              <a:gd name="connsiteX26" fmla="*/ 0 w 5829300"/>
              <a:gd name="connsiteY26" fmla="*/ 1060161 h 4572000"/>
              <a:gd name="connsiteX27" fmla="*/ 357769 w 5829300"/>
              <a:gd name="connsiteY27" fmla="*/ 702392 h 4572000"/>
              <a:gd name="connsiteX28" fmla="*/ 371532 w 5829300"/>
              <a:gd name="connsiteY28" fmla="*/ 702392 h 4572000"/>
              <a:gd name="connsiteX29" fmla="*/ 371532 w 5829300"/>
              <a:gd name="connsiteY29" fmla="*/ 290217 h 4572000"/>
              <a:gd name="connsiteX30" fmla="*/ 661749 w 5829300"/>
              <a:gd name="connsiteY30" fmla="*/ 0 h 4572000"/>
              <a:gd name="connsiteX31" fmla="*/ 3059763 w 5829300"/>
              <a:gd name="connsiteY31" fmla="*/ 0 h 4572000"/>
              <a:gd name="connsiteX32" fmla="*/ 3349981 w 5829300"/>
              <a:gd name="connsiteY32" fmla="*/ 290217 h 4572000"/>
              <a:gd name="connsiteX33" fmla="*/ 3349981 w 5829300"/>
              <a:gd name="connsiteY33" fmla="*/ 702392 h 4572000"/>
              <a:gd name="connsiteX34" fmla="*/ 3721503 w 5829300"/>
              <a:gd name="connsiteY34" fmla="*/ 702392 h 4572000"/>
              <a:gd name="connsiteX35" fmla="*/ 4079262 w 5829300"/>
              <a:gd name="connsiteY35" fmla="*/ 1060161 h 4572000"/>
              <a:gd name="connsiteX36" fmla="*/ 4079262 w 5829300"/>
              <a:gd name="connsiteY36" fmla="*/ 1255928 h 4572000"/>
              <a:gd name="connsiteX37" fmla="*/ 4836071 w 5829300"/>
              <a:gd name="connsiteY37" fmla="*/ 1255928 h 4572000"/>
              <a:gd name="connsiteX38" fmla="*/ 5099390 w 5829300"/>
              <a:gd name="connsiteY38" fmla="*/ 1033262 h 4572000"/>
              <a:gd name="connsiteX39" fmla="*/ 5558476 w 5829300"/>
              <a:gd name="connsiteY39" fmla="*/ 1033262 h 4572000"/>
              <a:gd name="connsiteX40" fmla="*/ 5829300 w 5829300"/>
              <a:gd name="connsiteY40" fmla="*/ 1303468 h 4572000"/>
              <a:gd name="connsiteX41" fmla="*/ 621087 w 5829300"/>
              <a:gd name="connsiteY41" fmla="*/ 702392 h 4572000"/>
              <a:gd name="connsiteX42" fmla="*/ 3100416 w 5829300"/>
              <a:gd name="connsiteY42" fmla="*/ 702392 h 4572000"/>
              <a:gd name="connsiteX43" fmla="*/ 3100416 w 5829300"/>
              <a:gd name="connsiteY43" fmla="*/ 290217 h 4572000"/>
              <a:gd name="connsiteX44" fmla="*/ 3059763 w 5829300"/>
              <a:gd name="connsiteY44" fmla="*/ 249564 h 4572000"/>
              <a:gd name="connsiteX45" fmla="*/ 661740 w 5829300"/>
              <a:gd name="connsiteY45" fmla="*/ 249564 h 4572000"/>
              <a:gd name="connsiteX46" fmla="*/ 621087 w 5829300"/>
              <a:gd name="connsiteY46" fmla="*/ 290217 h 4572000"/>
              <a:gd name="connsiteX47" fmla="*/ 621087 w 5829300"/>
              <a:gd name="connsiteY47" fmla="*/ 702392 h 4572000"/>
              <a:gd name="connsiteX48" fmla="*/ 2276056 w 5829300"/>
              <a:gd name="connsiteY48" fmla="*/ 3255531 h 4572000"/>
              <a:gd name="connsiteX49" fmla="*/ 1654969 w 5829300"/>
              <a:gd name="connsiteY49" fmla="*/ 3255531 h 4572000"/>
              <a:gd name="connsiteX50" fmla="*/ 1654969 w 5829300"/>
              <a:gd name="connsiteY50" fmla="*/ 4288793 h 4572000"/>
              <a:gd name="connsiteX51" fmla="*/ 1695622 w 5829300"/>
              <a:gd name="connsiteY51" fmla="*/ 4329446 h 4572000"/>
              <a:gd name="connsiteX52" fmla="*/ 2229136 w 5829300"/>
              <a:gd name="connsiteY52" fmla="*/ 4329446 h 4572000"/>
              <a:gd name="connsiteX53" fmla="*/ 2269789 w 5829300"/>
              <a:gd name="connsiteY53" fmla="*/ 4288793 h 4572000"/>
              <a:gd name="connsiteX54" fmla="*/ 2269789 w 5829300"/>
              <a:gd name="connsiteY54" fmla="*/ 3255531 h 4572000"/>
              <a:gd name="connsiteX55" fmla="*/ 2276056 w 5829300"/>
              <a:gd name="connsiteY55" fmla="*/ 3255531 h 4572000"/>
              <a:gd name="connsiteX56" fmla="*/ 3829698 w 5829300"/>
              <a:gd name="connsiteY56" fmla="*/ 2573150 h 4572000"/>
              <a:gd name="connsiteX57" fmla="*/ 3829698 w 5829300"/>
              <a:gd name="connsiteY57" fmla="*/ 1384154 h 4572000"/>
              <a:gd name="connsiteX58" fmla="*/ 3829698 w 5829300"/>
              <a:gd name="connsiteY58" fmla="*/ 1066419 h 4572000"/>
              <a:gd name="connsiteX59" fmla="*/ 3721494 w 5829300"/>
              <a:gd name="connsiteY59" fmla="*/ 958215 h 4572000"/>
              <a:gd name="connsiteX60" fmla="*/ 3228632 w 5829300"/>
              <a:gd name="connsiteY60" fmla="*/ 958215 h 4572000"/>
              <a:gd name="connsiteX61" fmla="*/ 499748 w 5829300"/>
              <a:gd name="connsiteY61" fmla="*/ 958215 h 4572000"/>
              <a:gd name="connsiteX62" fmla="*/ 357769 w 5829300"/>
              <a:gd name="connsiteY62" fmla="*/ 958215 h 4572000"/>
              <a:gd name="connsiteX63" fmla="*/ 249565 w 5829300"/>
              <a:gd name="connsiteY63" fmla="*/ 1066419 h 4572000"/>
              <a:gd name="connsiteX64" fmla="*/ 249565 w 5829300"/>
              <a:gd name="connsiteY64" fmla="*/ 2897143 h 4572000"/>
              <a:gd name="connsiteX65" fmla="*/ 357769 w 5829300"/>
              <a:gd name="connsiteY65" fmla="*/ 3005347 h 4572000"/>
              <a:gd name="connsiteX66" fmla="*/ 1533011 w 5829300"/>
              <a:gd name="connsiteY66" fmla="*/ 3005347 h 4572000"/>
              <a:gd name="connsiteX67" fmla="*/ 2404282 w 5829300"/>
              <a:gd name="connsiteY67" fmla="*/ 3005347 h 4572000"/>
              <a:gd name="connsiteX68" fmla="*/ 3721503 w 5829300"/>
              <a:gd name="connsiteY68" fmla="*/ 3005347 h 4572000"/>
              <a:gd name="connsiteX69" fmla="*/ 3829707 w 5829300"/>
              <a:gd name="connsiteY69" fmla="*/ 2897143 h 4572000"/>
              <a:gd name="connsiteX70" fmla="*/ 3829698 w 5829300"/>
              <a:gd name="connsiteY70" fmla="*/ 2573150 h 4572000"/>
              <a:gd name="connsiteX71" fmla="*/ 3829698 w 5829300"/>
              <a:gd name="connsiteY71" fmla="*/ 2573150 h 4572000"/>
              <a:gd name="connsiteX72" fmla="*/ 4079882 w 5829300"/>
              <a:gd name="connsiteY72" fmla="*/ 2451811 h 4572000"/>
              <a:gd name="connsiteX73" fmla="*/ 4836690 w 5829300"/>
              <a:gd name="connsiteY73" fmla="*/ 2451811 h 4572000"/>
              <a:gd name="connsiteX74" fmla="*/ 4836690 w 5829300"/>
              <a:gd name="connsiteY74" fmla="*/ 1506112 h 4572000"/>
              <a:gd name="connsiteX75" fmla="*/ 4079882 w 5829300"/>
              <a:gd name="connsiteY75" fmla="*/ 1506112 h 4572000"/>
              <a:gd name="connsiteX76" fmla="*/ 4079882 w 5829300"/>
              <a:gd name="connsiteY76" fmla="*/ 2451811 h 4572000"/>
              <a:gd name="connsiteX77" fmla="*/ 5579117 w 5829300"/>
              <a:gd name="connsiteY77" fmla="*/ 1303468 h 4572000"/>
              <a:gd name="connsiteX78" fmla="*/ 5559105 w 5829300"/>
              <a:gd name="connsiteY78" fmla="*/ 1283456 h 4572000"/>
              <a:gd name="connsiteX79" fmla="*/ 5100019 w 5829300"/>
              <a:gd name="connsiteY79" fmla="*/ 1283456 h 4572000"/>
              <a:gd name="connsiteX80" fmla="*/ 5080006 w 5829300"/>
              <a:gd name="connsiteY80" fmla="*/ 1303468 h 4572000"/>
              <a:gd name="connsiteX81" fmla="*/ 5080006 w 5829300"/>
              <a:gd name="connsiteY81" fmla="*/ 1323480 h 4572000"/>
              <a:gd name="connsiteX82" fmla="*/ 5093770 w 5829300"/>
              <a:gd name="connsiteY82" fmla="*/ 1377267 h 4572000"/>
              <a:gd name="connsiteX83" fmla="*/ 5093770 w 5829300"/>
              <a:gd name="connsiteY83" fmla="*/ 2573150 h 4572000"/>
              <a:gd name="connsiteX84" fmla="*/ 5080006 w 5829300"/>
              <a:gd name="connsiteY84" fmla="*/ 2626938 h 4572000"/>
              <a:gd name="connsiteX85" fmla="*/ 5080006 w 5829300"/>
              <a:gd name="connsiteY85" fmla="*/ 2653837 h 4572000"/>
              <a:gd name="connsiteX86" fmla="*/ 5100019 w 5829300"/>
              <a:gd name="connsiteY86" fmla="*/ 2673849 h 4572000"/>
              <a:gd name="connsiteX87" fmla="*/ 5559105 w 5829300"/>
              <a:gd name="connsiteY87" fmla="*/ 2673849 h 4572000"/>
              <a:gd name="connsiteX88" fmla="*/ 5579117 w 5829300"/>
              <a:gd name="connsiteY88" fmla="*/ 2653837 h 4572000"/>
              <a:gd name="connsiteX89" fmla="*/ 5579117 w 5829300"/>
              <a:gd name="connsiteY89" fmla="*/ 1303468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5829300" h="4572000">
                <a:moveTo>
                  <a:pt x="3580143" y="1344120"/>
                </a:moveTo>
                <a:cubicBezTo>
                  <a:pt x="3580143" y="1418549"/>
                  <a:pt x="3519468" y="1479223"/>
                  <a:pt x="3445040" y="1479223"/>
                </a:cubicBezTo>
                <a:cubicBezTo>
                  <a:pt x="3370612" y="1479223"/>
                  <a:pt x="3309938" y="1418549"/>
                  <a:pt x="3309938" y="1344120"/>
                </a:cubicBezTo>
                <a:cubicBezTo>
                  <a:pt x="3309938" y="1269692"/>
                  <a:pt x="3370612" y="1209018"/>
                  <a:pt x="3445040" y="1209018"/>
                </a:cubicBezTo>
                <a:cubicBezTo>
                  <a:pt x="3519468" y="1209018"/>
                  <a:pt x="3580143" y="1269692"/>
                  <a:pt x="3580143" y="1344120"/>
                </a:cubicBezTo>
                <a:close/>
                <a:moveTo>
                  <a:pt x="2944673" y="1209018"/>
                </a:moveTo>
                <a:cubicBezTo>
                  <a:pt x="2870245" y="1209018"/>
                  <a:pt x="2809570" y="1269692"/>
                  <a:pt x="2809570" y="1344120"/>
                </a:cubicBezTo>
                <a:cubicBezTo>
                  <a:pt x="2809570" y="1418549"/>
                  <a:pt x="2870245" y="1479223"/>
                  <a:pt x="2944673" y="1479223"/>
                </a:cubicBezTo>
                <a:cubicBezTo>
                  <a:pt x="3019101" y="1479223"/>
                  <a:pt x="3079776" y="1418549"/>
                  <a:pt x="3079776" y="1344120"/>
                </a:cubicBezTo>
                <a:cubicBezTo>
                  <a:pt x="3079776" y="1269692"/>
                  <a:pt x="3019101" y="1209018"/>
                  <a:pt x="2944673" y="1209018"/>
                </a:cubicBezTo>
                <a:close/>
                <a:moveTo>
                  <a:pt x="5829300" y="1303468"/>
                </a:moveTo>
                <a:lnTo>
                  <a:pt x="5829300" y="2661342"/>
                </a:lnTo>
                <a:cubicBezTo>
                  <a:pt x="5829300" y="2810199"/>
                  <a:pt x="5707961" y="2931538"/>
                  <a:pt x="5559105" y="2931538"/>
                </a:cubicBezTo>
                <a:lnTo>
                  <a:pt x="5100019" y="2931538"/>
                </a:lnTo>
                <a:cubicBezTo>
                  <a:pt x="4964916" y="2931538"/>
                  <a:pt x="4856712" y="2830211"/>
                  <a:pt x="4836700" y="2701995"/>
                </a:cubicBezTo>
                <a:lnTo>
                  <a:pt x="4079891" y="2701995"/>
                </a:lnTo>
                <a:lnTo>
                  <a:pt x="4079891" y="2897762"/>
                </a:lnTo>
                <a:cubicBezTo>
                  <a:pt x="4079891" y="3093529"/>
                  <a:pt x="3917899" y="3255531"/>
                  <a:pt x="3722132" y="3255531"/>
                </a:cubicBezTo>
                <a:lnTo>
                  <a:pt x="2526240" y="3255531"/>
                </a:lnTo>
                <a:lnTo>
                  <a:pt x="2526240" y="4288793"/>
                </a:lnTo>
                <a:cubicBezTo>
                  <a:pt x="2526240" y="4450785"/>
                  <a:pt x="2398024" y="4579010"/>
                  <a:pt x="2236023" y="4579010"/>
                </a:cubicBezTo>
                <a:lnTo>
                  <a:pt x="1702508" y="4579010"/>
                </a:lnTo>
                <a:cubicBezTo>
                  <a:pt x="1540516" y="4579010"/>
                  <a:pt x="1412291" y="4450794"/>
                  <a:pt x="1412291" y="4288793"/>
                </a:cubicBezTo>
                <a:lnTo>
                  <a:pt x="1412291" y="3255531"/>
                </a:lnTo>
                <a:lnTo>
                  <a:pt x="357769" y="3255531"/>
                </a:lnTo>
                <a:cubicBezTo>
                  <a:pt x="161992" y="3255531"/>
                  <a:pt x="0" y="3093539"/>
                  <a:pt x="0" y="2897762"/>
                </a:cubicBezTo>
                <a:lnTo>
                  <a:pt x="0" y="1060161"/>
                </a:lnTo>
                <a:cubicBezTo>
                  <a:pt x="0" y="864394"/>
                  <a:pt x="161992" y="702392"/>
                  <a:pt x="357769" y="702392"/>
                </a:cubicBezTo>
                <a:lnTo>
                  <a:pt x="371532" y="702392"/>
                </a:lnTo>
                <a:lnTo>
                  <a:pt x="371532" y="290217"/>
                </a:lnTo>
                <a:cubicBezTo>
                  <a:pt x="371532" y="128226"/>
                  <a:pt x="499748" y="0"/>
                  <a:pt x="661749" y="0"/>
                </a:cubicBezTo>
                <a:lnTo>
                  <a:pt x="3059763" y="0"/>
                </a:lnTo>
                <a:cubicBezTo>
                  <a:pt x="3221755" y="0"/>
                  <a:pt x="3349981" y="128216"/>
                  <a:pt x="3349981" y="290217"/>
                </a:cubicBezTo>
                <a:lnTo>
                  <a:pt x="3349981" y="702392"/>
                </a:lnTo>
                <a:lnTo>
                  <a:pt x="3721503" y="702392"/>
                </a:lnTo>
                <a:cubicBezTo>
                  <a:pt x="3917271" y="702392"/>
                  <a:pt x="4079262" y="864384"/>
                  <a:pt x="4079262" y="1060161"/>
                </a:cubicBezTo>
                <a:lnTo>
                  <a:pt x="4079262" y="1255928"/>
                </a:lnTo>
                <a:lnTo>
                  <a:pt x="4836071" y="1255928"/>
                </a:lnTo>
                <a:cubicBezTo>
                  <a:pt x="4856083" y="1127712"/>
                  <a:pt x="4971174" y="1033262"/>
                  <a:pt x="5099390" y="1033262"/>
                </a:cubicBezTo>
                <a:lnTo>
                  <a:pt x="5558476" y="1033262"/>
                </a:lnTo>
                <a:cubicBezTo>
                  <a:pt x="5707961" y="1033262"/>
                  <a:pt x="5829300" y="1154602"/>
                  <a:pt x="5829300" y="1303468"/>
                </a:cubicBezTo>
                <a:close/>
                <a:moveTo>
                  <a:pt x="621087" y="702392"/>
                </a:moveTo>
                <a:lnTo>
                  <a:pt x="3100416" y="702392"/>
                </a:lnTo>
                <a:lnTo>
                  <a:pt x="3100416" y="290217"/>
                </a:lnTo>
                <a:cubicBezTo>
                  <a:pt x="3100416" y="270205"/>
                  <a:pt x="3080404" y="249564"/>
                  <a:pt x="3059763" y="249564"/>
                </a:cubicBezTo>
                <a:lnTo>
                  <a:pt x="661740" y="249564"/>
                </a:lnTo>
                <a:cubicBezTo>
                  <a:pt x="641728" y="249564"/>
                  <a:pt x="621087" y="269577"/>
                  <a:pt x="621087" y="290217"/>
                </a:cubicBezTo>
                <a:lnTo>
                  <a:pt x="621087" y="702392"/>
                </a:lnTo>
                <a:close/>
                <a:moveTo>
                  <a:pt x="2276056" y="3255531"/>
                </a:moveTo>
                <a:lnTo>
                  <a:pt x="1654969" y="3255531"/>
                </a:lnTo>
                <a:lnTo>
                  <a:pt x="1654969" y="4288793"/>
                </a:lnTo>
                <a:cubicBezTo>
                  <a:pt x="1654969" y="4315692"/>
                  <a:pt x="1674981" y="4329446"/>
                  <a:pt x="1695622" y="4329446"/>
                </a:cubicBezTo>
                <a:lnTo>
                  <a:pt x="2229136" y="4329446"/>
                </a:lnTo>
                <a:cubicBezTo>
                  <a:pt x="2256035" y="4329446"/>
                  <a:pt x="2269789" y="4309434"/>
                  <a:pt x="2269789" y="4288793"/>
                </a:cubicBezTo>
                <a:lnTo>
                  <a:pt x="2269789" y="3255531"/>
                </a:lnTo>
                <a:lnTo>
                  <a:pt x="2276056" y="3255531"/>
                </a:lnTo>
                <a:close/>
                <a:moveTo>
                  <a:pt x="3829698" y="2573150"/>
                </a:moveTo>
                <a:lnTo>
                  <a:pt x="3829698" y="1384154"/>
                </a:lnTo>
                <a:lnTo>
                  <a:pt x="3829698" y="1066419"/>
                </a:lnTo>
                <a:cubicBezTo>
                  <a:pt x="3829698" y="1005745"/>
                  <a:pt x="3782159" y="958215"/>
                  <a:pt x="3721494" y="958215"/>
                </a:cubicBezTo>
                <a:lnTo>
                  <a:pt x="3228632" y="958215"/>
                </a:lnTo>
                <a:lnTo>
                  <a:pt x="499748" y="958215"/>
                </a:lnTo>
                <a:lnTo>
                  <a:pt x="357769" y="958215"/>
                </a:lnTo>
                <a:cubicBezTo>
                  <a:pt x="297094" y="958215"/>
                  <a:pt x="249565" y="1005754"/>
                  <a:pt x="249565" y="1066419"/>
                </a:cubicBezTo>
                <a:lnTo>
                  <a:pt x="249565" y="2897143"/>
                </a:lnTo>
                <a:cubicBezTo>
                  <a:pt x="249565" y="2957817"/>
                  <a:pt x="297104" y="3005347"/>
                  <a:pt x="357769" y="3005347"/>
                </a:cubicBezTo>
                <a:lnTo>
                  <a:pt x="1533011" y="3005347"/>
                </a:lnTo>
                <a:lnTo>
                  <a:pt x="2404282" y="3005347"/>
                </a:lnTo>
                <a:lnTo>
                  <a:pt x="3721503" y="3005347"/>
                </a:lnTo>
                <a:cubicBezTo>
                  <a:pt x="3782168" y="3005347"/>
                  <a:pt x="3829707" y="2957808"/>
                  <a:pt x="3829707" y="2897143"/>
                </a:cubicBezTo>
                <a:lnTo>
                  <a:pt x="3829698" y="2573150"/>
                </a:lnTo>
                <a:lnTo>
                  <a:pt x="3829698" y="2573150"/>
                </a:lnTo>
                <a:close/>
                <a:moveTo>
                  <a:pt x="4079882" y="2451811"/>
                </a:moveTo>
                <a:lnTo>
                  <a:pt x="4836690" y="2451811"/>
                </a:lnTo>
                <a:lnTo>
                  <a:pt x="4836690" y="1506112"/>
                </a:lnTo>
                <a:lnTo>
                  <a:pt x="4079882" y="1506112"/>
                </a:lnTo>
                <a:lnTo>
                  <a:pt x="4079882" y="2451811"/>
                </a:lnTo>
                <a:close/>
                <a:moveTo>
                  <a:pt x="5579117" y="1303468"/>
                </a:moveTo>
                <a:cubicBezTo>
                  <a:pt x="5579117" y="1289704"/>
                  <a:pt x="5572240" y="1283456"/>
                  <a:pt x="5559105" y="1283456"/>
                </a:cubicBezTo>
                <a:lnTo>
                  <a:pt x="5100019" y="1283456"/>
                </a:lnTo>
                <a:cubicBezTo>
                  <a:pt x="5086255" y="1283456"/>
                  <a:pt x="5080006" y="1290333"/>
                  <a:pt x="5080006" y="1303468"/>
                </a:cubicBezTo>
                <a:lnTo>
                  <a:pt x="5080006" y="1323480"/>
                </a:lnTo>
                <a:cubicBezTo>
                  <a:pt x="5086884" y="1343492"/>
                  <a:pt x="5093770" y="1357255"/>
                  <a:pt x="5093770" y="1377267"/>
                </a:cubicBezTo>
                <a:lnTo>
                  <a:pt x="5093770" y="2573150"/>
                </a:lnTo>
                <a:cubicBezTo>
                  <a:pt x="5093770" y="2593162"/>
                  <a:pt x="5086893" y="2613803"/>
                  <a:pt x="5080006" y="2626938"/>
                </a:cubicBezTo>
                <a:lnTo>
                  <a:pt x="5080006" y="2653837"/>
                </a:lnTo>
                <a:cubicBezTo>
                  <a:pt x="5080006" y="2667600"/>
                  <a:pt x="5086884" y="2673849"/>
                  <a:pt x="5100019" y="2673849"/>
                </a:cubicBezTo>
                <a:lnTo>
                  <a:pt x="5559105" y="2673849"/>
                </a:lnTo>
                <a:cubicBezTo>
                  <a:pt x="5572868" y="2673849"/>
                  <a:pt x="5579117" y="2666971"/>
                  <a:pt x="5579117" y="2653837"/>
                </a:cubicBezTo>
                <a:lnTo>
                  <a:pt x="5579117" y="1303468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2" name="Forma libre 394">
            <a:extLst>
              <a:ext uri="{FF2B5EF4-FFF2-40B4-BE49-F238E27FC236}">
                <a16:creationId xmlns:a16="http://schemas.microsoft.com/office/drawing/2014/main" xmlns="" id="{4D8B2F85-09F5-064F-B305-F700E4A46FDE}"/>
              </a:ext>
            </a:extLst>
          </p:cNvPr>
          <p:cNvSpPr/>
          <p:nvPr/>
        </p:nvSpPr>
        <p:spPr>
          <a:xfrm>
            <a:off x="1263071" y="4056121"/>
            <a:ext cx="301338" cy="255965"/>
          </a:xfrm>
          <a:custGeom>
            <a:avLst/>
            <a:gdLst>
              <a:gd name="connsiteX0" fmla="*/ 5702435 w 5819775"/>
              <a:gd name="connsiteY0" fmla="*/ 0 h 4943475"/>
              <a:gd name="connsiteX1" fmla="*/ 5322930 w 5819775"/>
              <a:gd name="connsiteY1" fmla="*/ 0 h 4943475"/>
              <a:gd name="connsiteX2" fmla="*/ 5076871 w 5819775"/>
              <a:gd name="connsiteY2" fmla="*/ 126282 h 4943475"/>
              <a:gd name="connsiteX3" fmla="*/ 5041723 w 5819775"/>
              <a:gd name="connsiteY3" fmla="*/ 246059 h 4943475"/>
              <a:gd name="connsiteX4" fmla="*/ 4985745 w 5819775"/>
              <a:gd name="connsiteY4" fmla="*/ 534429 h 4943475"/>
              <a:gd name="connsiteX5" fmla="*/ 275432 w 5819775"/>
              <a:gd name="connsiteY5" fmla="*/ 534429 h 4943475"/>
              <a:gd name="connsiteX6" fmla="*/ 57367 w 5819775"/>
              <a:gd name="connsiteY6" fmla="*/ 619049 h 4943475"/>
              <a:gd name="connsiteX7" fmla="*/ 1389 w 5819775"/>
              <a:gd name="connsiteY7" fmla="*/ 801967 h 4943475"/>
              <a:gd name="connsiteX8" fmla="*/ 1389 w 5819775"/>
              <a:gd name="connsiteY8" fmla="*/ 816293 h 4943475"/>
              <a:gd name="connsiteX9" fmla="*/ 528664 w 5819775"/>
              <a:gd name="connsiteY9" fmla="*/ 3002852 h 4943475"/>
              <a:gd name="connsiteX10" fmla="*/ 852190 w 5819775"/>
              <a:gd name="connsiteY10" fmla="*/ 3256074 h 4943475"/>
              <a:gd name="connsiteX11" fmla="*/ 4416817 w 5819775"/>
              <a:gd name="connsiteY11" fmla="*/ 3256074 h 4943475"/>
              <a:gd name="connsiteX12" fmla="*/ 4318519 w 5819775"/>
              <a:gd name="connsiteY12" fmla="*/ 3741039 h 4943475"/>
              <a:gd name="connsiteX13" fmla="*/ 4170748 w 5819775"/>
              <a:gd name="connsiteY13" fmla="*/ 3720208 h 4943475"/>
              <a:gd name="connsiteX14" fmla="*/ 3573168 w 5819775"/>
              <a:gd name="connsiteY14" fmla="*/ 4205173 h 4943475"/>
              <a:gd name="connsiteX15" fmla="*/ 1674331 w 5819775"/>
              <a:gd name="connsiteY15" fmla="*/ 4205173 h 4943475"/>
              <a:gd name="connsiteX16" fmla="*/ 1076752 w 5819775"/>
              <a:gd name="connsiteY16" fmla="*/ 3720208 h 4943475"/>
              <a:gd name="connsiteX17" fmla="*/ 464856 w 5819775"/>
              <a:gd name="connsiteY17" fmla="*/ 4332103 h 4943475"/>
              <a:gd name="connsiteX18" fmla="*/ 1076752 w 5819775"/>
              <a:gd name="connsiteY18" fmla="*/ 4943999 h 4943475"/>
              <a:gd name="connsiteX19" fmla="*/ 1674331 w 5819775"/>
              <a:gd name="connsiteY19" fmla="*/ 4459034 h 4943475"/>
              <a:gd name="connsiteX20" fmla="*/ 3565358 w 5819775"/>
              <a:gd name="connsiteY20" fmla="*/ 4459034 h 4943475"/>
              <a:gd name="connsiteX21" fmla="*/ 4162937 w 5819775"/>
              <a:gd name="connsiteY21" fmla="*/ 4943999 h 4943475"/>
              <a:gd name="connsiteX22" fmla="*/ 4774833 w 5819775"/>
              <a:gd name="connsiteY22" fmla="*/ 4332103 h 4943475"/>
              <a:gd name="connsiteX23" fmla="*/ 4556768 w 5819775"/>
              <a:gd name="connsiteY23" fmla="*/ 3860816 h 4943475"/>
              <a:gd name="connsiteX24" fmla="*/ 4753354 w 5819775"/>
              <a:gd name="connsiteY24" fmla="*/ 2897400 h 4943475"/>
              <a:gd name="connsiteX25" fmla="*/ 4753354 w 5819775"/>
              <a:gd name="connsiteY25" fmla="*/ 2897400 h 4943475"/>
              <a:gd name="connsiteX26" fmla="*/ 5224642 w 5819775"/>
              <a:gd name="connsiteY26" fmla="*/ 675694 h 4943475"/>
              <a:gd name="connsiteX27" fmla="*/ 5224642 w 5819775"/>
              <a:gd name="connsiteY27" fmla="*/ 675694 h 4943475"/>
              <a:gd name="connsiteX28" fmla="*/ 5224642 w 5819775"/>
              <a:gd name="connsiteY28" fmla="*/ 675694 h 4943475"/>
              <a:gd name="connsiteX29" fmla="*/ 5294946 w 5819775"/>
              <a:gd name="connsiteY29" fmla="*/ 268195 h 4943475"/>
              <a:gd name="connsiteX30" fmla="*/ 5294946 w 5819775"/>
              <a:gd name="connsiteY30" fmla="*/ 253870 h 4943475"/>
              <a:gd name="connsiteX31" fmla="*/ 5322940 w 5819775"/>
              <a:gd name="connsiteY31" fmla="*/ 246707 h 4943475"/>
              <a:gd name="connsiteX32" fmla="*/ 5702444 w 5819775"/>
              <a:gd name="connsiteY32" fmla="*/ 246707 h 4943475"/>
              <a:gd name="connsiteX33" fmla="*/ 5828726 w 5819775"/>
              <a:gd name="connsiteY33" fmla="*/ 120425 h 4943475"/>
              <a:gd name="connsiteX34" fmla="*/ 5702435 w 5819775"/>
              <a:gd name="connsiteY34" fmla="*/ 0 h 4943475"/>
              <a:gd name="connsiteX35" fmla="*/ 1076752 w 5819775"/>
              <a:gd name="connsiteY35" fmla="*/ 4696635 h 4943475"/>
              <a:gd name="connsiteX36" fmla="*/ 725231 w 5819775"/>
              <a:gd name="connsiteY36" fmla="*/ 4345115 h 4943475"/>
              <a:gd name="connsiteX37" fmla="*/ 1076752 w 5819775"/>
              <a:gd name="connsiteY37" fmla="*/ 3993594 h 4943475"/>
              <a:gd name="connsiteX38" fmla="*/ 1428272 w 5819775"/>
              <a:gd name="connsiteY38" fmla="*/ 4345115 h 4943475"/>
              <a:gd name="connsiteX39" fmla="*/ 1076752 w 5819775"/>
              <a:gd name="connsiteY39" fmla="*/ 4696635 h 4943475"/>
              <a:gd name="connsiteX40" fmla="*/ 4162928 w 5819775"/>
              <a:gd name="connsiteY40" fmla="*/ 4696635 h 4943475"/>
              <a:gd name="connsiteX41" fmla="*/ 3811408 w 5819775"/>
              <a:gd name="connsiteY41" fmla="*/ 4345115 h 4943475"/>
              <a:gd name="connsiteX42" fmla="*/ 4162928 w 5819775"/>
              <a:gd name="connsiteY42" fmla="*/ 3993594 h 4943475"/>
              <a:gd name="connsiteX43" fmla="*/ 4514448 w 5819775"/>
              <a:gd name="connsiteY43" fmla="*/ 4345115 h 4943475"/>
              <a:gd name="connsiteX44" fmla="*/ 4162928 w 5819775"/>
              <a:gd name="connsiteY44" fmla="*/ 4696635 h 4943475"/>
              <a:gd name="connsiteX45" fmla="*/ 275432 w 5819775"/>
              <a:gd name="connsiteY45" fmla="*/ 794814 h 4943475"/>
              <a:gd name="connsiteX46" fmla="*/ 4936272 w 5819775"/>
              <a:gd name="connsiteY46" fmla="*/ 794814 h 4943475"/>
              <a:gd name="connsiteX47" fmla="*/ 4837974 w 5819775"/>
              <a:gd name="connsiteY47" fmla="*/ 1266101 h 4943475"/>
              <a:gd name="connsiteX48" fmla="*/ 380884 w 5819775"/>
              <a:gd name="connsiteY48" fmla="*/ 1266101 h 4943475"/>
              <a:gd name="connsiteX49" fmla="*/ 268270 w 5819775"/>
              <a:gd name="connsiteY49" fmla="*/ 801976 h 4943475"/>
              <a:gd name="connsiteX50" fmla="*/ 268270 w 5819775"/>
              <a:gd name="connsiteY50" fmla="*/ 794814 h 4943475"/>
              <a:gd name="connsiteX51" fmla="*/ 275432 w 5819775"/>
              <a:gd name="connsiteY51" fmla="*/ 794814 h 4943475"/>
              <a:gd name="connsiteX52" fmla="*/ 781219 w 5819775"/>
              <a:gd name="connsiteY52" fmla="*/ 2945568 h 4943475"/>
              <a:gd name="connsiteX53" fmla="*/ 436862 w 5819775"/>
              <a:gd name="connsiteY53" fmla="*/ 1525191 h 4943475"/>
              <a:gd name="connsiteX54" fmla="*/ 4774824 w 5819775"/>
              <a:gd name="connsiteY54" fmla="*/ 1525191 h 4943475"/>
              <a:gd name="connsiteX55" fmla="*/ 4465623 w 5819775"/>
              <a:gd name="connsiteY55" fmla="*/ 2980725 h 4943475"/>
              <a:gd name="connsiteX56" fmla="*/ 4423313 w 5819775"/>
              <a:gd name="connsiteY56" fmla="*/ 3001556 h 4943475"/>
              <a:gd name="connsiteX57" fmla="*/ 858686 w 5819775"/>
              <a:gd name="connsiteY57" fmla="*/ 3001556 h 4943475"/>
              <a:gd name="connsiteX58" fmla="*/ 781219 w 5819775"/>
              <a:gd name="connsiteY58" fmla="*/ 2945568 h 494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819775" h="4943475">
                <a:moveTo>
                  <a:pt x="5702435" y="0"/>
                </a:moveTo>
                <a:lnTo>
                  <a:pt x="5322930" y="0"/>
                </a:lnTo>
                <a:cubicBezTo>
                  <a:pt x="5175159" y="0"/>
                  <a:pt x="5104865" y="77467"/>
                  <a:pt x="5076871" y="126282"/>
                </a:cubicBezTo>
                <a:cubicBezTo>
                  <a:pt x="5048877" y="175755"/>
                  <a:pt x="5041723" y="217418"/>
                  <a:pt x="5041723" y="246059"/>
                </a:cubicBezTo>
                <a:lnTo>
                  <a:pt x="4985745" y="534429"/>
                </a:lnTo>
                <a:lnTo>
                  <a:pt x="275432" y="534429"/>
                </a:lnTo>
                <a:cubicBezTo>
                  <a:pt x="177134" y="534429"/>
                  <a:pt x="106830" y="562423"/>
                  <a:pt x="57367" y="619049"/>
                </a:cubicBezTo>
                <a:cubicBezTo>
                  <a:pt x="15057" y="668522"/>
                  <a:pt x="-5774" y="731663"/>
                  <a:pt x="1389" y="801967"/>
                </a:cubicBezTo>
                <a:cubicBezTo>
                  <a:pt x="1389" y="809130"/>
                  <a:pt x="1389" y="816293"/>
                  <a:pt x="1389" y="816293"/>
                </a:cubicBezTo>
                <a:lnTo>
                  <a:pt x="528664" y="3002852"/>
                </a:lnTo>
                <a:cubicBezTo>
                  <a:pt x="556658" y="3122629"/>
                  <a:pt x="662109" y="3256074"/>
                  <a:pt x="852190" y="3256074"/>
                </a:cubicBezTo>
                <a:lnTo>
                  <a:pt x="4416817" y="3256074"/>
                </a:lnTo>
                <a:lnTo>
                  <a:pt x="4318519" y="3741039"/>
                </a:lnTo>
                <a:cubicBezTo>
                  <a:pt x="4269046" y="3726714"/>
                  <a:pt x="4220221" y="3720208"/>
                  <a:pt x="4170748" y="3720208"/>
                </a:cubicBezTo>
                <a:cubicBezTo>
                  <a:pt x="3875216" y="3720208"/>
                  <a:pt x="3629156" y="3923957"/>
                  <a:pt x="3573168" y="4205173"/>
                </a:cubicBezTo>
                <a:lnTo>
                  <a:pt x="1674331" y="4205173"/>
                </a:lnTo>
                <a:cubicBezTo>
                  <a:pt x="1611190" y="3931120"/>
                  <a:pt x="1372284" y="3720208"/>
                  <a:pt x="1076752" y="3720208"/>
                </a:cubicBezTo>
                <a:cubicBezTo>
                  <a:pt x="739557" y="3720208"/>
                  <a:pt x="464856" y="3994261"/>
                  <a:pt x="464856" y="4332103"/>
                </a:cubicBezTo>
                <a:cubicBezTo>
                  <a:pt x="464856" y="4669298"/>
                  <a:pt x="738909" y="4943999"/>
                  <a:pt x="1076752" y="4943999"/>
                </a:cubicBezTo>
                <a:cubicBezTo>
                  <a:pt x="1372284" y="4943999"/>
                  <a:pt x="1618343" y="4740250"/>
                  <a:pt x="1674331" y="4459034"/>
                </a:cubicBezTo>
                <a:lnTo>
                  <a:pt x="3565358" y="4459034"/>
                </a:lnTo>
                <a:cubicBezTo>
                  <a:pt x="3628499" y="4733087"/>
                  <a:pt x="3867405" y="4943999"/>
                  <a:pt x="4162937" y="4943999"/>
                </a:cubicBezTo>
                <a:cubicBezTo>
                  <a:pt x="4500132" y="4943999"/>
                  <a:pt x="4774833" y="4669946"/>
                  <a:pt x="4774833" y="4332103"/>
                </a:cubicBezTo>
                <a:cubicBezTo>
                  <a:pt x="4774833" y="4142023"/>
                  <a:pt x="4690213" y="3973430"/>
                  <a:pt x="4556768" y="3860816"/>
                </a:cubicBezTo>
                <a:lnTo>
                  <a:pt x="4753354" y="2897400"/>
                </a:lnTo>
                <a:lnTo>
                  <a:pt x="4753354" y="2897400"/>
                </a:lnTo>
                <a:lnTo>
                  <a:pt x="5224642" y="675694"/>
                </a:lnTo>
                <a:lnTo>
                  <a:pt x="5224642" y="675694"/>
                </a:lnTo>
                <a:lnTo>
                  <a:pt x="5224642" y="675694"/>
                </a:lnTo>
                <a:lnTo>
                  <a:pt x="5294946" y="268195"/>
                </a:lnTo>
                <a:cubicBezTo>
                  <a:pt x="5294946" y="253870"/>
                  <a:pt x="5294946" y="268195"/>
                  <a:pt x="5294946" y="253870"/>
                </a:cubicBezTo>
                <a:cubicBezTo>
                  <a:pt x="5294946" y="253870"/>
                  <a:pt x="5309262" y="246707"/>
                  <a:pt x="5322940" y="246707"/>
                </a:cubicBezTo>
                <a:lnTo>
                  <a:pt x="5702444" y="246707"/>
                </a:lnTo>
                <a:cubicBezTo>
                  <a:pt x="5772748" y="246707"/>
                  <a:pt x="5828726" y="190729"/>
                  <a:pt x="5828726" y="120425"/>
                </a:cubicBezTo>
                <a:cubicBezTo>
                  <a:pt x="5829374" y="56636"/>
                  <a:pt x="5772739" y="0"/>
                  <a:pt x="5702435" y="0"/>
                </a:cubicBezTo>
                <a:close/>
                <a:moveTo>
                  <a:pt x="1076752" y="4696635"/>
                </a:moveTo>
                <a:cubicBezTo>
                  <a:pt x="880165" y="4696635"/>
                  <a:pt x="725231" y="4541711"/>
                  <a:pt x="725231" y="4345115"/>
                </a:cubicBezTo>
                <a:cubicBezTo>
                  <a:pt x="725231" y="4148528"/>
                  <a:pt x="880156" y="3993594"/>
                  <a:pt x="1076752" y="3993594"/>
                </a:cubicBezTo>
                <a:cubicBezTo>
                  <a:pt x="1273348" y="3993594"/>
                  <a:pt x="1428272" y="4148519"/>
                  <a:pt x="1428272" y="4345115"/>
                </a:cubicBezTo>
                <a:cubicBezTo>
                  <a:pt x="1428272" y="4534548"/>
                  <a:pt x="1273338" y="4696635"/>
                  <a:pt x="1076752" y="4696635"/>
                </a:cubicBezTo>
                <a:close/>
                <a:moveTo>
                  <a:pt x="4162928" y="4696635"/>
                </a:moveTo>
                <a:cubicBezTo>
                  <a:pt x="3966341" y="4696635"/>
                  <a:pt x="3811408" y="4541711"/>
                  <a:pt x="3811408" y="4345115"/>
                </a:cubicBezTo>
                <a:cubicBezTo>
                  <a:pt x="3811408" y="4148528"/>
                  <a:pt x="3966332" y="3993594"/>
                  <a:pt x="4162928" y="3993594"/>
                </a:cubicBezTo>
                <a:cubicBezTo>
                  <a:pt x="4359524" y="3993594"/>
                  <a:pt x="4514448" y="4148519"/>
                  <a:pt x="4514448" y="4345115"/>
                </a:cubicBezTo>
                <a:cubicBezTo>
                  <a:pt x="4514448" y="4534548"/>
                  <a:pt x="4360172" y="4696635"/>
                  <a:pt x="4162928" y="4696635"/>
                </a:cubicBezTo>
                <a:close/>
                <a:moveTo>
                  <a:pt x="275432" y="794814"/>
                </a:moveTo>
                <a:lnTo>
                  <a:pt x="4936272" y="794814"/>
                </a:lnTo>
                <a:lnTo>
                  <a:pt x="4837974" y="1266101"/>
                </a:lnTo>
                <a:lnTo>
                  <a:pt x="380884" y="1266101"/>
                </a:lnTo>
                <a:lnTo>
                  <a:pt x="268270" y="801976"/>
                </a:lnTo>
                <a:lnTo>
                  <a:pt x="268270" y="794814"/>
                </a:lnTo>
                <a:cubicBezTo>
                  <a:pt x="268270" y="794814"/>
                  <a:pt x="268270" y="794814"/>
                  <a:pt x="275432" y="794814"/>
                </a:cubicBezTo>
                <a:close/>
                <a:moveTo>
                  <a:pt x="781219" y="2945568"/>
                </a:moveTo>
                <a:lnTo>
                  <a:pt x="436862" y="1525191"/>
                </a:lnTo>
                <a:lnTo>
                  <a:pt x="4774824" y="1525191"/>
                </a:lnTo>
                <a:lnTo>
                  <a:pt x="4465623" y="2980725"/>
                </a:lnTo>
                <a:cubicBezTo>
                  <a:pt x="4458460" y="3001556"/>
                  <a:pt x="4430476" y="3001556"/>
                  <a:pt x="4423313" y="3001556"/>
                </a:cubicBezTo>
                <a:lnTo>
                  <a:pt x="858686" y="3001556"/>
                </a:lnTo>
                <a:cubicBezTo>
                  <a:pt x="816367" y="3002204"/>
                  <a:pt x="795545" y="2980725"/>
                  <a:pt x="781219" y="294556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3" name="Forma libre 396">
            <a:extLst>
              <a:ext uri="{FF2B5EF4-FFF2-40B4-BE49-F238E27FC236}">
                <a16:creationId xmlns:a16="http://schemas.microsoft.com/office/drawing/2014/main" xmlns="" id="{D27F7B23-344D-2F48-9CF3-5CD83409E9DE}"/>
              </a:ext>
            </a:extLst>
          </p:cNvPr>
          <p:cNvSpPr/>
          <p:nvPr/>
        </p:nvSpPr>
        <p:spPr>
          <a:xfrm>
            <a:off x="2053237" y="3423225"/>
            <a:ext cx="301831" cy="244621"/>
          </a:xfrm>
          <a:custGeom>
            <a:avLst/>
            <a:gdLst>
              <a:gd name="connsiteX0" fmla="*/ 5481095 w 5829300"/>
              <a:gd name="connsiteY0" fmla="*/ 0 h 4724400"/>
              <a:gd name="connsiteX1" fmla="*/ 355444 w 5829300"/>
              <a:gd name="connsiteY1" fmla="*/ 0 h 4724400"/>
              <a:gd name="connsiteX2" fmla="*/ 0 w 5829300"/>
              <a:gd name="connsiteY2" fmla="*/ 355444 h 4724400"/>
              <a:gd name="connsiteX3" fmla="*/ 0 w 5829300"/>
              <a:gd name="connsiteY3" fmla="*/ 3995461 h 4724400"/>
              <a:gd name="connsiteX4" fmla="*/ 0 w 5829300"/>
              <a:gd name="connsiteY4" fmla="*/ 4016521 h 4724400"/>
              <a:gd name="connsiteX5" fmla="*/ 0 w 5829300"/>
              <a:gd name="connsiteY5" fmla="*/ 4400274 h 4724400"/>
              <a:gd name="connsiteX6" fmla="*/ 327146 w 5829300"/>
              <a:gd name="connsiteY6" fmla="*/ 4727419 h 4724400"/>
              <a:gd name="connsiteX7" fmla="*/ 2715863 w 5829300"/>
              <a:gd name="connsiteY7" fmla="*/ 4727419 h 4724400"/>
              <a:gd name="connsiteX8" fmla="*/ 2914650 w 5829300"/>
              <a:gd name="connsiteY8" fmla="*/ 4656335 h 4724400"/>
              <a:gd name="connsiteX9" fmla="*/ 3113437 w 5829300"/>
              <a:gd name="connsiteY9" fmla="*/ 4727419 h 4724400"/>
              <a:gd name="connsiteX10" fmla="*/ 5502821 w 5829300"/>
              <a:gd name="connsiteY10" fmla="*/ 4727419 h 4724400"/>
              <a:gd name="connsiteX11" fmla="*/ 5829967 w 5829300"/>
              <a:gd name="connsiteY11" fmla="*/ 4400274 h 4724400"/>
              <a:gd name="connsiteX12" fmla="*/ 5829967 w 5829300"/>
              <a:gd name="connsiteY12" fmla="*/ 3994804 h 4724400"/>
              <a:gd name="connsiteX13" fmla="*/ 5829967 w 5829300"/>
              <a:gd name="connsiteY13" fmla="*/ 354787 h 4724400"/>
              <a:gd name="connsiteX14" fmla="*/ 5481095 w 5829300"/>
              <a:gd name="connsiteY14" fmla="*/ 0 h 4724400"/>
              <a:gd name="connsiteX15" fmla="*/ 2786958 w 5829300"/>
              <a:gd name="connsiteY15" fmla="*/ 4393035 h 4724400"/>
              <a:gd name="connsiteX16" fmla="*/ 2723112 w 5829300"/>
              <a:gd name="connsiteY16" fmla="*/ 4456881 h 4724400"/>
              <a:gd name="connsiteX17" fmla="*/ 334385 w 5829300"/>
              <a:gd name="connsiteY17" fmla="*/ 4456881 h 4724400"/>
              <a:gd name="connsiteX18" fmla="*/ 270539 w 5829300"/>
              <a:gd name="connsiteY18" fmla="*/ 4393035 h 4724400"/>
              <a:gd name="connsiteX19" fmla="*/ 270539 w 5829300"/>
              <a:gd name="connsiteY19" fmla="*/ 4123163 h 4724400"/>
              <a:gd name="connsiteX20" fmla="*/ 2786958 w 5829300"/>
              <a:gd name="connsiteY20" fmla="*/ 4123163 h 4724400"/>
              <a:gd name="connsiteX21" fmla="*/ 2786958 w 5829300"/>
              <a:gd name="connsiteY21" fmla="*/ 4393035 h 4724400"/>
              <a:gd name="connsiteX22" fmla="*/ 2786958 w 5829300"/>
              <a:gd name="connsiteY22" fmla="*/ 4393035 h 4724400"/>
              <a:gd name="connsiteX23" fmla="*/ 2786958 w 5829300"/>
              <a:gd name="connsiteY23" fmla="*/ 3859864 h 4724400"/>
              <a:gd name="connsiteX24" fmla="*/ 270529 w 5829300"/>
              <a:gd name="connsiteY24" fmla="*/ 3859864 h 4724400"/>
              <a:gd name="connsiteX25" fmla="*/ 270529 w 5829300"/>
              <a:gd name="connsiteY25" fmla="*/ 355444 h 4724400"/>
              <a:gd name="connsiteX26" fmla="*/ 362683 w 5829300"/>
              <a:gd name="connsiteY26" fmla="*/ 263290 h 4724400"/>
              <a:gd name="connsiteX27" fmla="*/ 2786948 w 5829300"/>
              <a:gd name="connsiteY27" fmla="*/ 263290 h 4724400"/>
              <a:gd name="connsiteX28" fmla="*/ 2786958 w 5829300"/>
              <a:gd name="connsiteY28" fmla="*/ 3859864 h 4724400"/>
              <a:gd name="connsiteX29" fmla="*/ 2786958 w 5829300"/>
              <a:gd name="connsiteY29" fmla="*/ 3859864 h 4724400"/>
              <a:gd name="connsiteX30" fmla="*/ 5573907 w 5829300"/>
              <a:gd name="connsiteY30" fmla="*/ 4393035 h 4724400"/>
              <a:gd name="connsiteX31" fmla="*/ 5510060 w 5829300"/>
              <a:gd name="connsiteY31" fmla="*/ 4456881 h 4724400"/>
              <a:gd name="connsiteX32" fmla="*/ 3121333 w 5829300"/>
              <a:gd name="connsiteY32" fmla="*/ 4456881 h 4724400"/>
              <a:gd name="connsiteX33" fmla="*/ 3057487 w 5829300"/>
              <a:gd name="connsiteY33" fmla="*/ 4393035 h 4724400"/>
              <a:gd name="connsiteX34" fmla="*/ 3057487 w 5829300"/>
              <a:gd name="connsiteY34" fmla="*/ 4123163 h 4724400"/>
              <a:gd name="connsiteX35" fmla="*/ 5573907 w 5829300"/>
              <a:gd name="connsiteY35" fmla="*/ 4123163 h 4724400"/>
              <a:gd name="connsiteX36" fmla="*/ 5573907 w 5829300"/>
              <a:gd name="connsiteY36" fmla="*/ 4393035 h 4724400"/>
              <a:gd name="connsiteX37" fmla="*/ 5573907 w 5829300"/>
              <a:gd name="connsiteY37" fmla="*/ 3859864 h 4724400"/>
              <a:gd name="connsiteX38" fmla="*/ 3050248 w 5829300"/>
              <a:gd name="connsiteY38" fmla="*/ 3859864 h 4724400"/>
              <a:gd name="connsiteX39" fmla="*/ 3050248 w 5829300"/>
              <a:gd name="connsiteY39" fmla="*/ 262633 h 4724400"/>
              <a:gd name="connsiteX40" fmla="*/ 5481752 w 5829300"/>
              <a:gd name="connsiteY40" fmla="*/ 262633 h 4724400"/>
              <a:gd name="connsiteX41" fmla="*/ 5573907 w 5829300"/>
              <a:gd name="connsiteY41" fmla="*/ 354787 h 4724400"/>
              <a:gd name="connsiteX42" fmla="*/ 5573907 w 5829300"/>
              <a:gd name="connsiteY42" fmla="*/ 3859864 h 4724400"/>
              <a:gd name="connsiteX43" fmla="*/ 5573907 w 5829300"/>
              <a:gd name="connsiteY43" fmla="*/ 3859864 h 4724400"/>
              <a:gd name="connsiteX44" fmla="*/ 5076282 w 5829300"/>
              <a:gd name="connsiteY44" fmla="*/ 1691650 h 4724400"/>
              <a:gd name="connsiteX45" fmla="*/ 4948590 w 5829300"/>
              <a:gd name="connsiteY45" fmla="*/ 1819351 h 4724400"/>
              <a:gd name="connsiteX46" fmla="*/ 3661743 w 5829300"/>
              <a:gd name="connsiteY46" fmla="*/ 1819351 h 4724400"/>
              <a:gd name="connsiteX47" fmla="*/ 3534042 w 5829300"/>
              <a:gd name="connsiteY47" fmla="*/ 1691650 h 4724400"/>
              <a:gd name="connsiteX48" fmla="*/ 3661743 w 5829300"/>
              <a:gd name="connsiteY48" fmla="*/ 1563957 h 4724400"/>
              <a:gd name="connsiteX49" fmla="*/ 4948590 w 5829300"/>
              <a:gd name="connsiteY49" fmla="*/ 1563957 h 4724400"/>
              <a:gd name="connsiteX50" fmla="*/ 5076282 w 5829300"/>
              <a:gd name="connsiteY50" fmla="*/ 1691650 h 4724400"/>
              <a:gd name="connsiteX51" fmla="*/ 5076282 w 5829300"/>
              <a:gd name="connsiteY51" fmla="*/ 2402539 h 4724400"/>
              <a:gd name="connsiteX52" fmla="*/ 4948590 w 5829300"/>
              <a:gd name="connsiteY52" fmla="*/ 2530240 h 4724400"/>
              <a:gd name="connsiteX53" fmla="*/ 3661743 w 5829300"/>
              <a:gd name="connsiteY53" fmla="*/ 2530240 h 4724400"/>
              <a:gd name="connsiteX54" fmla="*/ 3534042 w 5829300"/>
              <a:gd name="connsiteY54" fmla="*/ 2402539 h 4724400"/>
              <a:gd name="connsiteX55" fmla="*/ 3661743 w 5829300"/>
              <a:gd name="connsiteY55" fmla="*/ 2274837 h 4724400"/>
              <a:gd name="connsiteX56" fmla="*/ 4948590 w 5829300"/>
              <a:gd name="connsiteY56" fmla="*/ 2274837 h 4724400"/>
              <a:gd name="connsiteX57" fmla="*/ 5076282 w 5829300"/>
              <a:gd name="connsiteY57" fmla="*/ 2402539 h 4724400"/>
              <a:gd name="connsiteX58" fmla="*/ 5076282 w 5829300"/>
              <a:gd name="connsiteY58" fmla="*/ 3141736 h 4724400"/>
              <a:gd name="connsiteX59" fmla="*/ 4948590 w 5829300"/>
              <a:gd name="connsiteY59" fmla="*/ 3269437 h 4724400"/>
              <a:gd name="connsiteX60" fmla="*/ 3661743 w 5829300"/>
              <a:gd name="connsiteY60" fmla="*/ 3269437 h 4724400"/>
              <a:gd name="connsiteX61" fmla="*/ 3534042 w 5829300"/>
              <a:gd name="connsiteY61" fmla="*/ 3141736 h 4724400"/>
              <a:gd name="connsiteX62" fmla="*/ 3661743 w 5829300"/>
              <a:gd name="connsiteY62" fmla="*/ 3014034 h 4724400"/>
              <a:gd name="connsiteX63" fmla="*/ 4948590 w 5829300"/>
              <a:gd name="connsiteY63" fmla="*/ 3014034 h 4724400"/>
              <a:gd name="connsiteX64" fmla="*/ 5076282 w 5829300"/>
              <a:gd name="connsiteY64" fmla="*/ 3141736 h 4724400"/>
              <a:gd name="connsiteX65" fmla="*/ 5076282 w 5829300"/>
              <a:gd name="connsiteY65" fmla="*/ 966940 h 4724400"/>
              <a:gd name="connsiteX66" fmla="*/ 4948590 w 5829300"/>
              <a:gd name="connsiteY66" fmla="*/ 1094632 h 4724400"/>
              <a:gd name="connsiteX67" fmla="*/ 3661743 w 5829300"/>
              <a:gd name="connsiteY67" fmla="*/ 1094632 h 4724400"/>
              <a:gd name="connsiteX68" fmla="*/ 3534042 w 5829300"/>
              <a:gd name="connsiteY68" fmla="*/ 966940 h 4724400"/>
              <a:gd name="connsiteX69" fmla="*/ 3661743 w 5829300"/>
              <a:gd name="connsiteY69" fmla="*/ 839238 h 4724400"/>
              <a:gd name="connsiteX70" fmla="*/ 4948590 w 5829300"/>
              <a:gd name="connsiteY70" fmla="*/ 839238 h 4724400"/>
              <a:gd name="connsiteX71" fmla="*/ 5076282 w 5829300"/>
              <a:gd name="connsiteY71" fmla="*/ 966940 h 4724400"/>
              <a:gd name="connsiteX72" fmla="*/ 746436 w 5829300"/>
              <a:gd name="connsiteY72" fmla="*/ 1691650 h 4724400"/>
              <a:gd name="connsiteX73" fmla="*/ 874138 w 5829300"/>
              <a:gd name="connsiteY73" fmla="*/ 1563957 h 4724400"/>
              <a:gd name="connsiteX74" fmla="*/ 2160985 w 5829300"/>
              <a:gd name="connsiteY74" fmla="*/ 1563957 h 4724400"/>
              <a:gd name="connsiteX75" fmla="*/ 2288686 w 5829300"/>
              <a:gd name="connsiteY75" fmla="*/ 1691650 h 4724400"/>
              <a:gd name="connsiteX76" fmla="*/ 2160985 w 5829300"/>
              <a:gd name="connsiteY76" fmla="*/ 1819351 h 4724400"/>
              <a:gd name="connsiteX77" fmla="*/ 874786 w 5829300"/>
              <a:gd name="connsiteY77" fmla="*/ 1819351 h 4724400"/>
              <a:gd name="connsiteX78" fmla="*/ 746436 w 5829300"/>
              <a:gd name="connsiteY78" fmla="*/ 1691650 h 4724400"/>
              <a:gd name="connsiteX79" fmla="*/ 746436 w 5829300"/>
              <a:gd name="connsiteY79" fmla="*/ 2402539 h 4724400"/>
              <a:gd name="connsiteX80" fmla="*/ 874138 w 5829300"/>
              <a:gd name="connsiteY80" fmla="*/ 2274837 h 4724400"/>
              <a:gd name="connsiteX81" fmla="*/ 2160985 w 5829300"/>
              <a:gd name="connsiteY81" fmla="*/ 2274837 h 4724400"/>
              <a:gd name="connsiteX82" fmla="*/ 2288686 w 5829300"/>
              <a:gd name="connsiteY82" fmla="*/ 2402539 h 4724400"/>
              <a:gd name="connsiteX83" fmla="*/ 2160985 w 5829300"/>
              <a:gd name="connsiteY83" fmla="*/ 2530240 h 4724400"/>
              <a:gd name="connsiteX84" fmla="*/ 874786 w 5829300"/>
              <a:gd name="connsiteY84" fmla="*/ 2530240 h 4724400"/>
              <a:gd name="connsiteX85" fmla="*/ 746436 w 5829300"/>
              <a:gd name="connsiteY85" fmla="*/ 2402539 h 4724400"/>
              <a:gd name="connsiteX86" fmla="*/ 746436 w 5829300"/>
              <a:gd name="connsiteY86" fmla="*/ 3141736 h 4724400"/>
              <a:gd name="connsiteX87" fmla="*/ 874138 w 5829300"/>
              <a:gd name="connsiteY87" fmla="*/ 3014034 h 4724400"/>
              <a:gd name="connsiteX88" fmla="*/ 2160985 w 5829300"/>
              <a:gd name="connsiteY88" fmla="*/ 3014034 h 4724400"/>
              <a:gd name="connsiteX89" fmla="*/ 2288686 w 5829300"/>
              <a:gd name="connsiteY89" fmla="*/ 3141736 h 4724400"/>
              <a:gd name="connsiteX90" fmla="*/ 2160985 w 5829300"/>
              <a:gd name="connsiteY90" fmla="*/ 3269437 h 4724400"/>
              <a:gd name="connsiteX91" fmla="*/ 874786 w 5829300"/>
              <a:gd name="connsiteY91" fmla="*/ 3269437 h 4724400"/>
              <a:gd name="connsiteX92" fmla="*/ 746436 w 5829300"/>
              <a:gd name="connsiteY92" fmla="*/ 3141736 h 4724400"/>
              <a:gd name="connsiteX93" fmla="*/ 746436 w 5829300"/>
              <a:gd name="connsiteY93" fmla="*/ 966940 h 4724400"/>
              <a:gd name="connsiteX94" fmla="*/ 874138 w 5829300"/>
              <a:gd name="connsiteY94" fmla="*/ 839238 h 4724400"/>
              <a:gd name="connsiteX95" fmla="*/ 2160985 w 5829300"/>
              <a:gd name="connsiteY95" fmla="*/ 839238 h 4724400"/>
              <a:gd name="connsiteX96" fmla="*/ 2288686 w 5829300"/>
              <a:gd name="connsiteY96" fmla="*/ 966940 h 4724400"/>
              <a:gd name="connsiteX97" fmla="*/ 2160985 w 5829300"/>
              <a:gd name="connsiteY97" fmla="*/ 1094632 h 4724400"/>
              <a:gd name="connsiteX98" fmla="*/ 874786 w 5829300"/>
              <a:gd name="connsiteY98" fmla="*/ 1094632 h 4724400"/>
              <a:gd name="connsiteX99" fmla="*/ 746436 w 5829300"/>
              <a:gd name="connsiteY99" fmla="*/ 96694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5829300" h="4724400">
                <a:moveTo>
                  <a:pt x="5481095" y="0"/>
                </a:moveTo>
                <a:lnTo>
                  <a:pt x="355444" y="0"/>
                </a:lnTo>
                <a:cubicBezTo>
                  <a:pt x="156658" y="0"/>
                  <a:pt x="0" y="156658"/>
                  <a:pt x="0" y="355444"/>
                </a:cubicBezTo>
                <a:lnTo>
                  <a:pt x="0" y="3995461"/>
                </a:lnTo>
                <a:cubicBezTo>
                  <a:pt x="0" y="4002700"/>
                  <a:pt x="0" y="4009939"/>
                  <a:pt x="0" y="4016521"/>
                </a:cubicBezTo>
                <a:lnTo>
                  <a:pt x="0" y="4400274"/>
                </a:lnTo>
                <a:cubicBezTo>
                  <a:pt x="0" y="4578001"/>
                  <a:pt x="149419" y="4727419"/>
                  <a:pt x="327146" y="4727419"/>
                </a:cubicBezTo>
                <a:lnTo>
                  <a:pt x="2715863" y="4727419"/>
                </a:lnTo>
                <a:cubicBezTo>
                  <a:pt x="2794197" y="4727419"/>
                  <a:pt x="2858043" y="4699111"/>
                  <a:pt x="2914650" y="4656335"/>
                </a:cubicBezTo>
                <a:cubicBezTo>
                  <a:pt x="2971257" y="4699121"/>
                  <a:pt x="3035760" y="4727419"/>
                  <a:pt x="3113437" y="4727419"/>
                </a:cubicBezTo>
                <a:lnTo>
                  <a:pt x="5502821" y="4727419"/>
                </a:lnTo>
                <a:cubicBezTo>
                  <a:pt x="5680548" y="4727419"/>
                  <a:pt x="5829967" y="4578001"/>
                  <a:pt x="5829967" y="4400274"/>
                </a:cubicBezTo>
                <a:lnTo>
                  <a:pt x="5829967" y="3994804"/>
                </a:lnTo>
                <a:lnTo>
                  <a:pt x="5829967" y="354787"/>
                </a:lnTo>
                <a:cubicBezTo>
                  <a:pt x="5836539" y="156000"/>
                  <a:pt x="5680539" y="0"/>
                  <a:pt x="5481095" y="0"/>
                </a:cubicBezTo>
                <a:close/>
                <a:moveTo>
                  <a:pt x="2786958" y="4393035"/>
                </a:moveTo>
                <a:cubicBezTo>
                  <a:pt x="2786958" y="4428582"/>
                  <a:pt x="2758650" y="4456881"/>
                  <a:pt x="2723112" y="4456881"/>
                </a:cubicBezTo>
                <a:lnTo>
                  <a:pt x="334385" y="4456881"/>
                </a:lnTo>
                <a:cubicBezTo>
                  <a:pt x="298837" y="4456881"/>
                  <a:pt x="270539" y="4428573"/>
                  <a:pt x="270539" y="4393035"/>
                </a:cubicBezTo>
                <a:lnTo>
                  <a:pt x="270539" y="4123163"/>
                </a:lnTo>
                <a:lnTo>
                  <a:pt x="2786958" y="4123163"/>
                </a:lnTo>
                <a:lnTo>
                  <a:pt x="2786958" y="4393035"/>
                </a:lnTo>
                <a:lnTo>
                  <a:pt x="2786958" y="4393035"/>
                </a:lnTo>
                <a:close/>
                <a:moveTo>
                  <a:pt x="2786958" y="3859864"/>
                </a:moveTo>
                <a:lnTo>
                  <a:pt x="270529" y="3859864"/>
                </a:lnTo>
                <a:lnTo>
                  <a:pt x="270529" y="355444"/>
                </a:lnTo>
                <a:cubicBezTo>
                  <a:pt x="270529" y="305419"/>
                  <a:pt x="313315" y="263290"/>
                  <a:pt x="362683" y="263290"/>
                </a:cubicBezTo>
                <a:lnTo>
                  <a:pt x="2786948" y="263290"/>
                </a:lnTo>
                <a:lnTo>
                  <a:pt x="2786958" y="3859864"/>
                </a:lnTo>
                <a:lnTo>
                  <a:pt x="2786958" y="3859864"/>
                </a:lnTo>
                <a:close/>
                <a:moveTo>
                  <a:pt x="5573907" y="4393035"/>
                </a:moveTo>
                <a:cubicBezTo>
                  <a:pt x="5573907" y="4428582"/>
                  <a:pt x="5545598" y="4456881"/>
                  <a:pt x="5510060" y="4456881"/>
                </a:cubicBezTo>
                <a:lnTo>
                  <a:pt x="3121333" y="4456881"/>
                </a:lnTo>
                <a:cubicBezTo>
                  <a:pt x="3085786" y="4456881"/>
                  <a:pt x="3057487" y="4428573"/>
                  <a:pt x="3057487" y="4393035"/>
                </a:cubicBezTo>
                <a:lnTo>
                  <a:pt x="3057487" y="4123163"/>
                </a:lnTo>
                <a:lnTo>
                  <a:pt x="5573907" y="4123163"/>
                </a:lnTo>
                <a:lnTo>
                  <a:pt x="5573907" y="4393035"/>
                </a:lnTo>
                <a:close/>
                <a:moveTo>
                  <a:pt x="5573907" y="3859864"/>
                </a:moveTo>
                <a:lnTo>
                  <a:pt x="3050248" y="3859864"/>
                </a:lnTo>
                <a:lnTo>
                  <a:pt x="3050248" y="262633"/>
                </a:lnTo>
                <a:lnTo>
                  <a:pt x="5481752" y="262633"/>
                </a:lnTo>
                <a:cubicBezTo>
                  <a:pt x="5531777" y="262633"/>
                  <a:pt x="5573907" y="305419"/>
                  <a:pt x="5573907" y="354787"/>
                </a:cubicBezTo>
                <a:lnTo>
                  <a:pt x="5573907" y="3859864"/>
                </a:lnTo>
                <a:lnTo>
                  <a:pt x="5573907" y="3859864"/>
                </a:lnTo>
                <a:close/>
                <a:moveTo>
                  <a:pt x="5076282" y="1691650"/>
                </a:moveTo>
                <a:cubicBezTo>
                  <a:pt x="5076282" y="1762735"/>
                  <a:pt x="5019675" y="1819351"/>
                  <a:pt x="4948590" y="1819351"/>
                </a:cubicBezTo>
                <a:lnTo>
                  <a:pt x="3661743" y="1819351"/>
                </a:lnTo>
                <a:cubicBezTo>
                  <a:pt x="3590658" y="1819351"/>
                  <a:pt x="3534042" y="1762744"/>
                  <a:pt x="3534042" y="1691650"/>
                </a:cubicBezTo>
                <a:cubicBezTo>
                  <a:pt x="3534042" y="1620564"/>
                  <a:pt x="3590649" y="1563957"/>
                  <a:pt x="3661743" y="1563957"/>
                </a:cubicBezTo>
                <a:lnTo>
                  <a:pt x="4948590" y="1563957"/>
                </a:lnTo>
                <a:cubicBezTo>
                  <a:pt x="5019018" y="1563957"/>
                  <a:pt x="5076282" y="1620564"/>
                  <a:pt x="5076282" y="1691650"/>
                </a:cubicBezTo>
                <a:close/>
                <a:moveTo>
                  <a:pt x="5076282" y="2402539"/>
                </a:moveTo>
                <a:cubicBezTo>
                  <a:pt x="5076282" y="2473623"/>
                  <a:pt x="5019675" y="2530240"/>
                  <a:pt x="4948590" y="2530240"/>
                </a:cubicBezTo>
                <a:lnTo>
                  <a:pt x="3661743" y="2530240"/>
                </a:lnTo>
                <a:cubicBezTo>
                  <a:pt x="3590658" y="2530240"/>
                  <a:pt x="3534042" y="2473633"/>
                  <a:pt x="3534042" y="2402539"/>
                </a:cubicBezTo>
                <a:cubicBezTo>
                  <a:pt x="3534042" y="2331444"/>
                  <a:pt x="3590649" y="2274837"/>
                  <a:pt x="3661743" y="2274837"/>
                </a:cubicBezTo>
                <a:lnTo>
                  <a:pt x="4948590" y="2274837"/>
                </a:lnTo>
                <a:cubicBezTo>
                  <a:pt x="5019018" y="2274846"/>
                  <a:pt x="5076282" y="2331453"/>
                  <a:pt x="5076282" y="2402539"/>
                </a:cubicBezTo>
                <a:close/>
                <a:moveTo>
                  <a:pt x="5076282" y="3141736"/>
                </a:moveTo>
                <a:cubicBezTo>
                  <a:pt x="5076282" y="3212821"/>
                  <a:pt x="5019675" y="3269437"/>
                  <a:pt x="4948590" y="3269437"/>
                </a:cubicBezTo>
                <a:lnTo>
                  <a:pt x="3661743" y="3269437"/>
                </a:lnTo>
                <a:cubicBezTo>
                  <a:pt x="3590658" y="3269437"/>
                  <a:pt x="3534042" y="3212830"/>
                  <a:pt x="3534042" y="3141736"/>
                </a:cubicBezTo>
                <a:cubicBezTo>
                  <a:pt x="3534042" y="3070651"/>
                  <a:pt x="3590649" y="3014034"/>
                  <a:pt x="3661743" y="3014034"/>
                </a:cubicBezTo>
                <a:lnTo>
                  <a:pt x="4948590" y="3014034"/>
                </a:lnTo>
                <a:cubicBezTo>
                  <a:pt x="5019018" y="3014043"/>
                  <a:pt x="5076282" y="3070651"/>
                  <a:pt x="5076282" y="3141736"/>
                </a:cubicBezTo>
                <a:close/>
                <a:moveTo>
                  <a:pt x="5076282" y="966940"/>
                </a:moveTo>
                <a:cubicBezTo>
                  <a:pt x="5076282" y="1038025"/>
                  <a:pt x="5019675" y="1094632"/>
                  <a:pt x="4948590" y="1094632"/>
                </a:cubicBezTo>
                <a:lnTo>
                  <a:pt x="3661743" y="1094632"/>
                </a:lnTo>
                <a:cubicBezTo>
                  <a:pt x="3590658" y="1094632"/>
                  <a:pt x="3534042" y="1038025"/>
                  <a:pt x="3534042" y="966940"/>
                </a:cubicBezTo>
                <a:cubicBezTo>
                  <a:pt x="3534042" y="895855"/>
                  <a:pt x="3590649" y="839238"/>
                  <a:pt x="3661743" y="839238"/>
                </a:cubicBezTo>
                <a:lnTo>
                  <a:pt x="4948590" y="839238"/>
                </a:lnTo>
                <a:cubicBezTo>
                  <a:pt x="5019018" y="831342"/>
                  <a:pt x="5076282" y="888606"/>
                  <a:pt x="5076282" y="966940"/>
                </a:cubicBezTo>
                <a:close/>
                <a:moveTo>
                  <a:pt x="746436" y="1691650"/>
                </a:moveTo>
                <a:cubicBezTo>
                  <a:pt x="746436" y="1620564"/>
                  <a:pt x="803043" y="1563957"/>
                  <a:pt x="874138" y="1563957"/>
                </a:cubicBezTo>
                <a:lnTo>
                  <a:pt x="2160985" y="1563957"/>
                </a:lnTo>
                <a:cubicBezTo>
                  <a:pt x="2232070" y="1563957"/>
                  <a:pt x="2288686" y="1620564"/>
                  <a:pt x="2288686" y="1691650"/>
                </a:cubicBezTo>
                <a:cubicBezTo>
                  <a:pt x="2288686" y="1762735"/>
                  <a:pt x="2232079" y="1819351"/>
                  <a:pt x="2160985" y="1819351"/>
                </a:cubicBezTo>
                <a:lnTo>
                  <a:pt x="874786" y="1819351"/>
                </a:lnTo>
                <a:cubicBezTo>
                  <a:pt x="803700" y="1826590"/>
                  <a:pt x="746436" y="1769983"/>
                  <a:pt x="746436" y="1691650"/>
                </a:cubicBezTo>
                <a:close/>
                <a:moveTo>
                  <a:pt x="746436" y="2402539"/>
                </a:moveTo>
                <a:cubicBezTo>
                  <a:pt x="746436" y="2331453"/>
                  <a:pt x="803043" y="2274837"/>
                  <a:pt x="874138" y="2274837"/>
                </a:cubicBezTo>
                <a:lnTo>
                  <a:pt x="2160985" y="2274837"/>
                </a:lnTo>
                <a:cubicBezTo>
                  <a:pt x="2232070" y="2274837"/>
                  <a:pt x="2288686" y="2331444"/>
                  <a:pt x="2288686" y="2402539"/>
                </a:cubicBezTo>
                <a:cubicBezTo>
                  <a:pt x="2288686" y="2473633"/>
                  <a:pt x="2232079" y="2530240"/>
                  <a:pt x="2160985" y="2530240"/>
                </a:cubicBezTo>
                <a:lnTo>
                  <a:pt x="874786" y="2530240"/>
                </a:lnTo>
                <a:cubicBezTo>
                  <a:pt x="803700" y="2537479"/>
                  <a:pt x="746436" y="2473633"/>
                  <a:pt x="746436" y="2402539"/>
                </a:cubicBezTo>
                <a:close/>
                <a:moveTo>
                  <a:pt x="746436" y="3141736"/>
                </a:moveTo>
                <a:cubicBezTo>
                  <a:pt x="746436" y="3070651"/>
                  <a:pt x="803043" y="3014034"/>
                  <a:pt x="874138" y="3014034"/>
                </a:cubicBezTo>
                <a:lnTo>
                  <a:pt x="2160985" y="3014034"/>
                </a:lnTo>
                <a:cubicBezTo>
                  <a:pt x="2232070" y="3014034"/>
                  <a:pt x="2288686" y="3070641"/>
                  <a:pt x="2288686" y="3141736"/>
                </a:cubicBezTo>
                <a:cubicBezTo>
                  <a:pt x="2288686" y="3212821"/>
                  <a:pt x="2232079" y="3269437"/>
                  <a:pt x="2160985" y="3269437"/>
                </a:cubicBezTo>
                <a:lnTo>
                  <a:pt x="874786" y="3269437"/>
                </a:lnTo>
                <a:cubicBezTo>
                  <a:pt x="803700" y="3277333"/>
                  <a:pt x="746436" y="3220069"/>
                  <a:pt x="746436" y="3141736"/>
                </a:cubicBezTo>
                <a:close/>
                <a:moveTo>
                  <a:pt x="746436" y="966940"/>
                </a:moveTo>
                <a:cubicBezTo>
                  <a:pt x="746436" y="895855"/>
                  <a:pt x="803043" y="839238"/>
                  <a:pt x="874138" y="839238"/>
                </a:cubicBezTo>
                <a:lnTo>
                  <a:pt x="2160985" y="839238"/>
                </a:lnTo>
                <a:cubicBezTo>
                  <a:pt x="2232070" y="839238"/>
                  <a:pt x="2288686" y="895845"/>
                  <a:pt x="2288686" y="966940"/>
                </a:cubicBezTo>
                <a:cubicBezTo>
                  <a:pt x="2288686" y="1038025"/>
                  <a:pt x="2232079" y="1094632"/>
                  <a:pt x="2160985" y="1094632"/>
                </a:cubicBezTo>
                <a:lnTo>
                  <a:pt x="874786" y="1094632"/>
                </a:lnTo>
                <a:cubicBezTo>
                  <a:pt x="803700" y="1094632"/>
                  <a:pt x="746436" y="1038025"/>
                  <a:pt x="746436" y="96694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4" name="Forma libre 398">
            <a:extLst>
              <a:ext uri="{FF2B5EF4-FFF2-40B4-BE49-F238E27FC236}">
                <a16:creationId xmlns:a16="http://schemas.microsoft.com/office/drawing/2014/main" xmlns="" id="{D54033CA-5445-E247-A970-B33CBD8E346D}"/>
              </a:ext>
            </a:extLst>
          </p:cNvPr>
          <p:cNvSpPr/>
          <p:nvPr/>
        </p:nvSpPr>
        <p:spPr>
          <a:xfrm>
            <a:off x="2038048" y="4033217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12 h 5829300"/>
              <a:gd name="connsiteX2" fmla="*/ 2915002 w 5829300"/>
              <a:gd name="connsiteY2" fmla="*/ 5830015 h 5829300"/>
              <a:gd name="connsiteX3" fmla="*/ 5830005 w 5829300"/>
              <a:gd name="connsiteY3" fmla="*/ 2915012 h 5829300"/>
              <a:gd name="connsiteX4" fmla="*/ 2915002 w 5829300"/>
              <a:gd name="connsiteY4" fmla="*/ 0 h 5829300"/>
              <a:gd name="connsiteX5" fmla="*/ 2915002 w 5829300"/>
              <a:gd name="connsiteY5" fmla="*/ 5546703 h 5829300"/>
              <a:gd name="connsiteX6" fmla="*/ 282597 w 5829300"/>
              <a:gd name="connsiteY6" fmla="*/ 2914298 h 5829300"/>
              <a:gd name="connsiteX7" fmla="*/ 2915002 w 5829300"/>
              <a:gd name="connsiteY7" fmla="*/ 281892 h 5829300"/>
              <a:gd name="connsiteX8" fmla="*/ 5547408 w 5829300"/>
              <a:gd name="connsiteY8" fmla="*/ 2914298 h 5829300"/>
              <a:gd name="connsiteX9" fmla="*/ 2915002 w 5829300"/>
              <a:gd name="connsiteY9" fmla="*/ 5546703 h 5829300"/>
              <a:gd name="connsiteX10" fmla="*/ 4212127 w 5829300"/>
              <a:gd name="connsiteY10" fmla="*/ 2914298 h 5829300"/>
              <a:gd name="connsiteX11" fmla="*/ 4075062 w 5829300"/>
              <a:gd name="connsiteY11" fmla="*/ 3051362 h 5829300"/>
              <a:gd name="connsiteX12" fmla="*/ 1793091 w 5829300"/>
              <a:gd name="connsiteY12" fmla="*/ 3051362 h 5829300"/>
              <a:gd name="connsiteX13" fmla="*/ 1656026 w 5829300"/>
              <a:gd name="connsiteY13" fmla="*/ 2914298 h 5829300"/>
              <a:gd name="connsiteX14" fmla="*/ 1793091 w 5829300"/>
              <a:gd name="connsiteY14" fmla="*/ 2777233 h 5829300"/>
              <a:gd name="connsiteX15" fmla="*/ 4074367 w 5829300"/>
              <a:gd name="connsiteY15" fmla="*/ 2777233 h 5829300"/>
              <a:gd name="connsiteX16" fmla="*/ 4212127 w 5829300"/>
              <a:gd name="connsiteY16" fmla="*/ 2914298 h 5829300"/>
              <a:gd name="connsiteX17" fmla="*/ 4212127 w 5829300"/>
              <a:gd name="connsiteY17" fmla="*/ 1976076 h 5829300"/>
              <a:gd name="connsiteX18" fmla="*/ 4075062 w 5829300"/>
              <a:gd name="connsiteY18" fmla="*/ 2113140 h 5829300"/>
              <a:gd name="connsiteX19" fmla="*/ 1793091 w 5829300"/>
              <a:gd name="connsiteY19" fmla="*/ 2113140 h 5829300"/>
              <a:gd name="connsiteX20" fmla="*/ 1656026 w 5829300"/>
              <a:gd name="connsiteY20" fmla="*/ 1976076 h 5829300"/>
              <a:gd name="connsiteX21" fmla="*/ 1793091 w 5829300"/>
              <a:gd name="connsiteY21" fmla="*/ 1839011 h 5829300"/>
              <a:gd name="connsiteX22" fmla="*/ 4074367 w 5829300"/>
              <a:gd name="connsiteY22" fmla="*/ 1839011 h 5829300"/>
              <a:gd name="connsiteX23" fmla="*/ 4212127 w 5829300"/>
              <a:gd name="connsiteY23" fmla="*/ 1976076 h 5829300"/>
              <a:gd name="connsiteX24" fmla="*/ 4212127 w 5829300"/>
              <a:gd name="connsiteY24" fmla="*/ 3853234 h 5829300"/>
              <a:gd name="connsiteX25" fmla="*/ 4075062 w 5829300"/>
              <a:gd name="connsiteY25" fmla="*/ 3990299 h 5829300"/>
              <a:gd name="connsiteX26" fmla="*/ 1793091 w 5829300"/>
              <a:gd name="connsiteY26" fmla="*/ 3990299 h 5829300"/>
              <a:gd name="connsiteX27" fmla="*/ 1656026 w 5829300"/>
              <a:gd name="connsiteY27" fmla="*/ 3853234 h 5829300"/>
              <a:gd name="connsiteX28" fmla="*/ 1793091 w 5829300"/>
              <a:gd name="connsiteY28" fmla="*/ 3716169 h 5829300"/>
              <a:gd name="connsiteX29" fmla="*/ 4074367 w 5829300"/>
              <a:gd name="connsiteY29" fmla="*/ 3716169 h 5829300"/>
              <a:gd name="connsiteX30" fmla="*/ 4212127 w 5829300"/>
              <a:gd name="connsiteY30" fmla="*/ 3853234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906"/>
                  <a:pt x="0" y="2915012"/>
                </a:cubicBezTo>
                <a:cubicBezTo>
                  <a:pt x="0" y="4525118"/>
                  <a:pt x="1304896" y="5830015"/>
                  <a:pt x="2915002" y="5830015"/>
                </a:cubicBezTo>
                <a:cubicBezTo>
                  <a:pt x="4525109" y="5830015"/>
                  <a:pt x="5830005" y="4525118"/>
                  <a:pt x="5830005" y="2915012"/>
                </a:cubicBezTo>
                <a:cubicBezTo>
                  <a:pt x="5837072" y="1304192"/>
                  <a:pt x="4525109" y="0"/>
                  <a:pt x="2915002" y="0"/>
                </a:cubicBezTo>
                <a:close/>
                <a:moveTo>
                  <a:pt x="2915002" y="5546703"/>
                </a:moveTo>
                <a:cubicBezTo>
                  <a:pt x="1465269" y="5546703"/>
                  <a:pt x="282597" y="4364031"/>
                  <a:pt x="282597" y="2914298"/>
                </a:cubicBezTo>
                <a:cubicBezTo>
                  <a:pt x="282597" y="1464564"/>
                  <a:pt x="1465269" y="281892"/>
                  <a:pt x="2915002" y="281892"/>
                </a:cubicBezTo>
                <a:cubicBezTo>
                  <a:pt x="4364736" y="281892"/>
                  <a:pt x="5547408" y="1464564"/>
                  <a:pt x="5547408" y="2914298"/>
                </a:cubicBezTo>
                <a:cubicBezTo>
                  <a:pt x="5547408" y="4364031"/>
                  <a:pt x="4372509" y="5546703"/>
                  <a:pt x="2915002" y="5546703"/>
                </a:cubicBezTo>
                <a:close/>
                <a:moveTo>
                  <a:pt x="4212127" y="2914298"/>
                </a:moveTo>
                <a:cubicBezTo>
                  <a:pt x="4212127" y="2990603"/>
                  <a:pt x="4151366" y="3051362"/>
                  <a:pt x="4075062" y="3051362"/>
                </a:cubicBezTo>
                <a:lnTo>
                  <a:pt x="1793091" y="3051362"/>
                </a:lnTo>
                <a:cubicBezTo>
                  <a:pt x="1716786" y="3051362"/>
                  <a:pt x="1656026" y="2990603"/>
                  <a:pt x="1656026" y="2914298"/>
                </a:cubicBezTo>
                <a:cubicBezTo>
                  <a:pt x="1656026" y="2837993"/>
                  <a:pt x="1716786" y="2777233"/>
                  <a:pt x="1793091" y="2777233"/>
                </a:cubicBezTo>
                <a:lnTo>
                  <a:pt x="4074367" y="2777233"/>
                </a:lnTo>
                <a:cubicBezTo>
                  <a:pt x="4150662" y="2769470"/>
                  <a:pt x="4212127" y="2838003"/>
                  <a:pt x="4212127" y="2914298"/>
                </a:cubicBezTo>
                <a:close/>
                <a:moveTo>
                  <a:pt x="4212127" y="1976076"/>
                </a:moveTo>
                <a:cubicBezTo>
                  <a:pt x="4212127" y="2052380"/>
                  <a:pt x="4151366" y="2113140"/>
                  <a:pt x="4075062" y="2113140"/>
                </a:cubicBezTo>
                <a:lnTo>
                  <a:pt x="1793091" y="2113140"/>
                </a:lnTo>
                <a:cubicBezTo>
                  <a:pt x="1716786" y="2113140"/>
                  <a:pt x="1656026" y="2052380"/>
                  <a:pt x="1656026" y="1976076"/>
                </a:cubicBezTo>
                <a:cubicBezTo>
                  <a:pt x="1656026" y="1899771"/>
                  <a:pt x="1716786" y="1839011"/>
                  <a:pt x="1793091" y="1839011"/>
                </a:cubicBezTo>
                <a:lnTo>
                  <a:pt x="4074367" y="1839011"/>
                </a:lnTo>
                <a:cubicBezTo>
                  <a:pt x="4150662" y="1831238"/>
                  <a:pt x="4212127" y="1891998"/>
                  <a:pt x="4212127" y="1976076"/>
                </a:cubicBezTo>
                <a:close/>
                <a:moveTo>
                  <a:pt x="4212127" y="3853234"/>
                </a:moveTo>
                <a:cubicBezTo>
                  <a:pt x="4212127" y="3929539"/>
                  <a:pt x="4151366" y="3990299"/>
                  <a:pt x="4075062" y="3990299"/>
                </a:cubicBezTo>
                <a:lnTo>
                  <a:pt x="1793091" y="3990299"/>
                </a:lnTo>
                <a:cubicBezTo>
                  <a:pt x="1716786" y="3990299"/>
                  <a:pt x="1656026" y="3929539"/>
                  <a:pt x="1656026" y="3853234"/>
                </a:cubicBezTo>
                <a:cubicBezTo>
                  <a:pt x="1656026" y="3776929"/>
                  <a:pt x="1716786" y="3716169"/>
                  <a:pt x="1793091" y="3716169"/>
                </a:cubicBezTo>
                <a:lnTo>
                  <a:pt x="4074367" y="3716169"/>
                </a:lnTo>
                <a:cubicBezTo>
                  <a:pt x="4150662" y="3715464"/>
                  <a:pt x="4212127" y="3776929"/>
                  <a:pt x="4212127" y="385323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5" name="Forma libre 400">
            <a:extLst>
              <a:ext uri="{FF2B5EF4-FFF2-40B4-BE49-F238E27FC236}">
                <a16:creationId xmlns:a16="http://schemas.microsoft.com/office/drawing/2014/main" xmlns="" id="{6B7CB43D-3937-D645-BCA9-CD354239CA40}"/>
              </a:ext>
            </a:extLst>
          </p:cNvPr>
          <p:cNvSpPr/>
          <p:nvPr/>
        </p:nvSpPr>
        <p:spPr>
          <a:xfrm>
            <a:off x="3534125" y="2749650"/>
            <a:ext cx="301338" cy="267308"/>
          </a:xfrm>
          <a:custGeom>
            <a:avLst/>
            <a:gdLst>
              <a:gd name="connsiteX0" fmla="*/ 5809507 w 5819775"/>
              <a:gd name="connsiteY0" fmla="*/ 1377067 h 5162550"/>
              <a:gd name="connsiteX1" fmla="*/ 5001873 w 5819775"/>
              <a:gd name="connsiteY1" fmla="*/ 237449 h 5162550"/>
              <a:gd name="connsiteX2" fmla="*/ 4154672 w 5819775"/>
              <a:gd name="connsiteY2" fmla="*/ 0 h 5162550"/>
              <a:gd name="connsiteX3" fmla="*/ 3149165 w 5819775"/>
              <a:gd name="connsiteY3" fmla="*/ 387696 h 5162550"/>
              <a:gd name="connsiteX4" fmla="*/ 2911716 w 5819775"/>
              <a:gd name="connsiteY4" fmla="*/ 633212 h 5162550"/>
              <a:gd name="connsiteX5" fmla="*/ 2175910 w 5819775"/>
              <a:gd name="connsiteY5" fmla="*/ 87220 h 5162550"/>
              <a:gd name="connsiteX6" fmla="*/ 782707 w 5819775"/>
              <a:gd name="connsiteY6" fmla="*/ 268976 h 5162550"/>
              <a:gd name="connsiteX7" fmla="*/ 0 w 5819775"/>
              <a:gd name="connsiteY7" fmla="*/ 1661427 h 5162550"/>
              <a:gd name="connsiteX8" fmla="*/ 356178 w 5819775"/>
              <a:gd name="connsiteY8" fmla="*/ 2674258 h 5162550"/>
              <a:gd name="connsiteX9" fmla="*/ 1337501 w 5819775"/>
              <a:gd name="connsiteY9" fmla="*/ 3821945 h 5162550"/>
              <a:gd name="connsiteX10" fmla="*/ 2192036 w 5819775"/>
              <a:gd name="connsiteY10" fmla="*/ 4669146 h 5162550"/>
              <a:gd name="connsiteX11" fmla="*/ 2469061 w 5819775"/>
              <a:gd name="connsiteY11" fmla="*/ 4938113 h 5162550"/>
              <a:gd name="connsiteX12" fmla="*/ 2540146 w 5819775"/>
              <a:gd name="connsiteY12" fmla="*/ 5009198 h 5162550"/>
              <a:gd name="connsiteX13" fmla="*/ 2571664 w 5819775"/>
              <a:gd name="connsiteY13" fmla="*/ 5040716 h 5162550"/>
              <a:gd name="connsiteX14" fmla="*/ 2911716 w 5819775"/>
              <a:gd name="connsiteY14" fmla="*/ 5167503 h 5162550"/>
              <a:gd name="connsiteX15" fmla="*/ 3284020 w 5819775"/>
              <a:gd name="connsiteY15" fmla="*/ 5009198 h 5162550"/>
              <a:gd name="connsiteX16" fmla="*/ 4756366 w 5819775"/>
              <a:gd name="connsiteY16" fmla="*/ 3544910 h 5162550"/>
              <a:gd name="connsiteX17" fmla="*/ 5531749 w 5819775"/>
              <a:gd name="connsiteY17" fmla="*/ 2595106 h 5162550"/>
              <a:gd name="connsiteX18" fmla="*/ 5809507 w 5819775"/>
              <a:gd name="connsiteY18" fmla="*/ 1377067 h 5162550"/>
              <a:gd name="connsiteX19" fmla="*/ 5286975 w 5819775"/>
              <a:gd name="connsiteY19" fmla="*/ 2429475 h 5162550"/>
              <a:gd name="connsiteX20" fmla="*/ 4543101 w 5819775"/>
              <a:gd name="connsiteY20" fmla="*/ 3339703 h 5162550"/>
              <a:gd name="connsiteX21" fmla="*/ 3086872 w 5819775"/>
              <a:gd name="connsiteY21" fmla="*/ 4787865 h 5162550"/>
              <a:gd name="connsiteX22" fmla="*/ 2912450 w 5819775"/>
              <a:gd name="connsiteY22" fmla="*/ 4867018 h 5162550"/>
              <a:gd name="connsiteX23" fmla="*/ 2770270 w 5819775"/>
              <a:gd name="connsiteY23" fmla="*/ 4811316 h 5162550"/>
              <a:gd name="connsiteX24" fmla="*/ 2746820 w 5819775"/>
              <a:gd name="connsiteY24" fmla="*/ 4787865 h 5162550"/>
              <a:gd name="connsiteX25" fmla="*/ 2675734 w 5819775"/>
              <a:gd name="connsiteY25" fmla="*/ 4716780 h 5162550"/>
              <a:gd name="connsiteX26" fmla="*/ 2398709 w 5819775"/>
              <a:gd name="connsiteY26" fmla="*/ 4455881 h 5162550"/>
              <a:gd name="connsiteX27" fmla="*/ 1551508 w 5819775"/>
              <a:gd name="connsiteY27" fmla="*/ 3616738 h 5162550"/>
              <a:gd name="connsiteX28" fmla="*/ 593636 w 5819775"/>
              <a:gd name="connsiteY28" fmla="*/ 2508628 h 5162550"/>
              <a:gd name="connsiteX29" fmla="*/ 293160 w 5819775"/>
              <a:gd name="connsiteY29" fmla="*/ 1661427 h 5162550"/>
              <a:gd name="connsiteX30" fmla="*/ 934431 w 5819775"/>
              <a:gd name="connsiteY30" fmla="*/ 513740 h 5162550"/>
              <a:gd name="connsiteX31" fmla="*/ 1654845 w 5819775"/>
              <a:gd name="connsiteY31" fmla="*/ 292408 h 5162550"/>
              <a:gd name="connsiteX32" fmla="*/ 2082108 w 5819775"/>
              <a:gd name="connsiteY32" fmla="*/ 363493 h 5162550"/>
              <a:gd name="connsiteX33" fmla="*/ 2715311 w 5819775"/>
              <a:gd name="connsiteY33" fmla="*/ 846458 h 5162550"/>
              <a:gd name="connsiteX34" fmla="*/ 2921251 w 5819775"/>
              <a:gd name="connsiteY34" fmla="*/ 941737 h 5162550"/>
              <a:gd name="connsiteX35" fmla="*/ 3119123 w 5819775"/>
              <a:gd name="connsiteY35" fmla="*/ 846458 h 5162550"/>
              <a:gd name="connsiteX36" fmla="*/ 3127181 w 5819775"/>
              <a:gd name="connsiteY36" fmla="*/ 830332 h 5162550"/>
              <a:gd name="connsiteX37" fmla="*/ 3348514 w 5819775"/>
              <a:gd name="connsiteY37" fmla="*/ 592884 h 5162550"/>
              <a:gd name="connsiteX38" fmla="*/ 4156148 w 5819775"/>
              <a:gd name="connsiteY38" fmla="*/ 284340 h 5162550"/>
              <a:gd name="connsiteX39" fmla="*/ 4852378 w 5819775"/>
              <a:gd name="connsiteY39" fmla="*/ 482213 h 5162550"/>
              <a:gd name="connsiteX40" fmla="*/ 5517100 w 5819775"/>
              <a:gd name="connsiteY40" fmla="*/ 1415901 h 5162550"/>
              <a:gd name="connsiteX41" fmla="*/ 5286975 w 5819775"/>
              <a:gd name="connsiteY41" fmla="*/ 2429475 h 5162550"/>
              <a:gd name="connsiteX42" fmla="*/ 2033730 w 5819775"/>
              <a:gd name="connsiteY42" fmla="*/ 1115425 h 5162550"/>
              <a:gd name="connsiteX43" fmla="*/ 1835858 w 5819775"/>
              <a:gd name="connsiteY43" fmla="*/ 1186510 h 5162550"/>
              <a:gd name="connsiteX44" fmla="*/ 1614526 w 5819775"/>
              <a:gd name="connsiteY44" fmla="*/ 1138876 h 5162550"/>
              <a:gd name="connsiteX45" fmla="*/ 1083926 w 5819775"/>
              <a:gd name="connsiteY45" fmla="*/ 1669475 h 5162550"/>
              <a:gd name="connsiteX46" fmla="*/ 1171137 w 5819775"/>
              <a:gd name="connsiteY46" fmla="*/ 1962626 h 5162550"/>
              <a:gd name="connsiteX47" fmla="*/ 1131561 w 5819775"/>
              <a:gd name="connsiteY47" fmla="*/ 2168566 h 5162550"/>
              <a:gd name="connsiteX48" fmla="*/ 1052408 w 5819775"/>
              <a:gd name="connsiteY48" fmla="*/ 2192017 h 5162550"/>
              <a:gd name="connsiteX49" fmla="*/ 933679 w 5819775"/>
              <a:gd name="connsiteY49" fmla="*/ 2128990 h 5162550"/>
              <a:gd name="connsiteX50" fmla="*/ 798833 w 5819775"/>
              <a:gd name="connsiteY50" fmla="*/ 1670209 h 5162550"/>
              <a:gd name="connsiteX51" fmla="*/ 1621850 w 5819775"/>
              <a:gd name="connsiteY51" fmla="*/ 847192 h 5162550"/>
              <a:gd name="connsiteX52" fmla="*/ 1969970 w 5819775"/>
              <a:gd name="connsiteY52" fmla="*/ 926344 h 5162550"/>
              <a:gd name="connsiteX53" fmla="*/ 2033730 w 5819775"/>
              <a:gd name="connsiteY53" fmla="*/ 1115425 h 5162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819775" h="5162550">
                <a:moveTo>
                  <a:pt x="5809507" y="1377067"/>
                </a:moveTo>
                <a:cubicBezTo>
                  <a:pt x="5730355" y="894102"/>
                  <a:pt x="5461388" y="506406"/>
                  <a:pt x="5001873" y="237449"/>
                </a:cubicBezTo>
                <a:cubicBezTo>
                  <a:pt x="4740974" y="79143"/>
                  <a:pt x="4447823" y="0"/>
                  <a:pt x="4154672" y="0"/>
                </a:cubicBezTo>
                <a:cubicBezTo>
                  <a:pt x="3775043" y="0"/>
                  <a:pt x="3418866" y="134845"/>
                  <a:pt x="3149165" y="387696"/>
                </a:cubicBezTo>
                <a:cubicBezTo>
                  <a:pt x="3061954" y="466849"/>
                  <a:pt x="2990860" y="546002"/>
                  <a:pt x="2911716" y="633212"/>
                </a:cubicBezTo>
                <a:cubicBezTo>
                  <a:pt x="2682326" y="348120"/>
                  <a:pt x="2444877" y="174431"/>
                  <a:pt x="2175910" y="87220"/>
                </a:cubicBezTo>
                <a:cubicBezTo>
                  <a:pt x="1692945" y="-71085"/>
                  <a:pt x="1218038" y="-8058"/>
                  <a:pt x="782707" y="268976"/>
                </a:cubicBezTo>
                <a:cubicBezTo>
                  <a:pt x="260899" y="600951"/>
                  <a:pt x="0" y="1067791"/>
                  <a:pt x="0" y="1661427"/>
                </a:cubicBezTo>
                <a:cubicBezTo>
                  <a:pt x="0" y="2009546"/>
                  <a:pt x="118729" y="2342274"/>
                  <a:pt x="356178" y="2674258"/>
                </a:cubicBezTo>
                <a:cubicBezTo>
                  <a:pt x="609752" y="3030436"/>
                  <a:pt x="926354" y="3394672"/>
                  <a:pt x="1337501" y="3821945"/>
                </a:cubicBezTo>
                <a:cubicBezTo>
                  <a:pt x="1622593" y="4107037"/>
                  <a:pt x="1907677" y="4392121"/>
                  <a:pt x="2192036" y="4669146"/>
                </a:cubicBezTo>
                <a:lnTo>
                  <a:pt x="2469061" y="4938113"/>
                </a:lnTo>
                <a:cubicBezTo>
                  <a:pt x="2492512" y="4961563"/>
                  <a:pt x="2516696" y="4985747"/>
                  <a:pt x="2540146" y="5009198"/>
                </a:cubicBezTo>
                <a:lnTo>
                  <a:pt x="2571664" y="5040716"/>
                </a:lnTo>
                <a:cubicBezTo>
                  <a:pt x="2627366" y="5088351"/>
                  <a:pt x="2753420" y="5167503"/>
                  <a:pt x="2911716" y="5167503"/>
                </a:cubicBezTo>
                <a:cubicBezTo>
                  <a:pt x="3046562" y="5167503"/>
                  <a:pt x="3172616" y="5111801"/>
                  <a:pt x="3284020" y="5009198"/>
                </a:cubicBezTo>
                <a:cubicBezTo>
                  <a:pt x="3758927" y="4557741"/>
                  <a:pt x="4273401" y="4067451"/>
                  <a:pt x="4756366" y="3544910"/>
                </a:cubicBezTo>
                <a:cubicBezTo>
                  <a:pt x="5009941" y="3275943"/>
                  <a:pt x="5294300" y="2951283"/>
                  <a:pt x="5531749" y="2595106"/>
                </a:cubicBezTo>
                <a:cubicBezTo>
                  <a:pt x="5785323" y="2208152"/>
                  <a:pt x="5872544" y="1796272"/>
                  <a:pt x="5809507" y="1377067"/>
                </a:cubicBezTo>
                <a:close/>
                <a:moveTo>
                  <a:pt x="5286975" y="2429475"/>
                </a:moveTo>
                <a:cubicBezTo>
                  <a:pt x="5065643" y="2769527"/>
                  <a:pt x="4795952" y="3062678"/>
                  <a:pt x="4543101" y="3339703"/>
                </a:cubicBezTo>
                <a:cubicBezTo>
                  <a:pt x="4060136" y="3854187"/>
                  <a:pt x="3561779" y="4345210"/>
                  <a:pt x="3086872" y="4787865"/>
                </a:cubicBezTo>
                <a:cubicBezTo>
                  <a:pt x="3023845" y="4843567"/>
                  <a:pt x="2968142" y="4867018"/>
                  <a:pt x="2912450" y="4867018"/>
                </a:cubicBezTo>
                <a:cubicBezTo>
                  <a:pt x="2841365" y="4867018"/>
                  <a:pt x="2785663" y="4827441"/>
                  <a:pt x="2770270" y="4811316"/>
                </a:cubicBezTo>
                <a:lnTo>
                  <a:pt x="2746820" y="4787865"/>
                </a:lnTo>
                <a:cubicBezTo>
                  <a:pt x="2723369" y="4764415"/>
                  <a:pt x="2699185" y="4740231"/>
                  <a:pt x="2675734" y="4716780"/>
                </a:cubicBezTo>
                <a:lnTo>
                  <a:pt x="2398709" y="4455881"/>
                </a:lnTo>
                <a:cubicBezTo>
                  <a:pt x="2121684" y="4178856"/>
                  <a:pt x="1828533" y="3901831"/>
                  <a:pt x="1551508" y="3616738"/>
                </a:cubicBezTo>
                <a:cubicBezTo>
                  <a:pt x="1139628" y="3197533"/>
                  <a:pt x="847211" y="2856748"/>
                  <a:pt x="593636" y="2508628"/>
                </a:cubicBezTo>
                <a:cubicBezTo>
                  <a:pt x="395764" y="2223535"/>
                  <a:pt x="293160" y="1946510"/>
                  <a:pt x="293160" y="1661427"/>
                </a:cubicBezTo>
                <a:cubicBezTo>
                  <a:pt x="293160" y="1170403"/>
                  <a:pt x="499100" y="790765"/>
                  <a:pt x="934431" y="513740"/>
                </a:cubicBezTo>
                <a:cubicBezTo>
                  <a:pt x="1163822" y="363503"/>
                  <a:pt x="1409338" y="292408"/>
                  <a:pt x="1654845" y="292408"/>
                </a:cubicBezTo>
                <a:cubicBezTo>
                  <a:pt x="1797025" y="292408"/>
                  <a:pt x="1939938" y="315859"/>
                  <a:pt x="2082108" y="363493"/>
                </a:cubicBezTo>
                <a:cubicBezTo>
                  <a:pt x="2311499" y="442646"/>
                  <a:pt x="2509371" y="592884"/>
                  <a:pt x="2715311" y="846458"/>
                </a:cubicBezTo>
                <a:cubicBezTo>
                  <a:pt x="2731437" y="862584"/>
                  <a:pt x="2802522" y="941737"/>
                  <a:pt x="2921251" y="941737"/>
                </a:cubicBezTo>
                <a:cubicBezTo>
                  <a:pt x="2968885" y="941737"/>
                  <a:pt x="3048038" y="925611"/>
                  <a:pt x="3119123" y="846458"/>
                </a:cubicBezTo>
                <a:lnTo>
                  <a:pt x="3127181" y="830332"/>
                </a:lnTo>
                <a:cubicBezTo>
                  <a:pt x="3206334" y="743121"/>
                  <a:pt x="3277419" y="663969"/>
                  <a:pt x="3348514" y="592884"/>
                </a:cubicBezTo>
                <a:cubicBezTo>
                  <a:pt x="3569846" y="386944"/>
                  <a:pt x="3846871" y="284340"/>
                  <a:pt x="4156148" y="284340"/>
                </a:cubicBezTo>
                <a:cubicBezTo>
                  <a:pt x="4401665" y="284340"/>
                  <a:pt x="4639113" y="355425"/>
                  <a:pt x="4852378" y="482213"/>
                </a:cubicBezTo>
                <a:cubicBezTo>
                  <a:pt x="5232006" y="711603"/>
                  <a:pt x="5454073" y="1012812"/>
                  <a:pt x="5517100" y="1415901"/>
                </a:cubicBezTo>
                <a:cubicBezTo>
                  <a:pt x="5572058" y="1772822"/>
                  <a:pt x="5500974" y="2104816"/>
                  <a:pt x="5286975" y="2429475"/>
                </a:cubicBezTo>
                <a:close/>
                <a:moveTo>
                  <a:pt x="2033730" y="1115425"/>
                </a:moveTo>
                <a:cubicBezTo>
                  <a:pt x="2002212" y="1186510"/>
                  <a:pt x="1915001" y="1218028"/>
                  <a:pt x="1835858" y="1186510"/>
                </a:cubicBezTo>
                <a:cubicBezTo>
                  <a:pt x="1764773" y="1154992"/>
                  <a:pt x="1693678" y="1138876"/>
                  <a:pt x="1614526" y="1138876"/>
                </a:cubicBezTo>
                <a:cubicBezTo>
                  <a:pt x="1321375" y="1138876"/>
                  <a:pt x="1083926" y="1376324"/>
                  <a:pt x="1083926" y="1669475"/>
                </a:cubicBezTo>
                <a:cubicBezTo>
                  <a:pt x="1083926" y="1772079"/>
                  <a:pt x="1115444" y="1875415"/>
                  <a:pt x="1171137" y="1962626"/>
                </a:cubicBezTo>
                <a:cubicBezTo>
                  <a:pt x="1218771" y="2025653"/>
                  <a:pt x="1194587" y="2120932"/>
                  <a:pt x="1131561" y="2168566"/>
                </a:cubicBezTo>
                <a:cubicBezTo>
                  <a:pt x="1108110" y="2184692"/>
                  <a:pt x="1075858" y="2192017"/>
                  <a:pt x="1052408" y="2192017"/>
                </a:cubicBezTo>
                <a:cubicBezTo>
                  <a:pt x="1004773" y="2192017"/>
                  <a:pt x="957129" y="2168566"/>
                  <a:pt x="933679" y="2128990"/>
                </a:cubicBezTo>
                <a:cubicBezTo>
                  <a:pt x="846468" y="1994144"/>
                  <a:pt x="798833" y="1835839"/>
                  <a:pt x="798833" y="1670209"/>
                </a:cubicBezTo>
                <a:cubicBezTo>
                  <a:pt x="798833" y="1218752"/>
                  <a:pt x="1171137" y="847192"/>
                  <a:pt x="1621850" y="847192"/>
                </a:cubicBezTo>
                <a:cubicBezTo>
                  <a:pt x="1740580" y="847192"/>
                  <a:pt x="1859299" y="870642"/>
                  <a:pt x="1969970" y="926344"/>
                </a:cubicBezTo>
                <a:cubicBezTo>
                  <a:pt x="2033730" y="957129"/>
                  <a:pt x="2065249" y="1044340"/>
                  <a:pt x="2033730" y="111542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6" name="Forma libre 402">
            <a:extLst>
              <a:ext uri="{FF2B5EF4-FFF2-40B4-BE49-F238E27FC236}">
                <a16:creationId xmlns:a16="http://schemas.microsoft.com/office/drawing/2014/main" xmlns="" id="{B33319A9-647D-D74C-9416-19A729E491A4}"/>
              </a:ext>
            </a:extLst>
          </p:cNvPr>
          <p:cNvSpPr/>
          <p:nvPr/>
        </p:nvSpPr>
        <p:spPr>
          <a:xfrm>
            <a:off x="3533811" y="3427406"/>
            <a:ext cx="301831" cy="224894"/>
          </a:xfrm>
          <a:custGeom>
            <a:avLst/>
            <a:gdLst>
              <a:gd name="connsiteX0" fmla="*/ 5286308 w 5829300"/>
              <a:gd name="connsiteY0" fmla="*/ 563880 h 4343400"/>
              <a:gd name="connsiteX1" fmla="*/ 1931137 w 5829300"/>
              <a:gd name="connsiteY1" fmla="*/ 563880 h 4343400"/>
              <a:gd name="connsiteX2" fmla="*/ 1931137 w 5829300"/>
              <a:gd name="connsiteY2" fmla="*/ 542992 h 4343400"/>
              <a:gd name="connsiteX3" fmla="*/ 1931137 w 5829300"/>
              <a:gd name="connsiteY3" fmla="*/ 281940 h 4343400"/>
              <a:gd name="connsiteX4" fmla="*/ 1649197 w 5829300"/>
              <a:gd name="connsiteY4" fmla="*/ 0 h 4343400"/>
              <a:gd name="connsiteX5" fmla="*/ 683304 w 5829300"/>
              <a:gd name="connsiteY5" fmla="*/ 0 h 4343400"/>
              <a:gd name="connsiteX6" fmla="*/ 401364 w 5829300"/>
              <a:gd name="connsiteY6" fmla="*/ 281940 h 4343400"/>
              <a:gd name="connsiteX7" fmla="*/ 401364 w 5829300"/>
              <a:gd name="connsiteY7" fmla="*/ 542992 h 4343400"/>
              <a:gd name="connsiteX8" fmla="*/ 408546 w 5829300"/>
              <a:gd name="connsiteY8" fmla="*/ 578234 h 4343400"/>
              <a:gd name="connsiteX9" fmla="*/ 0 w 5829300"/>
              <a:gd name="connsiteY9" fmla="*/ 1092518 h 4343400"/>
              <a:gd name="connsiteX10" fmla="*/ 0 w 5829300"/>
              <a:gd name="connsiteY10" fmla="*/ 3813334 h 4343400"/>
              <a:gd name="connsiteX11" fmla="*/ 535810 w 5829300"/>
              <a:gd name="connsiteY11" fmla="*/ 4349144 h 4343400"/>
              <a:gd name="connsiteX12" fmla="*/ 5293491 w 5829300"/>
              <a:gd name="connsiteY12" fmla="*/ 4349144 h 4343400"/>
              <a:gd name="connsiteX13" fmla="*/ 5829300 w 5829300"/>
              <a:gd name="connsiteY13" fmla="*/ 3813334 h 4343400"/>
              <a:gd name="connsiteX14" fmla="*/ 5829300 w 5829300"/>
              <a:gd name="connsiteY14" fmla="*/ 1092518 h 4343400"/>
              <a:gd name="connsiteX15" fmla="*/ 5286308 w 5829300"/>
              <a:gd name="connsiteY15" fmla="*/ 563880 h 4343400"/>
              <a:gd name="connsiteX16" fmla="*/ 662416 w 5829300"/>
              <a:gd name="connsiteY16" fmla="*/ 275425 h 4343400"/>
              <a:gd name="connsiteX17" fmla="*/ 683304 w 5829300"/>
              <a:gd name="connsiteY17" fmla="*/ 254537 h 4343400"/>
              <a:gd name="connsiteX18" fmla="*/ 1649197 w 5829300"/>
              <a:gd name="connsiteY18" fmla="*/ 254537 h 4343400"/>
              <a:gd name="connsiteX19" fmla="*/ 1670085 w 5829300"/>
              <a:gd name="connsiteY19" fmla="*/ 275425 h 4343400"/>
              <a:gd name="connsiteX20" fmla="*/ 1670085 w 5829300"/>
              <a:gd name="connsiteY20" fmla="*/ 536477 h 4343400"/>
              <a:gd name="connsiteX21" fmla="*/ 1649197 w 5829300"/>
              <a:gd name="connsiteY21" fmla="*/ 557365 h 4343400"/>
              <a:gd name="connsiteX22" fmla="*/ 683304 w 5829300"/>
              <a:gd name="connsiteY22" fmla="*/ 557365 h 4343400"/>
              <a:gd name="connsiteX23" fmla="*/ 662416 w 5829300"/>
              <a:gd name="connsiteY23" fmla="*/ 536477 h 4343400"/>
              <a:gd name="connsiteX24" fmla="*/ 662416 w 5829300"/>
              <a:gd name="connsiteY24" fmla="*/ 275425 h 4343400"/>
              <a:gd name="connsiteX25" fmla="*/ 535162 w 5829300"/>
              <a:gd name="connsiteY25" fmla="*/ 817759 h 4343400"/>
              <a:gd name="connsiteX26" fmla="*/ 690486 w 5829300"/>
              <a:gd name="connsiteY26" fmla="*/ 817759 h 4343400"/>
              <a:gd name="connsiteX27" fmla="*/ 1656378 w 5829300"/>
              <a:gd name="connsiteY27" fmla="*/ 817759 h 4343400"/>
              <a:gd name="connsiteX28" fmla="*/ 5292843 w 5829300"/>
              <a:gd name="connsiteY28" fmla="*/ 817759 h 4343400"/>
              <a:gd name="connsiteX29" fmla="*/ 5567601 w 5829300"/>
              <a:gd name="connsiteY29" fmla="*/ 1092518 h 4343400"/>
              <a:gd name="connsiteX30" fmla="*/ 5567601 w 5829300"/>
              <a:gd name="connsiteY30" fmla="*/ 2361229 h 4343400"/>
              <a:gd name="connsiteX31" fmla="*/ 4165092 w 5829300"/>
              <a:gd name="connsiteY31" fmla="*/ 2361229 h 4343400"/>
              <a:gd name="connsiteX32" fmla="*/ 2924442 w 5829300"/>
              <a:gd name="connsiteY32" fmla="*/ 1240660 h 4343400"/>
              <a:gd name="connsiteX33" fmla="*/ 1683791 w 5829300"/>
              <a:gd name="connsiteY33" fmla="*/ 2361229 h 4343400"/>
              <a:gd name="connsiteX34" fmla="*/ 260404 w 5829300"/>
              <a:gd name="connsiteY34" fmla="*/ 2361229 h 4343400"/>
              <a:gd name="connsiteX35" fmla="*/ 260404 w 5829300"/>
              <a:gd name="connsiteY35" fmla="*/ 1092518 h 4343400"/>
              <a:gd name="connsiteX36" fmla="*/ 535162 w 5829300"/>
              <a:gd name="connsiteY36" fmla="*/ 817759 h 4343400"/>
              <a:gd name="connsiteX37" fmla="*/ 3911870 w 5829300"/>
              <a:gd name="connsiteY37" fmla="*/ 2495674 h 4343400"/>
              <a:gd name="connsiteX38" fmla="*/ 2925090 w 5829300"/>
              <a:gd name="connsiteY38" fmla="*/ 3482454 h 4343400"/>
              <a:gd name="connsiteX39" fmla="*/ 1938309 w 5829300"/>
              <a:gd name="connsiteY39" fmla="*/ 2495674 h 4343400"/>
              <a:gd name="connsiteX40" fmla="*/ 2925090 w 5829300"/>
              <a:gd name="connsiteY40" fmla="*/ 1508893 h 4343400"/>
              <a:gd name="connsiteX41" fmla="*/ 3911870 w 5829300"/>
              <a:gd name="connsiteY41" fmla="*/ 2495674 h 4343400"/>
              <a:gd name="connsiteX42" fmla="*/ 5286308 w 5829300"/>
              <a:gd name="connsiteY42" fmla="*/ 4088092 h 4343400"/>
              <a:gd name="connsiteX43" fmla="*/ 535162 w 5829300"/>
              <a:gd name="connsiteY43" fmla="*/ 4088092 h 4343400"/>
              <a:gd name="connsiteX44" fmla="*/ 260404 w 5829300"/>
              <a:gd name="connsiteY44" fmla="*/ 3813334 h 4343400"/>
              <a:gd name="connsiteX45" fmla="*/ 260404 w 5829300"/>
              <a:gd name="connsiteY45" fmla="*/ 2622280 h 4343400"/>
              <a:gd name="connsiteX46" fmla="*/ 1677257 w 5829300"/>
              <a:gd name="connsiteY46" fmla="*/ 2622280 h 4343400"/>
              <a:gd name="connsiteX47" fmla="*/ 2917908 w 5829300"/>
              <a:gd name="connsiteY47" fmla="*/ 3742849 h 4343400"/>
              <a:gd name="connsiteX48" fmla="*/ 4158558 w 5829300"/>
              <a:gd name="connsiteY48" fmla="*/ 2622280 h 4343400"/>
              <a:gd name="connsiteX49" fmla="*/ 5553885 w 5829300"/>
              <a:gd name="connsiteY49" fmla="*/ 2622280 h 4343400"/>
              <a:gd name="connsiteX50" fmla="*/ 5553885 w 5829300"/>
              <a:gd name="connsiteY50" fmla="*/ 3813334 h 4343400"/>
              <a:gd name="connsiteX51" fmla="*/ 5286308 w 5829300"/>
              <a:gd name="connsiteY51" fmla="*/ 4088092 h 4343400"/>
              <a:gd name="connsiteX52" fmla="*/ 2925090 w 5829300"/>
              <a:gd name="connsiteY52" fmla="*/ 1861309 h 4343400"/>
              <a:gd name="connsiteX53" fmla="*/ 2297906 w 5829300"/>
              <a:gd name="connsiteY53" fmla="*/ 2488483 h 4343400"/>
              <a:gd name="connsiteX54" fmla="*/ 2925090 w 5829300"/>
              <a:gd name="connsiteY54" fmla="*/ 3115656 h 4343400"/>
              <a:gd name="connsiteX55" fmla="*/ 3552273 w 5829300"/>
              <a:gd name="connsiteY55" fmla="*/ 2488483 h 4343400"/>
              <a:gd name="connsiteX56" fmla="*/ 2925090 w 5829300"/>
              <a:gd name="connsiteY56" fmla="*/ 1861309 h 4343400"/>
              <a:gd name="connsiteX57" fmla="*/ 2925090 w 5829300"/>
              <a:gd name="connsiteY57" fmla="*/ 2861796 h 4343400"/>
              <a:gd name="connsiteX58" fmla="*/ 2558310 w 5829300"/>
              <a:gd name="connsiteY58" fmla="*/ 2495017 h 4343400"/>
              <a:gd name="connsiteX59" fmla="*/ 2925090 w 5829300"/>
              <a:gd name="connsiteY59" fmla="*/ 2128238 h 4343400"/>
              <a:gd name="connsiteX60" fmla="*/ 3291869 w 5829300"/>
              <a:gd name="connsiteY60" fmla="*/ 2495017 h 4343400"/>
              <a:gd name="connsiteX61" fmla="*/ 2925090 w 5829300"/>
              <a:gd name="connsiteY61" fmla="*/ 2861796 h 4343400"/>
              <a:gd name="connsiteX62" fmla="*/ 4933893 w 5829300"/>
              <a:gd name="connsiteY62" fmla="*/ 1318327 h 4343400"/>
              <a:gd name="connsiteX63" fmla="*/ 5074863 w 5829300"/>
              <a:gd name="connsiteY63" fmla="*/ 1177357 h 4343400"/>
              <a:gd name="connsiteX64" fmla="*/ 5215833 w 5829300"/>
              <a:gd name="connsiteY64" fmla="*/ 1318327 h 4343400"/>
              <a:gd name="connsiteX65" fmla="*/ 5074863 w 5829300"/>
              <a:gd name="connsiteY65" fmla="*/ 1459297 h 4343400"/>
              <a:gd name="connsiteX66" fmla="*/ 4933893 w 5829300"/>
              <a:gd name="connsiteY66" fmla="*/ 1318327 h 4343400"/>
              <a:gd name="connsiteX67" fmla="*/ 4411790 w 5829300"/>
              <a:gd name="connsiteY67" fmla="*/ 1318327 h 4343400"/>
              <a:gd name="connsiteX68" fmla="*/ 4552760 w 5829300"/>
              <a:gd name="connsiteY68" fmla="*/ 1177357 h 4343400"/>
              <a:gd name="connsiteX69" fmla="*/ 4693730 w 5829300"/>
              <a:gd name="connsiteY69" fmla="*/ 1318327 h 4343400"/>
              <a:gd name="connsiteX70" fmla="*/ 4552760 w 5829300"/>
              <a:gd name="connsiteY70" fmla="*/ 1459297 h 4343400"/>
              <a:gd name="connsiteX71" fmla="*/ 4411790 w 5829300"/>
              <a:gd name="connsiteY71" fmla="*/ 1318327 h 434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829300" h="4343400">
                <a:moveTo>
                  <a:pt x="5286308" y="563880"/>
                </a:moveTo>
                <a:lnTo>
                  <a:pt x="1931137" y="563880"/>
                </a:lnTo>
                <a:cubicBezTo>
                  <a:pt x="1931137" y="556698"/>
                  <a:pt x="1931137" y="549526"/>
                  <a:pt x="1931137" y="542992"/>
                </a:cubicBezTo>
                <a:lnTo>
                  <a:pt x="1931137" y="281940"/>
                </a:lnTo>
                <a:cubicBezTo>
                  <a:pt x="1931137" y="126616"/>
                  <a:pt x="1804530" y="0"/>
                  <a:pt x="1649197" y="0"/>
                </a:cubicBezTo>
                <a:lnTo>
                  <a:pt x="683304" y="0"/>
                </a:lnTo>
                <a:cubicBezTo>
                  <a:pt x="527980" y="0"/>
                  <a:pt x="401364" y="126606"/>
                  <a:pt x="401364" y="281940"/>
                </a:cubicBezTo>
                <a:lnTo>
                  <a:pt x="401364" y="542992"/>
                </a:lnTo>
                <a:cubicBezTo>
                  <a:pt x="401364" y="557346"/>
                  <a:pt x="401364" y="571052"/>
                  <a:pt x="408546" y="578234"/>
                </a:cubicBezTo>
                <a:cubicBezTo>
                  <a:pt x="176213" y="634365"/>
                  <a:pt x="0" y="845820"/>
                  <a:pt x="0" y="1092518"/>
                </a:cubicBezTo>
                <a:lnTo>
                  <a:pt x="0" y="3813334"/>
                </a:lnTo>
                <a:cubicBezTo>
                  <a:pt x="0" y="4109628"/>
                  <a:pt x="239516" y="4349144"/>
                  <a:pt x="535810" y="4349144"/>
                </a:cubicBezTo>
                <a:lnTo>
                  <a:pt x="5293491" y="4349144"/>
                </a:lnTo>
                <a:cubicBezTo>
                  <a:pt x="5589785" y="4349144"/>
                  <a:pt x="5829300" y="4109628"/>
                  <a:pt x="5829300" y="3813334"/>
                </a:cubicBezTo>
                <a:lnTo>
                  <a:pt x="5829300" y="1092518"/>
                </a:lnTo>
                <a:cubicBezTo>
                  <a:pt x="5821470" y="796871"/>
                  <a:pt x="5581955" y="563880"/>
                  <a:pt x="5286308" y="563880"/>
                </a:cubicBezTo>
                <a:close/>
                <a:moveTo>
                  <a:pt x="662416" y="275425"/>
                </a:moveTo>
                <a:cubicBezTo>
                  <a:pt x="662416" y="261071"/>
                  <a:pt x="669598" y="254537"/>
                  <a:pt x="683304" y="254537"/>
                </a:cubicBezTo>
                <a:lnTo>
                  <a:pt x="1649197" y="254537"/>
                </a:lnTo>
                <a:cubicBezTo>
                  <a:pt x="1663551" y="254537"/>
                  <a:pt x="1670085" y="261718"/>
                  <a:pt x="1670085" y="275425"/>
                </a:cubicBezTo>
                <a:lnTo>
                  <a:pt x="1670085" y="536477"/>
                </a:lnTo>
                <a:cubicBezTo>
                  <a:pt x="1670085" y="550831"/>
                  <a:pt x="1662903" y="557365"/>
                  <a:pt x="1649197" y="557365"/>
                </a:cubicBezTo>
                <a:lnTo>
                  <a:pt x="683304" y="557365"/>
                </a:lnTo>
                <a:cubicBezTo>
                  <a:pt x="668950" y="557365"/>
                  <a:pt x="662416" y="550183"/>
                  <a:pt x="662416" y="536477"/>
                </a:cubicBezTo>
                <a:lnTo>
                  <a:pt x="662416" y="275425"/>
                </a:lnTo>
                <a:close/>
                <a:moveTo>
                  <a:pt x="535162" y="817759"/>
                </a:moveTo>
                <a:lnTo>
                  <a:pt x="690486" y="817759"/>
                </a:lnTo>
                <a:lnTo>
                  <a:pt x="1656378" y="817759"/>
                </a:lnTo>
                <a:lnTo>
                  <a:pt x="5292843" y="817759"/>
                </a:lnTo>
                <a:cubicBezTo>
                  <a:pt x="5440985" y="817759"/>
                  <a:pt x="5567601" y="937841"/>
                  <a:pt x="5567601" y="1092518"/>
                </a:cubicBezTo>
                <a:lnTo>
                  <a:pt x="5567601" y="2361229"/>
                </a:lnTo>
                <a:lnTo>
                  <a:pt x="4165092" y="2361229"/>
                </a:lnTo>
                <a:cubicBezTo>
                  <a:pt x="4101789" y="1734055"/>
                  <a:pt x="3565979" y="1240660"/>
                  <a:pt x="2924442" y="1240660"/>
                </a:cubicBezTo>
                <a:cubicBezTo>
                  <a:pt x="2282905" y="1240660"/>
                  <a:pt x="1747095" y="1734045"/>
                  <a:pt x="1683791" y="2361229"/>
                </a:cubicBezTo>
                <a:lnTo>
                  <a:pt x="260404" y="2361229"/>
                </a:lnTo>
                <a:lnTo>
                  <a:pt x="260404" y="1092518"/>
                </a:lnTo>
                <a:cubicBezTo>
                  <a:pt x="260404" y="945023"/>
                  <a:pt x="380486" y="817759"/>
                  <a:pt x="535162" y="817759"/>
                </a:cubicBezTo>
                <a:close/>
                <a:moveTo>
                  <a:pt x="3911870" y="2495674"/>
                </a:moveTo>
                <a:cubicBezTo>
                  <a:pt x="3911870" y="3038666"/>
                  <a:pt x="3468081" y="3482454"/>
                  <a:pt x="2925090" y="3482454"/>
                </a:cubicBezTo>
                <a:cubicBezTo>
                  <a:pt x="2382098" y="3482454"/>
                  <a:pt x="1938309" y="3038008"/>
                  <a:pt x="1938309" y="2495674"/>
                </a:cubicBezTo>
                <a:cubicBezTo>
                  <a:pt x="1938309" y="1953340"/>
                  <a:pt x="2382098" y="1508893"/>
                  <a:pt x="2925090" y="1508893"/>
                </a:cubicBezTo>
                <a:cubicBezTo>
                  <a:pt x="3467434" y="1501712"/>
                  <a:pt x="3911870" y="1945500"/>
                  <a:pt x="3911870" y="2495674"/>
                </a:cubicBezTo>
                <a:close/>
                <a:moveTo>
                  <a:pt x="5286308" y="4088092"/>
                </a:moveTo>
                <a:lnTo>
                  <a:pt x="535162" y="4088092"/>
                </a:lnTo>
                <a:cubicBezTo>
                  <a:pt x="387010" y="4088092"/>
                  <a:pt x="260404" y="3968010"/>
                  <a:pt x="260404" y="3813334"/>
                </a:cubicBezTo>
                <a:lnTo>
                  <a:pt x="260404" y="2622280"/>
                </a:lnTo>
                <a:lnTo>
                  <a:pt x="1677257" y="2622280"/>
                </a:lnTo>
                <a:cubicBezTo>
                  <a:pt x="1740560" y="3249454"/>
                  <a:pt x="2276370" y="3742849"/>
                  <a:pt x="2917908" y="3742849"/>
                </a:cubicBezTo>
                <a:cubicBezTo>
                  <a:pt x="3559445" y="3742849"/>
                  <a:pt x="4095255" y="3249463"/>
                  <a:pt x="4158558" y="2622280"/>
                </a:cubicBezTo>
                <a:lnTo>
                  <a:pt x="5553885" y="2622280"/>
                </a:lnTo>
                <a:lnTo>
                  <a:pt x="5553885" y="3813334"/>
                </a:lnTo>
                <a:cubicBezTo>
                  <a:pt x="5561067" y="3968658"/>
                  <a:pt x="5440985" y="4088092"/>
                  <a:pt x="5286308" y="4088092"/>
                </a:cubicBezTo>
                <a:close/>
                <a:moveTo>
                  <a:pt x="2925090" y="1861309"/>
                </a:moveTo>
                <a:cubicBezTo>
                  <a:pt x="2579846" y="1861309"/>
                  <a:pt x="2297906" y="2143249"/>
                  <a:pt x="2297906" y="2488483"/>
                </a:cubicBezTo>
                <a:cubicBezTo>
                  <a:pt x="2297906" y="2833716"/>
                  <a:pt x="2579846" y="3115656"/>
                  <a:pt x="2925090" y="3115656"/>
                </a:cubicBezTo>
                <a:cubicBezTo>
                  <a:pt x="3270333" y="3115656"/>
                  <a:pt x="3552273" y="2833716"/>
                  <a:pt x="3552273" y="2488483"/>
                </a:cubicBezTo>
                <a:cubicBezTo>
                  <a:pt x="3552273" y="2143249"/>
                  <a:pt x="3270333" y="1861309"/>
                  <a:pt x="2925090" y="1861309"/>
                </a:cubicBezTo>
                <a:close/>
                <a:moveTo>
                  <a:pt x="2925090" y="2861796"/>
                </a:moveTo>
                <a:cubicBezTo>
                  <a:pt x="2720816" y="2861796"/>
                  <a:pt x="2558310" y="2699947"/>
                  <a:pt x="2558310" y="2495017"/>
                </a:cubicBezTo>
                <a:cubicBezTo>
                  <a:pt x="2558310" y="2290087"/>
                  <a:pt x="2720159" y="2128238"/>
                  <a:pt x="2925090" y="2128238"/>
                </a:cubicBezTo>
                <a:cubicBezTo>
                  <a:pt x="3130020" y="2128238"/>
                  <a:pt x="3291869" y="2290087"/>
                  <a:pt x="3291869" y="2495017"/>
                </a:cubicBezTo>
                <a:cubicBezTo>
                  <a:pt x="3291221" y="2699947"/>
                  <a:pt x="3122190" y="2861796"/>
                  <a:pt x="2925090" y="2861796"/>
                </a:cubicBezTo>
                <a:close/>
                <a:moveTo>
                  <a:pt x="4933893" y="1318327"/>
                </a:moveTo>
                <a:cubicBezTo>
                  <a:pt x="4933893" y="1240660"/>
                  <a:pt x="4997196" y="1177357"/>
                  <a:pt x="5074863" y="1177357"/>
                </a:cubicBezTo>
                <a:cubicBezTo>
                  <a:pt x="5152530" y="1177357"/>
                  <a:pt x="5215833" y="1240660"/>
                  <a:pt x="5215833" y="1318327"/>
                </a:cubicBezTo>
                <a:cubicBezTo>
                  <a:pt x="5215833" y="1395994"/>
                  <a:pt x="5152530" y="1459297"/>
                  <a:pt x="5074863" y="1459297"/>
                </a:cubicBezTo>
                <a:cubicBezTo>
                  <a:pt x="4997196" y="1466469"/>
                  <a:pt x="4933893" y="1403166"/>
                  <a:pt x="4933893" y="1318327"/>
                </a:cubicBezTo>
                <a:close/>
                <a:moveTo>
                  <a:pt x="4411790" y="1318327"/>
                </a:moveTo>
                <a:cubicBezTo>
                  <a:pt x="4411790" y="1240660"/>
                  <a:pt x="4475093" y="1177357"/>
                  <a:pt x="4552760" y="1177357"/>
                </a:cubicBezTo>
                <a:cubicBezTo>
                  <a:pt x="4630427" y="1177357"/>
                  <a:pt x="4693730" y="1240660"/>
                  <a:pt x="4693730" y="1318327"/>
                </a:cubicBezTo>
                <a:cubicBezTo>
                  <a:pt x="4693730" y="1395994"/>
                  <a:pt x="4630427" y="1459297"/>
                  <a:pt x="4552760" y="1459297"/>
                </a:cubicBezTo>
                <a:cubicBezTo>
                  <a:pt x="4475741" y="1466469"/>
                  <a:pt x="4411790" y="1403166"/>
                  <a:pt x="4411790" y="131832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7" name="Forma libre 404">
            <a:extLst>
              <a:ext uri="{FF2B5EF4-FFF2-40B4-BE49-F238E27FC236}">
                <a16:creationId xmlns:a16="http://schemas.microsoft.com/office/drawing/2014/main" xmlns="" id="{C30CFCA6-B79B-5F47-965C-4B65668DF692}"/>
              </a:ext>
            </a:extLst>
          </p:cNvPr>
          <p:cNvSpPr/>
          <p:nvPr/>
        </p:nvSpPr>
        <p:spPr>
          <a:xfrm>
            <a:off x="7979556" y="2781720"/>
            <a:ext cx="301831" cy="301831"/>
          </a:xfrm>
          <a:custGeom>
            <a:avLst/>
            <a:gdLst>
              <a:gd name="connsiteX0" fmla="*/ 5548826 w 5829300"/>
              <a:gd name="connsiteY0" fmla="*/ 4152538 h 5829300"/>
              <a:gd name="connsiteX1" fmla="*/ 5765044 w 5829300"/>
              <a:gd name="connsiteY1" fmla="*/ 2288905 h 5829300"/>
              <a:gd name="connsiteX2" fmla="*/ 2919840 w 5829300"/>
              <a:gd name="connsiteY2" fmla="*/ 0 h 5829300"/>
              <a:gd name="connsiteX3" fmla="*/ 2293381 w 5829300"/>
              <a:gd name="connsiteY3" fmla="*/ 69447 h 5829300"/>
              <a:gd name="connsiteX4" fmla="*/ 460542 w 5829300"/>
              <a:gd name="connsiteY4" fmla="*/ 1345283 h 5829300"/>
              <a:gd name="connsiteX5" fmla="*/ 66045 w 5829300"/>
              <a:gd name="connsiteY5" fmla="*/ 3541109 h 5829300"/>
              <a:gd name="connsiteX6" fmla="*/ 630221 w 5829300"/>
              <a:gd name="connsiteY6" fmla="*/ 4723867 h 5829300"/>
              <a:gd name="connsiteX7" fmla="*/ 645975 w 5829300"/>
              <a:gd name="connsiteY7" fmla="*/ 4746774 h 5829300"/>
              <a:gd name="connsiteX8" fmla="*/ 668883 w 5829300"/>
              <a:gd name="connsiteY8" fmla="*/ 4769682 h 5829300"/>
              <a:gd name="connsiteX9" fmla="*/ 2903372 w 5829300"/>
              <a:gd name="connsiteY9" fmla="*/ 5829300 h 5829300"/>
              <a:gd name="connsiteX10" fmla="*/ 3529831 w 5829300"/>
              <a:gd name="connsiteY10" fmla="*/ 5759854 h 5829300"/>
              <a:gd name="connsiteX11" fmla="*/ 4720465 w 5829300"/>
              <a:gd name="connsiteY11" fmla="*/ 5195678 h 5829300"/>
              <a:gd name="connsiteX12" fmla="*/ 4728343 w 5829300"/>
              <a:gd name="connsiteY12" fmla="*/ 5195678 h 5829300"/>
              <a:gd name="connsiteX13" fmla="*/ 4736220 w 5829300"/>
              <a:gd name="connsiteY13" fmla="*/ 5187801 h 5829300"/>
              <a:gd name="connsiteX14" fmla="*/ 5540234 w 5829300"/>
              <a:gd name="connsiteY14" fmla="*/ 4174722 h 5829300"/>
              <a:gd name="connsiteX15" fmla="*/ 5548112 w 5829300"/>
              <a:gd name="connsiteY15" fmla="*/ 4166845 h 5829300"/>
              <a:gd name="connsiteX16" fmla="*/ 5548826 w 5829300"/>
              <a:gd name="connsiteY16" fmla="*/ 4152538 h 5829300"/>
              <a:gd name="connsiteX17" fmla="*/ 5478665 w 5829300"/>
              <a:gd name="connsiteY17" fmla="*/ 2343322 h 5829300"/>
              <a:gd name="connsiteX18" fmla="*/ 5339772 w 5829300"/>
              <a:gd name="connsiteY18" fmla="*/ 3905536 h 5829300"/>
              <a:gd name="connsiteX19" fmla="*/ 3058734 w 5829300"/>
              <a:gd name="connsiteY19" fmla="*/ 2815133 h 5829300"/>
              <a:gd name="connsiteX20" fmla="*/ 3050866 w 5829300"/>
              <a:gd name="connsiteY20" fmla="*/ 278511 h 5829300"/>
              <a:gd name="connsiteX21" fmla="*/ 5478665 w 5829300"/>
              <a:gd name="connsiteY21" fmla="*/ 2343322 h 5829300"/>
              <a:gd name="connsiteX22" fmla="*/ 708259 w 5829300"/>
              <a:gd name="connsiteY22" fmla="*/ 1484890 h 5829300"/>
              <a:gd name="connsiteX23" fmla="*/ 2354951 w 5829300"/>
              <a:gd name="connsiteY23" fmla="*/ 340795 h 5829300"/>
              <a:gd name="connsiteX24" fmla="*/ 2764478 w 5829300"/>
              <a:gd name="connsiteY24" fmla="*/ 286379 h 5829300"/>
              <a:gd name="connsiteX25" fmla="*/ 2772355 w 5829300"/>
              <a:gd name="connsiteY25" fmla="*/ 2838040 h 5829300"/>
              <a:gd name="connsiteX26" fmla="*/ 785583 w 5829300"/>
              <a:gd name="connsiteY26" fmla="*/ 4446794 h 5829300"/>
              <a:gd name="connsiteX27" fmla="*/ 344556 w 5829300"/>
              <a:gd name="connsiteY27" fmla="*/ 3472377 h 5829300"/>
              <a:gd name="connsiteX28" fmla="*/ 708259 w 5829300"/>
              <a:gd name="connsiteY28" fmla="*/ 1484890 h 5829300"/>
              <a:gd name="connsiteX29" fmla="*/ 3476138 w 5829300"/>
              <a:gd name="connsiteY29" fmla="*/ 5474903 h 5829300"/>
              <a:gd name="connsiteX30" fmla="*/ 2911963 w 5829300"/>
              <a:gd name="connsiteY30" fmla="*/ 5536473 h 5829300"/>
              <a:gd name="connsiteX31" fmla="*/ 971006 w 5829300"/>
              <a:gd name="connsiteY31" fmla="*/ 4670165 h 5829300"/>
              <a:gd name="connsiteX32" fmla="*/ 2896209 w 5829300"/>
              <a:gd name="connsiteY32" fmla="*/ 3115828 h 5829300"/>
              <a:gd name="connsiteX33" fmla="*/ 4442669 w 5829300"/>
              <a:gd name="connsiteY33" fmla="*/ 5056775 h 5829300"/>
              <a:gd name="connsiteX34" fmla="*/ 3476138 w 5829300"/>
              <a:gd name="connsiteY34" fmla="*/ 5474903 h 5829300"/>
              <a:gd name="connsiteX35" fmla="*/ 4659610 w 5829300"/>
              <a:gd name="connsiteY35" fmla="*/ 4872066 h 5829300"/>
              <a:gd name="connsiteX36" fmla="*/ 3414569 w 5829300"/>
              <a:gd name="connsiteY36" fmla="*/ 3302699 h 5829300"/>
              <a:gd name="connsiteX37" fmla="*/ 5223786 w 5829300"/>
              <a:gd name="connsiteY37" fmla="*/ 4161130 h 5829300"/>
              <a:gd name="connsiteX38" fmla="*/ 4659610 w 5829300"/>
              <a:gd name="connsiteY38" fmla="*/ 4872066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829300" h="5829300">
                <a:moveTo>
                  <a:pt x="5548826" y="4152538"/>
                </a:moveTo>
                <a:cubicBezTo>
                  <a:pt x="5811583" y="3588363"/>
                  <a:pt x="5904652" y="2938282"/>
                  <a:pt x="5765044" y="2288905"/>
                </a:cubicBezTo>
                <a:cubicBezTo>
                  <a:pt x="5478665" y="958663"/>
                  <a:pt x="4280153" y="0"/>
                  <a:pt x="2919840" y="0"/>
                </a:cubicBezTo>
                <a:cubicBezTo>
                  <a:pt x="2710785" y="0"/>
                  <a:pt x="2502436" y="22908"/>
                  <a:pt x="2293381" y="69447"/>
                </a:cubicBezTo>
                <a:cubicBezTo>
                  <a:pt x="1535905" y="231972"/>
                  <a:pt x="885814" y="688038"/>
                  <a:pt x="460542" y="1345283"/>
                </a:cubicBezTo>
                <a:cubicBezTo>
                  <a:pt x="43138" y="2002527"/>
                  <a:pt x="-96470" y="2775756"/>
                  <a:pt x="66045" y="3541109"/>
                </a:cubicBezTo>
                <a:cubicBezTo>
                  <a:pt x="159124" y="3982136"/>
                  <a:pt x="359587" y="4383786"/>
                  <a:pt x="630221" y="4723867"/>
                </a:cubicBezTo>
                <a:cubicBezTo>
                  <a:pt x="638098" y="4731744"/>
                  <a:pt x="638098" y="4739621"/>
                  <a:pt x="645975" y="4746774"/>
                </a:cubicBezTo>
                <a:cubicBezTo>
                  <a:pt x="653852" y="4754652"/>
                  <a:pt x="661729" y="4762529"/>
                  <a:pt x="668883" y="4769682"/>
                </a:cubicBezTo>
                <a:cubicBezTo>
                  <a:pt x="1210141" y="5419059"/>
                  <a:pt x="2022033" y="5829300"/>
                  <a:pt x="2903372" y="5829300"/>
                </a:cubicBezTo>
                <a:cubicBezTo>
                  <a:pt x="3112426" y="5829300"/>
                  <a:pt x="3320776" y="5806393"/>
                  <a:pt x="3529831" y="5759854"/>
                </a:cubicBezTo>
                <a:cubicBezTo>
                  <a:pt x="3978020" y="5659622"/>
                  <a:pt x="4380385" y="5466312"/>
                  <a:pt x="4720465" y="5195678"/>
                </a:cubicBezTo>
                <a:cubicBezTo>
                  <a:pt x="4720465" y="5195678"/>
                  <a:pt x="4720465" y="5195678"/>
                  <a:pt x="4728343" y="5195678"/>
                </a:cubicBezTo>
                <a:lnTo>
                  <a:pt x="4736220" y="5187801"/>
                </a:lnTo>
                <a:cubicBezTo>
                  <a:pt x="5076300" y="4917167"/>
                  <a:pt x="5346925" y="4569219"/>
                  <a:pt x="5540234" y="4174722"/>
                </a:cubicBezTo>
                <a:cubicBezTo>
                  <a:pt x="5540234" y="4174722"/>
                  <a:pt x="5540234" y="4166845"/>
                  <a:pt x="5548112" y="4166845"/>
                </a:cubicBezTo>
                <a:cubicBezTo>
                  <a:pt x="5540949" y="4160415"/>
                  <a:pt x="5548826" y="4152538"/>
                  <a:pt x="5548826" y="4152538"/>
                </a:cubicBezTo>
                <a:close/>
                <a:moveTo>
                  <a:pt x="5478665" y="2343322"/>
                </a:moveTo>
                <a:cubicBezTo>
                  <a:pt x="5594651" y="2884580"/>
                  <a:pt x="5540234" y="3425847"/>
                  <a:pt x="5339772" y="3905536"/>
                </a:cubicBezTo>
                <a:lnTo>
                  <a:pt x="3058734" y="2815133"/>
                </a:lnTo>
                <a:lnTo>
                  <a:pt x="3050866" y="278511"/>
                </a:lnTo>
                <a:cubicBezTo>
                  <a:pt x="4218584" y="348672"/>
                  <a:pt x="5231662" y="1191349"/>
                  <a:pt x="5478665" y="2343322"/>
                </a:cubicBezTo>
                <a:close/>
                <a:moveTo>
                  <a:pt x="708259" y="1484890"/>
                </a:moveTo>
                <a:cubicBezTo>
                  <a:pt x="1087002" y="897093"/>
                  <a:pt x="1666922" y="487566"/>
                  <a:pt x="2354951" y="340795"/>
                </a:cubicBezTo>
                <a:cubicBezTo>
                  <a:pt x="2493844" y="310010"/>
                  <a:pt x="2625584" y="294256"/>
                  <a:pt x="2764478" y="286379"/>
                </a:cubicBezTo>
                <a:lnTo>
                  <a:pt x="2772355" y="2838040"/>
                </a:lnTo>
                <a:lnTo>
                  <a:pt x="785583" y="4446794"/>
                </a:lnTo>
                <a:cubicBezTo>
                  <a:pt x="576528" y="4160415"/>
                  <a:pt x="421880" y="3828212"/>
                  <a:pt x="344556" y="3472377"/>
                </a:cubicBezTo>
                <a:cubicBezTo>
                  <a:pt x="197786" y="2784348"/>
                  <a:pt x="329516" y="2080565"/>
                  <a:pt x="708259" y="1484890"/>
                </a:cubicBezTo>
                <a:close/>
                <a:moveTo>
                  <a:pt x="3476138" y="5474903"/>
                </a:moveTo>
                <a:cubicBezTo>
                  <a:pt x="3290706" y="5513566"/>
                  <a:pt x="3105273" y="5536473"/>
                  <a:pt x="2911963" y="5536473"/>
                </a:cubicBezTo>
                <a:cubicBezTo>
                  <a:pt x="2154487" y="5536473"/>
                  <a:pt x="1458572" y="5204270"/>
                  <a:pt x="971006" y="4670165"/>
                </a:cubicBezTo>
                <a:lnTo>
                  <a:pt x="2896209" y="3115828"/>
                </a:lnTo>
                <a:lnTo>
                  <a:pt x="4442669" y="5056775"/>
                </a:lnTo>
                <a:cubicBezTo>
                  <a:pt x="4157014" y="5250809"/>
                  <a:pt x="3831964" y="5397580"/>
                  <a:pt x="3476138" y="5474903"/>
                </a:cubicBezTo>
                <a:close/>
                <a:moveTo>
                  <a:pt x="4659610" y="4872066"/>
                </a:moveTo>
                <a:lnTo>
                  <a:pt x="3414569" y="3302699"/>
                </a:lnTo>
                <a:lnTo>
                  <a:pt x="5223786" y="4161130"/>
                </a:lnTo>
                <a:cubicBezTo>
                  <a:pt x="5077015" y="4431040"/>
                  <a:pt x="4883705" y="4670889"/>
                  <a:pt x="4659610" y="487206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8" name="Forma libre 406">
            <a:extLst>
              <a:ext uri="{FF2B5EF4-FFF2-40B4-BE49-F238E27FC236}">
                <a16:creationId xmlns:a16="http://schemas.microsoft.com/office/drawing/2014/main" xmlns="" id="{EDF14857-8550-E54A-A88E-EE12E2F5325C}"/>
              </a:ext>
            </a:extLst>
          </p:cNvPr>
          <p:cNvSpPr/>
          <p:nvPr/>
        </p:nvSpPr>
        <p:spPr>
          <a:xfrm>
            <a:off x="6509085" y="2732390"/>
            <a:ext cx="301338" cy="300351"/>
          </a:xfrm>
          <a:custGeom>
            <a:avLst/>
            <a:gdLst>
              <a:gd name="connsiteX0" fmla="*/ 5448100 w 5819775"/>
              <a:gd name="connsiteY0" fmla="*/ 4329170 h 5800725"/>
              <a:gd name="connsiteX1" fmla="*/ 5828596 w 5819775"/>
              <a:gd name="connsiteY1" fmla="*/ 2898800 h 5800725"/>
              <a:gd name="connsiteX2" fmla="*/ 5448100 w 5819775"/>
              <a:gd name="connsiteY2" fmla="*/ 1468431 h 5800725"/>
              <a:gd name="connsiteX3" fmla="*/ 5425555 w 5819775"/>
              <a:gd name="connsiteY3" fmla="*/ 1438132 h 5800725"/>
              <a:gd name="connsiteX4" fmla="*/ 2914298 w 5819775"/>
              <a:gd name="connsiteY4" fmla="*/ 0 h 5800725"/>
              <a:gd name="connsiteX5" fmla="*/ 403041 w 5819775"/>
              <a:gd name="connsiteY5" fmla="*/ 1438123 h 5800725"/>
              <a:gd name="connsiteX6" fmla="*/ 380495 w 5819775"/>
              <a:gd name="connsiteY6" fmla="*/ 1468422 h 5800725"/>
              <a:gd name="connsiteX7" fmla="*/ 0 w 5819775"/>
              <a:gd name="connsiteY7" fmla="*/ 2898791 h 5800725"/>
              <a:gd name="connsiteX8" fmla="*/ 0 w 5819775"/>
              <a:gd name="connsiteY8" fmla="*/ 2898791 h 5800725"/>
              <a:gd name="connsiteX9" fmla="*/ 0 w 5819775"/>
              <a:gd name="connsiteY9" fmla="*/ 2898791 h 5800725"/>
              <a:gd name="connsiteX10" fmla="*/ 0 w 5819775"/>
              <a:gd name="connsiteY10" fmla="*/ 2898791 h 5800725"/>
              <a:gd name="connsiteX11" fmla="*/ 2907249 w 5819775"/>
              <a:gd name="connsiteY11" fmla="*/ 5806040 h 5800725"/>
              <a:gd name="connsiteX12" fmla="*/ 5418506 w 5819775"/>
              <a:gd name="connsiteY12" fmla="*/ 4367918 h 5800725"/>
              <a:gd name="connsiteX13" fmla="*/ 5448100 w 5819775"/>
              <a:gd name="connsiteY13" fmla="*/ 4329170 h 5800725"/>
              <a:gd name="connsiteX14" fmla="*/ 295942 w 5819775"/>
              <a:gd name="connsiteY14" fmla="*/ 3035484 h 5800725"/>
              <a:gd name="connsiteX15" fmla="*/ 1278179 w 5819775"/>
              <a:gd name="connsiteY15" fmla="*/ 3035484 h 5800725"/>
              <a:gd name="connsiteX16" fmla="*/ 1490977 w 5819775"/>
              <a:gd name="connsiteY16" fmla="*/ 4138917 h 5800725"/>
              <a:gd name="connsiteX17" fmla="*/ 600332 w 5819775"/>
              <a:gd name="connsiteY17" fmla="*/ 4138917 h 5800725"/>
              <a:gd name="connsiteX18" fmla="*/ 295942 w 5819775"/>
              <a:gd name="connsiteY18" fmla="*/ 3035484 h 5800725"/>
              <a:gd name="connsiteX19" fmla="*/ 600332 w 5819775"/>
              <a:gd name="connsiteY19" fmla="*/ 1657960 h 5800725"/>
              <a:gd name="connsiteX20" fmla="*/ 1490967 w 5819775"/>
              <a:gd name="connsiteY20" fmla="*/ 1657960 h 5800725"/>
              <a:gd name="connsiteX21" fmla="*/ 1278169 w 5819775"/>
              <a:gd name="connsiteY21" fmla="*/ 2753640 h 5800725"/>
              <a:gd name="connsiteX22" fmla="*/ 295942 w 5819775"/>
              <a:gd name="connsiteY22" fmla="*/ 2753640 h 5800725"/>
              <a:gd name="connsiteX23" fmla="*/ 600332 w 5819775"/>
              <a:gd name="connsiteY23" fmla="*/ 1657960 h 5800725"/>
              <a:gd name="connsiteX24" fmla="*/ 5539702 w 5819775"/>
              <a:gd name="connsiteY24" fmla="*/ 2753640 h 5800725"/>
              <a:gd name="connsiteX25" fmla="*/ 4572972 w 5819775"/>
              <a:gd name="connsiteY25" fmla="*/ 2753640 h 5800725"/>
              <a:gd name="connsiteX26" fmla="*/ 4360174 w 5819775"/>
              <a:gd name="connsiteY26" fmla="*/ 1657960 h 5800725"/>
              <a:gd name="connsiteX27" fmla="*/ 5235312 w 5819775"/>
              <a:gd name="connsiteY27" fmla="*/ 1657960 h 5800725"/>
              <a:gd name="connsiteX28" fmla="*/ 5539702 w 5819775"/>
              <a:gd name="connsiteY28" fmla="*/ 2753640 h 5800725"/>
              <a:gd name="connsiteX29" fmla="*/ 4291117 w 5819775"/>
              <a:gd name="connsiteY29" fmla="*/ 2753640 h 5800725"/>
              <a:gd name="connsiteX30" fmla="*/ 3058039 w 5819775"/>
              <a:gd name="connsiteY30" fmla="*/ 2753640 h 5800725"/>
              <a:gd name="connsiteX31" fmla="*/ 3058039 w 5819775"/>
              <a:gd name="connsiteY31" fmla="*/ 1657960 h 5800725"/>
              <a:gd name="connsiteX32" fmla="*/ 4055069 w 5819775"/>
              <a:gd name="connsiteY32" fmla="*/ 1657960 h 5800725"/>
              <a:gd name="connsiteX33" fmla="*/ 4291117 w 5819775"/>
              <a:gd name="connsiteY33" fmla="*/ 2753640 h 5800725"/>
              <a:gd name="connsiteX34" fmla="*/ 3058744 w 5819775"/>
              <a:gd name="connsiteY34" fmla="*/ 1376115 h 5800725"/>
              <a:gd name="connsiteX35" fmla="*/ 3058744 w 5819775"/>
              <a:gd name="connsiteY35" fmla="*/ 310734 h 5800725"/>
              <a:gd name="connsiteX36" fmla="*/ 3926129 w 5819775"/>
              <a:gd name="connsiteY36" fmla="*/ 1368362 h 5800725"/>
              <a:gd name="connsiteX37" fmla="*/ 3058744 w 5819775"/>
              <a:gd name="connsiteY37" fmla="*/ 1368362 h 5800725"/>
              <a:gd name="connsiteX38" fmla="*/ 3058744 w 5819775"/>
              <a:gd name="connsiteY38" fmla="*/ 1376115 h 5800725"/>
              <a:gd name="connsiteX39" fmla="*/ 2776900 w 5819775"/>
              <a:gd name="connsiteY39" fmla="*/ 326231 h 5800725"/>
              <a:gd name="connsiteX40" fmla="*/ 2776900 w 5819775"/>
              <a:gd name="connsiteY40" fmla="*/ 1369066 h 5800725"/>
              <a:gd name="connsiteX41" fmla="*/ 1924317 w 5819775"/>
              <a:gd name="connsiteY41" fmla="*/ 1369066 h 5800725"/>
              <a:gd name="connsiteX42" fmla="*/ 2776900 w 5819775"/>
              <a:gd name="connsiteY42" fmla="*/ 326231 h 5800725"/>
              <a:gd name="connsiteX43" fmla="*/ 2776900 w 5819775"/>
              <a:gd name="connsiteY43" fmla="*/ 1657960 h 5800725"/>
              <a:gd name="connsiteX44" fmla="*/ 2776900 w 5819775"/>
              <a:gd name="connsiteY44" fmla="*/ 2753640 h 5800725"/>
              <a:gd name="connsiteX45" fmla="*/ 1559319 w 5819775"/>
              <a:gd name="connsiteY45" fmla="*/ 2753640 h 5800725"/>
              <a:gd name="connsiteX46" fmla="*/ 1795367 w 5819775"/>
              <a:gd name="connsiteY46" fmla="*/ 1657960 h 5800725"/>
              <a:gd name="connsiteX47" fmla="*/ 2776900 w 5819775"/>
              <a:gd name="connsiteY47" fmla="*/ 1657960 h 5800725"/>
              <a:gd name="connsiteX48" fmla="*/ 1559319 w 5819775"/>
              <a:gd name="connsiteY48" fmla="*/ 3035484 h 5800725"/>
              <a:gd name="connsiteX49" fmla="*/ 2776900 w 5819775"/>
              <a:gd name="connsiteY49" fmla="*/ 3035484 h 5800725"/>
              <a:gd name="connsiteX50" fmla="*/ 2776900 w 5819775"/>
              <a:gd name="connsiteY50" fmla="*/ 4138917 h 5800725"/>
              <a:gd name="connsiteX51" fmla="*/ 1795367 w 5819775"/>
              <a:gd name="connsiteY51" fmla="*/ 4138917 h 5800725"/>
              <a:gd name="connsiteX52" fmla="*/ 1559319 w 5819775"/>
              <a:gd name="connsiteY52" fmla="*/ 3035484 h 5800725"/>
              <a:gd name="connsiteX53" fmla="*/ 2776900 w 5819775"/>
              <a:gd name="connsiteY53" fmla="*/ 4420057 h 5800725"/>
              <a:gd name="connsiteX54" fmla="*/ 2776900 w 5819775"/>
              <a:gd name="connsiteY54" fmla="*/ 5462893 h 5800725"/>
              <a:gd name="connsiteX55" fmla="*/ 1924317 w 5819775"/>
              <a:gd name="connsiteY55" fmla="*/ 4420057 h 5800725"/>
              <a:gd name="connsiteX56" fmla="*/ 2776900 w 5819775"/>
              <a:gd name="connsiteY56" fmla="*/ 4420057 h 5800725"/>
              <a:gd name="connsiteX57" fmla="*/ 3058744 w 5819775"/>
              <a:gd name="connsiteY57" fmla="*/ 5477695 h 5800725"/>
              <a:gd name="connsiteX58" fmla="*/ 3058744 w 5819775"/>
              <a:gd name="connsiteY58" fmla="*/ 4420057 h 5800725"/>
              <a:gd name="connsiteX59" fmla="*/ 3926129 w 5819775"/>
              <a:gd name="connsiteY59" fmla="*/ 4420057 h 5800725"/>
              <a:gd name="connsiteX60" fmla="*/ 3058744 w 5819775"/>
              <a:gd name="connsiteY60" fmla="*/ 5477695 h 5800725"/>
              <a:gd name="connsiteX61" fmla="*/ 3058744 w 5819775"/>
              <a:gd name="connsiteY61" fmla="*/ 4138917 h 5800725"/>
              <a:gd name="connsiteX62" fmla="*/ 3058744 w 5819775"/>
              <a:gd name="connsiteY62" fmla="*/ 3035484 h 5800725"/>
              <a:gd name="connsiteX63" fmla="*/ 4291822 w 5819775"/>
              <a:gd name="connsiteY63" fmla="*/ 3035484 h 5800725"/>
              <a:gd name="connsiteX64" fmla="*/ 4055774 w 5819775"/>
              <a:gd name="connsiteY64" fmla="*/ 4138917 h 5800725"/>
              <a:gd name="connsiteX65" fmla="*/ 3058744 w 5819775"/>
              <a:gd name="connsiteY65" fmla="*/ 4138917 h 5800725"/>
              <a:gd name="connsiteX66" fmla="*/ 3058744 w 5819775"/>
              <a:gd name="connsiteY66" fmla="*/ 4138917 h 5800725"/>
              <a:gd name="connsiteX67" fmla="*/ 4572972 w 5819775"/>
              <a:gd name="connsiteY67" fmla="*/ 3035484 h 5800725"/>
              <a:gd name="connsiteX68" fmla="*/ 5539712 w 5819775"/>
              <a:gd name="connsiteY68" fmla="*/ 3035484 h 5800725"/>
              <a:gd name="connsiteX69" fmla="*/ 5227568 w 5819775"/>
              <a:gd name="connsiteY69" fmla="*/ 4138917 h 5800725"/>
              <a:gd name="connsiteX70" fmla="*/ 4360183 w 5819775"/>
              <a:gd name="connsiteY70" fmla="*/ 4138917 h 5800725"/>
              <a:gd name="connsiteX71" fmla="*/ 4572972 w 5819775"/>
              <a:gd name="connsiteY71" fmla="*/ 3035484 h 5800725"/>
              <a:gd name="connsiteX72" fmla="*/ 5059861 w 5819775"/>
              <a:gd name="connsiteY72" fmla="*/ 1376115 h 5800725"/>
              <a:gd name="connsiteX73" fmla="*/ 4238273 w 5819775"/>
              <a:gd name="connsiteY73" fmla="*/ 1376115 h 5800725"/>
              <a:gd name="connsiteX74" fmla="*/ 3507581 w 5819775"/>
              <a:gd name="connsiteY74" fmla="*/ 341033 h 5800725"/>
              <a:gd name="connsiteX75" fmla="*/ 5059861 w 5819775"/>
              <a:gd name="connsiteY75" fmla="*/ 1376115 h 5800725"/>
              <a:gd name="connsiteX76" fmla="*/ 2350608 w 5819775"/>
              <a:gd name="connsiteY76" fmla="*/ 333985 h 5800725"/>
              <a:gd name="connsiteX77" fmla="*/ 1612173 w 5819775"/>
              <a:gd name="connsiteY77" fmla="*/ 1376820 h 5800725"/>
              <a:gd name="connsiteX78" fmla="*/ 775783 w 5819775"/>
              <a:gd name="connsiteY78" fmla="*/ 1376820 h 5800725"/>
              <a:gd name="connsiteX79" fmla="*/ 2350608 w 5819775"/>
              <a:gd name="connsiteY79" fmla="*/ 333985 h 5800725"/>
              <a:gd name="connsiteX80" fmla="*/ 775783 w 5819775"/>
              <a:gd name="connsiteY80" fmla="*/ 4420057 h 5800725"/>
              <a:gd name="connsiteX81" fmla="*/ 1605115 w 5819775"/>
              <a:gd name="connsiteY81" fmla="*/ 4420057 h 5800725"/>
              <a:gd name="connsiteX82" fmla="*/ 2343550 w 5819775"/>
              <a:gd name="connsiteY82" fmla="*/ 5462893 h 5800725"/>
              <a:gd name="connsiteX83" fmla="*/ 775783 w 5819775"/>
              <a:gd name="connsiteY83" fmla="*/ 4420057 h 5800725"/>
              <a:gd name="connsiteX84" fmla="*/ 3507581 w 5819775"/>
              <a:gd name="connsiteY84" fmla="*/ 5455149 h 5800725"/>
              <a:gd name="connsiteX85" fmla="*/ 4238273 w 5819775"/>
              <a:gd name="connsiteY85" fmla="*/ 4420067 h 5800725"/>
              <a:gd name="connsiteX86" fmla="*/ 5052813 w 5819775"/>
              <a:gd name="connsiteY86" fmla="*/ 4420067 h 5800725"/>
              <a:gd name="connsiteX87" fmla="*/ 3507581 w 5819775"/>
              <a:gd name="connsiteY87" fmla="*/ 5455149 h 580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5819775" h="5800725">
                <a:moveTo>
                  <a:pt x="5448100" y="4329170"/>
                </a:moveTo>
                <a:cubicBezTo>
                  <a:pt x="5691902" y="3902878"/>
                  <a:pt x="5828596" y="3415989"/>
                  <a:pt x="5828596" y="2898800"/>
                </a:cubicBezTo>
                <a:cubicBezTo>
                  <a:pt x="5828596" y="2381612"/>
                  <a:pt x="5691902" y="1886969"/>
                  <a:pt x="5448100" y="1468431"/>
                </a:cubicBezTo>
                <a:cubicBezTo>
                  <a:pt x="5440347" y="1452934"/>
                  <a:pt x="5432603" y="1445886"/>
                  <a:pt x="5425555" y="1438132"/>
                </a:cubicBezTo>
                <a:cubicBezTo>
                  <a:pt x="4923158" y="578491"/>
                  <a:pt x="3987432" y="0"/>
                  <a:pt x="2914298" y="0"/>
                </a:cubicBezTo>
                <a:cubicBezTo>
                  <a:pt x="1848917" y="0"/>
                  <a:pt x="913181" y="578491"/>
                  <a:pt x="403041" y="1438123"/>
                </a:cubicBezTo>
                <a:cubicBezTo>
                  <a:pt x="395288" y="1445876"/>
                  <a:pt x="387544" y="1460668"/>
                  <a:pt x="380495" y="1468422"/>
                </a:cubicBezTo>
                <a:cubicBezTo>
                  <a:pt x="136693" y="1886960"/>
                  <a:pt x="0" y="2373849"/>
                  <a:pt x="0" y="2898791"/>
                </a:cubicBezTo>
                <a:lnTo>
                  <a:pt x="0" y="2898791"/>
                </a:lnTo>
                <a:lnTo>
                  <a:pt x="0" y="2898791"/>
                </a:lnTo>
                <a:lnTo>
                  <a:pt x="0" y="2898791"/>
                </a:lnTo>
                <a:cubicBezTo>
                  <a:pt x="0" y="4504611"/>
                  <a:pt x="1301429" y="5806040"/>
                  <a:pt x="2907249" y="5806040"/>
                </a:cubicBezTo>
                <a:cubicBezTo>
                  <a:pt x="3972630" y="5806040"/>
                  <a:pt x="4908366" y="5227549"/>
                  <a:pt x="5418506" y="4367918"/>
                </a:cubicBezTo>
                <a:cubicBezTo>
                  <a:pt x="5432603" y="4351716"/>
                  <a:pt x="5440347" y="4343962"/>
                  <a:pt x="5448100" y="4329170"/>
                </a:cubicBezTo>
                <a:close/>
                <a:moveTo>
                  <a:pt x="295942" y="3035484"/>
                </a:moveTo>
                <a:lnTo>
                  <a:pt x="1278179" y="3035484"/>
                </a:lnTo>
                <a:cubicBezTo>
                  <a:pt x="1293676" y="3415979"/>
                  <a:pt x="1369781" y="3788721"/>
                  <a:pt x="1490977" y="4138917"/>
                </a:cubicBezTo>
                <a:lnTo>
                  <a:pt x="600332" y="4138917"/>
                </a:lnTo>
                <a:cubicBezTo>
                  <a:pt x="425587" y="3803523"/>
                  <a:pt x="319192" y="3430781"/>
                  <a:pt x="295942" y="3035484"/>
                </a:cubicBezTo>
                <a:close/>
                <a:moveTo>
                  <a:pt x="600332" y="1657960"/>
                </a:moveTo>
                <a:lnTo>
                  <a:pt x="1490967" y="1657960"/>
                </a:lnTo>
                <a:cubicBezTo>
                  <a:pt x="1361313" y="2008156"/>
                  <a:pt x="1292971" y="2373144"/>
                  <a:pt x="1278169" y="2753640"/>
                </a:cubicBezTo>
                <a:lnTo>
                  <a:pt x="295942" y="2753640"/>
                </a:lnTo>
                <a:cubicBezTo>
                  <a:pt x="319192" y="2357647"/>
                  <a:pt x="425587" y="1984905"/>
                  <a:pt x="600332" y="1657960"/>
                </a:cubicBezTo>
                <a:close/>
                <a:moveTo>
                  <a:pt x="5539702" y="2753640"/>
                </a:moveTo>
                <a:lnTo>
                  <a:pt x="4572972" y="2753640"/>
                </a:lnTo>
                <a:cubicBezTo>
                  <a:pt x="4557475" y="2373144"/>
                  <a:pt x="4481370" y="2008156"/>
                  <a:pt x="4360174" y="1657960"/>
                </a:cubicBezTo>
                <a:lnTo>
                  <a:pt x="5235312" y="1657960"/>
                </a:lnTo>
                <a:cubicBezTo>
                  <a:pt x="5410057" y="1984905"/>
                  <a:pt x="5516452" y="2357647"/>
                  <a:pt x="5539702" y="2753640"/>
                </a:cubicBezTo>
                <a:close/>
                <a:moveTo>
                  <a:pt x="4291117" y="2753640"/>
                </a:moveTo>
                <a:lnTo>
                  <a:pt x="3058039" y="2753640"/>
                </a:lnTo>
                <a:lnTo>
                  <a:pt x="3058039" y="1657960"/>
                </a:lnTo>
                <a:lnTo>
                  <a:pt x="4055069" y="1657960"/>
                </a:lnTo>
                <a:cubicBezTo>
                  <a:pt x="4192476" y="2000402"/>
                  <a:pt x="4276325" y="2365401"/>
                  <a:pt x="4291117" y="2753640"/>
                </a:cubicBezTo>
                <a:close/>
                <a:moveTo>
                  <a:pt x="3058744" y="1376115"/>
                </a:moveTo>
                <a:lnTo>
                  <a:pt x="3058744" y="310734"/>
                </a:lnTo>
                <a:cubicBezTo>
                  <a:pt x="3423733" y="607381"/>
                  <a:pt x="3721084" y="965321"/>
                  <a:pt x="3926129" y="1368362"/>
                </a:cubicBezTo>
                <a:lnTo>
                  <a:pt x="3058744" y="1368362"/>
                </a:lnTo>
                <a:lnTo>
                  <a:pt x="3058744" y="1376115"/>
                </a:lnTo>
                <a:close/>
                <a:moveTo>
                  <a:pt x="2776900" y="326231"/>
                </a:moveTo>
                <a:lnTo>
                  <a:pt x="2776900" y="1369066"/>
                </a:lnTo>
                <a:lnTo>
                  <a:pt x="1924317" y="1369066"/>
                </a:lnTo>
                <a:cubicBezTo>
                  <a:pt x="2130057" y="973074"/>
                  <a:pt x="2419655" y="622878"/>
                  <a:pt x="2776900" y="326231"/>
                </a:cubicBezTo>
                <a:close/>
                <a:moveTo>
                  <a:pt x="2776900" y="1657960"/>
                </a:moveTo>
                <a:lnTo>
                  <a:pt x="2776900" y="2753640"/>
                </a:lnTo>
                <a:lnTo>
                  <a:pt x="1559319" y="2753640"/>
                </a:lnTo>
                <a:cubicBezTo>
                  <a:pt x="1574816" y="2373144"/>
                  <a:pt x="1657969" y="2000402"/>
                  <a:pt x="1795367" y="1657960"/>
                </a:cubicBezTo>
                <a:lnTo>
                  <a:pt x="2776900" y="1657960"/>
                </a:lnTo>
                <a:close/>
                <a:moveTo>
                  <a:pt x="1559319" y="3035484"/>
                </a:moveTo>
                <a:lnTo>
                  <a:pt x="2776900" y="3035484"/>
                </a:lnTo>
                <a:lnTo>
                  <a:pt x="2776900" y="4138917"/>
                </a:lnTo>
                <a:lnTo>
                  <a:pt x="1795367" y="4138917"/>
                </a:lnTo>
                <a:cubicBezTo>
                  <a:pt x="1658674" y="3788721"/>
                  <a:pt x="1574816" y="3415979"/>
                  <a:pt x="1559319" y="3035484"/>
                </a:cubicBezTo>
                <a:close/>
                <a:moveTo>
                  <a:pt x="2776900" y="4420057"/>
                </a:moveTo>
                <a:lnTo>
                  <a:pt x="2776900" y="5462893"/>
                </a:lnTo>
                <a:cubicBezTo>
                  <a:pt x="2418950" y="5173999"/>
                  <a:pt x="2130057" y="4816050"/>
                  <a:pt x="1924317" y="4420057"/>
                </a:cubicBezTo>
                <a:lnTo>
                  <a:pt x="2776900" y="4420057"/>
                </a:lnTo>
                <a:close/>
                <a:moveTo>
                  <a:pt x="3058744" y="5477695"/>
                </a:moveTo>
                <a:lnTo>
                  <a:pt x="3058744" y="4420057"/>
                </a:lnTo>
                <a:lnTo>
                  <a:pt x="3926129" y="4420057"/>
                </a:lnTo>
                <a:cubicBezTo>
                  <a:pt x="3713331" y="4823803"/>
                  <a:pt x="3423733" y="5181048"/>
                  <a:pt x="3058744" y="5477695"/>
                </a:cubicBezTo>
                <a:close/>
                <a:moveTo>
                  <a:pt x="3058744" y="4138917"/>
                </a:moveTo>
                <a:lnTo>
                  <a:pt x="3058744" y="3035484"/>
                </a:lnTo>
                <a:lnTo>
                  <a:pt x="4291822" y="3035484"/>
                </a:lnTo>
                <a:cubicBezTo>
                  <a:pt x="4276325" y="3423733"/>
                  <a:pt x="4193172" y="3796475"/>
                  <a:pt x="4055774" y="4138917"/>
                </a:cubicBezTo>
                <a:lnTo>
                  <a:pt x="3058744" y="4138917"/>
                </a:lnTo>
                <a:lnTo>
                  <a:pt x="3058744" y="4138917"/>
                </a:lnTo>
                <a:close/>
                <a:moveTo>
                  <a:pt x="4572972" y="3035484"/>
                </a:moveTo>
                <a:lnTo>
                  <a:pt x="5539712" y="3035484"/>
                </a:lnTo>
                <a:cubicBezTo>
                  <a:pt x="5517166" y="3431477"/>
                  <a:pt x="5410057" y="3811972"/>
                  <a:pt x="5227568" y="4138917"/>
                </a:cubicBezTo>
                <a:lnTo>
                  <a:pt x="4360183" y="4138917"/>
                </a:lnTo>
                <a:cubicBezTo>
                  <a:pt x="4481370" y="3788721"/>
                  <a:pt x="4557465" y="3415979"/>
                  <a:pt x="4572972" y="3035484"/>
                </a:cubicBezTo>
                <a:close/>
                <a:moveTo>
                  <a:pt x="5059861" y="1376115"/>
                </a:moveTo>
                <a:lnTo>
                  <a:pt x="4238273" y="1376115"/>
                </a:lnTo>
                <a:cubicBezTo>
                  <a:pt x="4063527" y="995620"/>
                  <a:pt x="3811981" y="637680"/>
                  <a:pt x="3507581" y="341033"/>
                </a:cubicBezTo>
                <a:cubicBezTo>
                  <a:pt x="4138927" y="486185"/>
                  <a:pt x="4687119" y="858926"/>
                  <a:pt x="5059861" y="1376115"/>
                </a:cubicBezTo>
                <a:close/>
                <a:moveTo>
                  <a:pt x="2350608" y="333985"/>
                </a:moveTo>
                <a:cubicBezTo>
                  <a:pt x="2038464" y="638375"/>
                  <a:pt x="1795367" y="988571"/>
                  <a:pt x="1612173" y="1376820"/>
                </a:cubicBezTo>
                <a:lnTo>
                  <a:pt x="775783" y="1376820"/>
                </a:lnTo>
                <a:cubicBezTo>
                  <a:pt x="1148525" y="851173"/>
                  <a:pt x="1703765" y="470678"/>
                  <a:pt x="2350608" y="333985"/>
                </a:cubicBezTo>
                <a:close/>
                <a:moveTo>
                  <a:pt x="775783" y="4420057"/>
                </a:moveTo>
                <a:lnTo>
                  <a:pt x="1605115" y="4420057"/>
                </a:lnTo>
                <a:cubicBezTo>
                  <a:pt x="1787614" y="4808306"/>
                  <a:pt x="2031406" y="5158493"/>
                  <a:pt x="2343550" y="5462893"/>
                </a:cubicBezTo>
                <a:cubicBezTo>
                  <a:pt x="1703765" y="5318446"/>
                  <a:pt x="1148525" y="4937960"/>
                  <a:pt x="775783" y="4420057"/>
                </a:cubicBezTo>
                <a:close/>
                <a:moveTo>
                  <a:pt x="3507581" y="5455149"/>
                </a:moveTo>
                <a:cubicBezTo>
                  <a:pt x="3811972" y="5150758"/>
                  <a:pt x="4062822" y="4800562"/>
                  <a:pt x="4238273" y="4420067"/>
                </a:cubicBezTo>
                <a:lnTo>
                  <a:pt x="5052813" y="4420067"/>
                </a:lnTo>
                <a:cubicBezTo>
                  <a:pt x="4687119" y="4930207"/>
                  <a:pt x="4138927" y="5310702"/>
                  <a:pt x="3507581" y="545514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79" name="Forma libre 408">
            <a:extLst>
              <a:ext uri="{FF2B5EF4-FFF2-40B4-BE49-F238E27FC236}">
                <a16:creationId xmlns:a16="http://schemas.microsoft.com/office/drawing/2014/main" xmlns="" id="{C3293F66-1CED-AE4C-939E-E2459AFD5CF2}"/>
              </a:ext>
            </a:extLst>
          </p:cNvPr>
          <p:cNvSpPr/>
          <p:nvPr/>
        </p:nvSpPr>
        <p:spPr>
          <a:xfrm>
            <a:off x="4276895" y="2765389"/>
            <a:ext cx="301338" cy="232785"/>
          </a:xfrm>
          <a:custGeom>
            <a:avLst/>
            <a:gdLst>
              <a:gd name="connsiteX0" fmla="*/ 5700770 w 5819775"/>
              <a:gd name="connsiteY0" fmla="*/ 0 h 4495800"/>
              <a:gd name="connsiteX1" fmla="*/ 4772825 w 5819775"/>
              <a:gd name="connsiteY1" fmla="*/ 0 h 4495800"/>
              <a:gd name="connsiteX2" fmla="*/ 3844881 w 5819775"/>
              <a:gd name="connsiteY2" fmla="*/ 0 h 4495800"/>
              <a:gd name="connsiteX3" fmla="*/ 2917603 w 5819775"/>
              <a:gd name="connsiteY3" fmla="*/ 0 h 4495800"/>
              <a:gd name="connsiteX4" fmla="*/ 1989658 w 5819775"/>
              <a:gd name="connsiteY4" fmla="*/ 0 h 4495800"/>
              <a:gd name="connsiteX5" fmla="*/ 1061714 w 5819775"/>
              <a:gd name="connsiteY5" fmla="*/ 0 h 4495800"/>
              <a:gd name="connsiteX6" fmla="*/ 127216 w 5819775"/>
              <a:gd name="connsiteY6" fmla="*/ 0 h 4495800"/>
              <a:gd name="connsiteX7" fmla="*/ 0 w 5819775"/>
              <a:gd name="connsiteY7" fmla="*/ 127225 h 4495800"/>
              <a:gd name="connsiteX8" fmla="*/ 0 w 5819775"/>
              <a:gd name="connsiteY8" fmla="*/ 906304 h 4495800"/>
              <a:gd name="connsiteX9" fmla="*/ 0 w 5819775"/>
              <a:gd name="connsiteY9" fmla="*/ 3590449 h 4495800"/>
              <a:gd name="connsiteX10" fmla="*/ 0 w 5819775"/>
              <a:gd name="connsiteY10" fmla="*/ 4369527 h 4495800"/>
              <a:gd name="connsiteX11" fmla="*/ 127225 w 5819775"/>
              <a:gd name="connsiteY11" fmla="*/ 4496753 h 4495800"/>
              <a:gd name="connsiteX12" fmla="*/ 1054513 w 5819775"/>
              <a:gd name="connsiteY12" fmla="*/ 4496753 h 4495800"/>
              <a:gd name="connsiteX13" fmla="*/ 1989668 w 5819775"/>
              <a:gd name="connsiteY13" fmla="*/ 4496753 h 4495800"/>
              <a:gd name="connsiteX14" fmla="*/ 2917612 w 5819775"/>
              <a:gd name="connsiteY14" fmla="*/ 4496753 h 4495800"/>
              <a:gd name="connsiteX15" fmla="*/ 3845557 w 5819775"/>
              <a:gd name="connsiteY15" fmla="*/ 4496753 h 4495800"/>
              <a:gd name="connsiteX16" fmla="*/ 4772844 w 5819775"/>
              <a:gd name="connsiteY16" fmla="*/ 4496753 h 4495800"/>
              <a:gd name="connsiteX17" fmla="*/ 5700789 w 5819775"/>
              <a:gd name="connsiteY17" fmla="*/ 4496753 h 4495800"/>
              <a:gd name="connsiteX18" fmla="*/ 5828014 w 5819775"/>
              <a:gd name="connsiteY18" fmla="*/ 4369527 h 4495800"/>
              <a:gd name="connsiteX19" fmla="*/ 5828014 w 5819775"/>
              <a:gd name="connsiteY19" fmla="*/ 3590439 h 4495800"/>
              <a:gd name="connsiteX20" fmla="*/ 5828014 w 5819775"/>
              <a:gd name="connsiteY20" fmla="*/ 906294 h 4495800"/>
              <a:gd name="connsiteX21" fmla="*/ 5828014 w 5819775"/>
              <a:gd name="connsiteY21" fmla="*/ 127225 h 4495800"/>
              <a:gd name="connsiteX22" fmla="*/ 5700770 w 5819775"/>
              <a:gd name="connsiteY22" fmla="*/ 0 h 4495800"/>
              <a:gd name="connsiteX23" fmla="*/ 4772825 w 5819775"/>
              <a:gd name="connsiteY23" fmla="*/ 3456003 h 4495800"/>
              <a:gd name="connsiteX24" fmla="*/ 3844881 w 5819775"/>
              <a:gd name="connsiteY24" fmla="*/ 3456003 h 4495800"/>
              <a:gd name="connsiteX25" fmla="*/ 2917603 w 5819775"/>
              <a:gd name="connsiteY25" fmla="*/ 3456003 h 4495800"/>
              <a:gd name="connsiteX26" fmla="*/ 1989658 w 5819775"/>
              <a:gd name="connsiteY26" fmla="*/ 3456003 h 4495800"/>
              <a:gd name="connsiteX27" fmla="*/ 1061714 w 5819775"/>
              <a:gd name="connsiteY27" fmla="*/ 3456003 h 4495800"/>
              <a:gd name="connsiteX28" fmla="*/ 261661 w 5819775"/>
              <a:gd name="connsiteY28" fmla="*/ 3456003 h 4495800"/>
              <a:gd name="connsiteX29" fmla="*/ 261661 w 5819775"/>
              <a:gd name="connsiteY29" fmla="*/ 1033529 h 4495800"/>
              <a:gd name="connsiteX30" fmla="*/ 1061723 w 5819775"/>
              <a:gd name="connsiteY30" fmla="*/ 1033529 h 4495800"/>
              <a:gd name="connsiteX31" fmla="*/ 1989668 w 5819775"/>
              <a:gd name="connsiteY31" fmla="*/ 1033529 h 4495800"/>
              <a:gd name="connsiteX32" fmla="*/ 2917612 w 5819775"/>
              <a:gd name="connsiteY32" fmla="*/ 1033529 h 4495800"/>
              <a:gd name="connsiteX33" fmla="*/ 3845557 w 5819775"/>
              <a:gd name="connsiteY33" fmla="*/ 1033529 h 4495800"/>
              <a:gd name="connsiteX34" fmla="*/ 4772844 w 5819775"/>
              <a:gd name="connsiteY34" fmla="*/ 1033529 h 4495800"/>
              <a:gd name="connsiteX35" fmla="*/ 5572906 w 5819775"/>
              <a:gd name="connsiteY35" fmla="*/ 1033529 h 4495800"/>
              <a:gd name="connsiteX36" fmla="*/ 5572906 w 5819775"/>
              <a:gd name="connsiteY36" fmla="*/ 3456013 h 4495800"/>
              <a:gd name="connsiteX37" fmla="*/ 4772825 w 5819775"/>
              <a:gd name="connsiteY37" fmla="*/ 3456013 h 4495800"/>
              <a:gd name="connsiteX38" fmla="*/ 5573544 w 5819775"/>
              <a:gd name="connsiteY38" fmla="*/ 771868 h 4495800"/>
              <a:gd name="connsiteX39" fmla="*/ 4907919 w 5819775"/>
              <a:gd name="connsiteY39" fmla="*/ 771868 h 4495800"/>
              <a:gd name="connsiteX40" fmla="*/ 4907919 w 5819775"/>
              <a:gd name="connsiteY40" fmla="*/ 255108 h 4495800"/>
              <a:gd name="connsiteX41" fmla="*/ 5573544 w 5819775"/>
              <a:gd name="connsiteY41" fmla="*/ 255108 h 4495800"/>
              <a:gd name="connsiteX42" fmla="*/ 5573544 w 5819775"/>
              <a:gd name="connsiteY42" fmla="*/ 771868 h 4495800"/>
              <a:gd name="connsiteX43" fmla="*/ 4645600 w 5819775"/>
              <a:gd name="connsiteY43" fmla="*/ 771868 h 4495800"/>
              <a:gd name="connsiteX44" fmla="*/ 3972763 w 5819775"/>
              <a:gd name="connsiteY44" fmla="*/ 771868 h 4495800"/>
              <a:gd name="connsiteX45" fmla="*/ 3972763 w 5819775"/>
              <a:gd name="connsiteY45" fmla="*/ 255108 h 4495800"/>
              <a:gd name="connsiteX46" fmla="*/ 4638390 w 5819775"/>
              <a:gd name="connsiteY46" fmla="*/ 255108 h 4495800"/>
              <a:gd name="connsiteX47" fmla="*/ 4638390 w 5819775"/>
              <a:gd name="connsiteY47" fmla="*/ 771868 h 4495800"/>
              <a:gd name="connsiteX48" fmla="*/ 4645600 w 5819775"/>
              <a:gd name="connsiteY48" fmla="*/ 771868 h 4495800"/>
              <a:gd name="connsiteX49" fmla="*/ 3710445 w 5819775"/>
              <a:gd name="connsiteY49" fmla="*/ 771868 h 4495800"/>
              <a:gd name="connsiteX50" fmla="*/ 3044819 w 5819775"/>
              <a:gd name="connsiteY50" fmla="*/ 771868 h 4495800"/>
              <a:gd name="connsiteX51" fmla="*/ 3044819 w 5819775"/>
              <a:gd name="connsiteY51" fmla="*/ 255108 h 4495800"/>
              <a:gd name="connsiteX52" fmla="*/ 3710445 w 5819775"/>
              <a:gd name="connsiteY52" fmla="*/ 255108 h 4495800"/>
              <a:gd name="connsiteX53" fmla="*/ 3710445 w 5819775"/>
              <a:gd name="connsiteY53" fmla="*/ 771868 h 4495800"/>
              <a:gd name="connsiteX54" fmla="*/ 3710445 w 5819775"/>
              <a:gd name="connsiteY54" fmla="*/ 771868 h 4495800"/>
              <a:gd name="connsiteX55" fmla="*/ 2783167 w 5819775"/>
              <a:gd name="connsiteY55" fmla="*/ 771868 h 4495800"/>
              <a:gd name="connsiteX56" fmla="*/ 2116884 w 5819775"/>
              <a:gd name="connsiteY56" fmla="*/ 771868 h 4495800"/>
              <a:gd name="connsiteX57" fmla="*/ 2116884 w 5819775"/>
              <a:gd name="connsiteY57" fmla="*/ 255108 h 4495800"/>
              <a:gd name="connsiteX58" fmla="*/ 2782510 w 5819775"/>
              <a:gd name="connsiteY58" fmla="*/ 255108 h 4495800"/>
              <a:gd name="connsiteX59" fmla="*/ 2783167 w 5819775"/>
              <a:gd name="connsiteY59" fmla="*/ 771868 h 4495800"/>
              <a:gd name="connsiteX60" fmla="*/ 2783167 w 5819775"/>
              <a:gd name="connsiteY60" fmla="*/ 771868 h 4495800"/>
              <a:gd name="connsiteX61" fmla="*/ 1855222 w 5819775"/>
              <a:gd name="connsiteY61" fmla="*/ 771868 h 4495800"/>
              <a:gd name="connsiteX62" fmla="*/ 1189596 w 5819775"/>
              <a:gd name="connsiteY62" fmla="*/ 771868 h 4495800"/>
              <a:gd name="connsiteX63" fmla="*/ 1189596 w 5819775"/>
              <a:gd name="connsiteY63" fmla="*/ 255108 h 4495800"/>
              <a:gd name="connsiteX64" fmla="*/ 1855222 w 5819775"/>
              <a:gd name="connsiteY64" fmla="*/ 255108 h 4495800"/>
              <a:gd name="connsiteX65" fmla="*/ 1855222 w 5819775"/>
              <a:gd name="connsiteY65" fmla="*/ 771868 h 4495800"/>
              <a:gd name="connsiteX66" fmla="*/ 261661 w 5819775"/>
              <a:gd name="connsiteY66" fmla="*/ 261661 h 4495800"/>
              <a:gd name="connsiteX67" fmla="*/ 927287 w 5819775"/>
              <a:gd name="connsiteY67" fmla="*/ 261661 h 4495800"/>
              <a:gd name="connsiteX68" fmla="*/ 927287 w 5819775"/>
              <a:gd name="connsiteY68" fmla="*/ 778421 h 4495800"/>
              <a:gd name="connsiteX69" fmla="*/ 261661 w 5819775"/>
              <a:gd name="connsiteY69" fmla="*/ 778421 h 4495800"/>
              <a:gd name="connsiteX70" fmla="*/ 261661 w 5819775"/>
              <a:gd name="connsiteY70" fmla="*/ 261661 h 4495800"/>
              <a:gd name="connsiteX71" fmla="*/ 261661 w 5819775"/>
              <a:gd name="connsiteY71" fmla="*/ 3718322 h 4495800"/>
              <a:gd name="connsiteX72" fmla="*/ 927287 w 5819775"/>
              <a:gd name="connsiteY72" fmla="*/ 3718322 h 4495800"/>
              <a:gd name="connsiteX73" fmla="*/ 927287 w 5819775"/>
              <a:gd name="connsiteY73" fmla="*/ 4235082 h 4495800"/>
              <a:gd name="connsiteX74" fmla="*/ 261661 w 5819775"/>
              <a:gd name="connsiteY74" fmla="*/ 4235082 h 4495800"/>
              <a:gd name="connsiteX75" fmla="*/ 261661 w 5819775"/>
              <a:gd name="connsiteY75" fmla="*/ 3718322 h 4495800"/>
              <a:gd name="connsiteX76" fmla="*/ 1189596 w 5819775"/>
              <a:gd name="connsiteY76" fmla="*/ 3718322 h 4495800"/>
              <a:gd name="connsiteX77" fmla="*/ 1855222 w 5819775"/>
              <a:gd name="connsiteY77" fmla="*/ 3718322 h 4495800"/>
              <a:gd name="connsiteX78" fmla="*/ 1855222 w 5819775"/>
              <a:gd name="connsiteY78" fmla="*/ 4235082 h 4495800"/>
              <a:gd name="connsiteX79" fmla="*/ 1189596 w 5819775"/>
              <a:gd name="connsiteY79" fmla="*/ 4235082 h 4495800"/>
              <a:gd name="connsiteX80" fmla="*/ 1189596 w 5819775"/>
              <a:gd name="connsiteY80" fmla="*/ 3718322 h 4495800"/>
              <a:gd name="connsiteX81" fmla="*/ 1189596 w 5819775"/>
              <a:gd name="connsiteY81" fmla="*/ 3718322 h 4495800"/>
              <a:gd name="connsiteX82" fmla="*/ 2116884 w 5819775"/>
              <a:gd name="connsiteY82" fmla="*/ 3718322 h 4495800"/>
              <a:gd name="connsiteX83" fmla="*/ 2782510 w 5819775"/>
              <a:gd name="connsiteY83" fmla="*/ 3718322 h 4495800"/>
              <a:gd name="connsiteX84" fmla="*/ 2782510 w 5819775"/>
              <a:gd name="connsiteY84" fmla="*/ 4235082 h 4495800"/>
              <a:gd name="connsiteX85" fmla="*/ 2116884 w 5819775"/>
              <a:gd name="connsiteY85" fmla="*/ 4235082 h 4495800"/>
              <a:gd name="connsiteX86" fmla="*/ 2116884 w 5819775"/>
              <a:gd name="connsiteY86" fmla="*/ 3718322 h 4495800"/>
              <a:gd name="connsiteX87" fmla="*/ 2116884 w 5819775"/>
              <a:gd name="connsiteY87" fmla="*/ 3718322 h 4495800"/>
              <a:gd name="connsiteX88" fmla="*/ 3044828 w 5819775"/>
              <a:gd name="connsiteY88" fmla="*/ 3718322 h 4495800"/>
              <a:gd name="connsiteX89" fmla="*/ 3710454 w 5819775"/>
              <a:gd name="connsiteY89" fmla="*/ 3718322 h 4495800"/>
              <a:gd name="connsiteX90" fmla="*/ 3710454 w 5819775"/>
              <a:gd name="connsiteY90" fmla="*/ 4235082 h 4495800"/>
              <a:gd name="connsiteX91" fmla="*/ 3044828 w 5819775"/>
              <a:gd name="connsiteY91" fmla="*/ 4235082 h 4495800"/>
              <a:gd name="connsiteX92" fmla="*/ 3044828 w 5819775"/>
              <a:gd name="connsiteY92" fmla="*/ 3718322 h 4495800"/>
              <a:gd name="connsiteX93" fmla="*/ 3972763 w 5819775"/>
              <a:gd name="connsiteY93" fmla="*/ 3718322 h 4495800"/>
              <a:gd name="connsiteX94" fmla="*/ 4638390 w 5819775"/>
              <a:gd name="connsiteY94" fmla="*/ 3718322 h 4495800"/>
              <a:gd name="connsiteX95" fmla="*/ 4638390 w 5819775"/>
              <a:gd name="connsiteY95" fmla="*/ 4235082 h 4495800"/>
              <a:gd name="connsiteX96" fmla="*/ 3972763 w 5819775"/>
              <a:gd name="connsiteY96" fmla="*/ 4235082 h 4495800"/>
              <a:gd name="connsiteX97" fmla="*/ 3972763 w 5819775"/>
              <a:gd name="connsiteY97" fmla="*/ 3718322 h 4495800"/>
              <a:gd name="connsiteX98" fmla="*/ 5573544 w 5819775"/>
              <a:gd name="connsiteY98" fmla="*/ 4235082 h 4495800"/>
              <a:gd name="connsiteX99" fmla="*/ 4907919 w 5819775"/>
              <a:gd name="connsiteY99" fmla="*/ 4235082 h 4495800"/>
              <a:gd name="connsiteX100" fmla="*/ 4907919 w 5819775"/>
              <a:gd name="connsiteY100" fmla="*/ 3718322 h 4495800"/>
              <a:gd name="connsiteX101" fmla="*/ 5573544 w 5819775"/>
              <a:gd name="connsiteY101" fmla="*/ 3718322 h 4495800"/>
              <a:gd name="connsiteX102" fmla="*/ 5573544 w 5819775"/>
              <a:gd name="connsiteY102" fmla="*/ 4235082 h 4495800"/>
              <a:gd name="connsiteX103" fmla="*/ 3633064 w 5819775"/>
              <a:gd name="connsiteY103" fmla="*/ 2124751 h 4495800"/>
              <a:gd name="connsiteX104" fmla="*/ 2535279 w 5819775"/>
              <a:gd name="connsiteY104" fmla="*/ 1487329 h 4495800"/>
              <a:gd name="connsiteX105" fmla="*/ 2408053 w 5819775"/>
              <a:gd name="connsiteY105" fmla="*/ 1487329 h 4495800"/>
              <a:gd name="connsiteX106" fmla="*/ 2344446 w 5819775"/>
              <a:gd name="connsiteY106" fmla="*/ 1600781 h 4495800"/>
              <a:gd name="connsiteX107" fmla="*/ 2344446 w 5819775"/>
              <a:gd name="connsiteY107" fmla="*/ 2868416 h 4495800"/>
              <a:gd name="connsiteX108" fmla="*/ 2408053 w 5819775"/>
              <a:gd name="connsiteY108" fmla="*/ 2981868 h 4495800"/>
              <a:gd name="connsiteX109" fmla="*/ 2471661 w 5819775"/>
              <a:gd name="connsiteY109" fmla="*/ 2996298 h 4495800"/>
              <a:gd name="connsiteX110" fmla="*/ 2535270 w 5819775"/>
              <a:gd name="connsiteY110" fmla="*/ 2981868 h 4495800"/>
              <a:gd name="connsiteX111" fmla="*/ 3633054 w 5819775"/>
              <a:gd name="connsiteY111" fmla="*/ 2344445 h 4495800"/>
              <a:gd name="connsiteX112" fmla="*/ 3696662 w 5819775"/>
              <a:gd name="connsiteY112" fmla="*/ 2230993 h 4495800"/>
              <a:gd name="connsiteX113" fmla="*/ 3633064 w 5819775"/>
              <a:gd name="connsiteY113" fmla="*/ 2124751 h 4495800"/>
              <a:gd name="connsiteX114" fmla="*/ 2598887 w 5819775"/>
              <a:gd name="connsiteY114" fmla="*/ 2648731 h 4495800"/>
              <a:gd name="connsiteX115" fmla="*/ 2598887 w 5819775"/>
              <a:gd name="connsiteY115" fmla="*/ 1834239 h 4495800"/>
              <a:gd name="connsiteX116" fmla="*/ 3307137 w 5819775"/>
              <a:gd name="connsiteY116" fmla="*/ 2244766 h 4495800"/>
              <a:gd name="connsiteX117" fmla="*/ 2598887 w 5819775"/>
              <a:gd name="connsiteY117" fmla="*/ 2648731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819775" h="4495800">
                <a:moveTo>
                  <a:pt x="5700770" y="0"/>
                </a:moveTo>
                <a:lnTo>
                  <a:pt x="4772825" y="0"/>
                </a:lnTo>
                <a:lnTo>
                  <a:pt x="3844881" y="0"/>
                </a:lnTo>
                <a:lnTo>
                  <a:pt x="2917603" y="0"/>
                </a:lnTo>
                <a:lnTo>
                  <a:pt x="1989658" y="0"/>
                </a:lnTo>
                <a:lnTo>
                  <a:pt x="1061714" y="0"/>
                </a:lnTo>
                <a:lnTo>
                  <a:pt x="127216" y="0"/>
                </a:lnTo>
                <a:cubicBezTo>
                  <a:pt x="56398" y="0"/>
                  <a:pt x="0" y="56398"/>
                  <a:pt x="0" y="127225"/>
                </a:cubicBezTo>
                <a:lnTo>
                  <a:pt x="0" y="906304"/>
                </a:lnTo>
                <a:lnTo>
                  <a:pt x="0" y="3590449"/>
                </a:lnTo>
                <a:lnTo>
                  <a:pt x="0" y="4369527"/>
                </a:lnTo>
                <a:cubicBezTo>
                  <a:pt x="0" y="4440355"/>
                  <a:pt x="56398" y="4496753"/>
                  <a:pt x="127225" y="4496753"/>
                </a:cubicBezTo>
                <a:lnTo>
                  <a:pt x="1054513" y="4496753"/>
                </a:lnTo>
                <a:lnTo>
                  <a:pt x="1989668" y="4496753"/>
                </a:lnTo>
                <a:lnTo>
                  <a:pt x="2917612" y="4496753"/>
                </a:lnTo>
                <a:lnTo>
                  <a:pt x="3845557" y="4496753"/>
                </a:lnTo>
                <a:lnTo>
                  <a:pt x="4772844" y="4496753"/>
                </a:lnTo>
                <a:lnTo>
                  <a:pt x="5700789" y="4496753"/>
                </a:lnTo>
                <a:cubicBezTo>
                  <a:pt x="5771617" y="4496753"/>
                  <a:pt x="5828014" y="4440355"/>
                  <a:pt x="5828014" y="4369527"/>
                </a:cubicBezTo>
                <a:lnTo>
                  <a:pt x="5828014" y="3590439"/>
                </a:lnTo>
                <a:lnTo>
                  <a:pt x="5828014" y="906294"/>
                </a:lnTo>
                <a:lnTo>
                  <a:pt x="5828014" y="127225"/>
                </a:lnTo>
                <a:cubicBezTo>
                  <a:pt x="5835206" y="56398"/>
                  <a:pt x="5771588" y="0"/>
                  <a:pt x="5700770" y="0"/>
                </a:cubicBezTo>
                <a:close/>
                <a:moveTo>
                  <a:pt x="4772825" y="3456003"/>
                </a:moveTo>
                <a:lnTo>
                  <a:pt x="3844881" y="3456003"/>
                </a:lnTo>
                <a:lnTo>
                  <a:pt x="2917603" y="3456003"/>
                </a:lnTo>
                <a:lnTo>
                  <a:pt x="1989658" y="3456003"/>
                </a:lnTo>
                <a:lnTo>
                  <a:pt x="1061714" y="3456003"/>
                </a:lnTo>
                <a:lnTo>
                  <a:pt x="261661" y="3456003"/>
                </a:lnTo>
                <a:lnTo>
                  <a:pt x="261661" y="1033529"/>
                </a:lnTo>
                <a:lnTo>
                  <a:pt x="1061723" y="1033529"/>
                </a:lnTo>
                <a:lnTo>
                  <a:pt x="1989668" y="1033529"/>
                </a:lnTo>
                <a:lnTo>
                  <a:pt x="2917612" y="1033529"/>
                </a:lnTo>
                <a:lnTo>
                  <a:pt x="3845557" y="1033529"/>
                </a:lnTo>
                <a:lnTo>
                  <a:pt x="4772844" y="1033529"/>
                </a:lnTo>
                <a:lnTo>
                  <a:pt x="5572906" y="1033529"/>
                </a:lnTo>
                <a:lnTo>
                  <a:pt x="5572906" y="3456013"/>
                </a:lnTo>
                <a:lnTo>
                  <a:pt x="4772825" y="3456013"/>
                </a:lnTo>
                <a:close/>
                <a:moveTo>
                  <a:pt x="5573544" y="771868"/>
                </a:moveTo>
                <a:lnTo>
                  <a:pt x="4907919" y="771868"/>
                </a:lnTo>
                <a:lnTo>
                  <a:pt x="4907919" y="255108"/>
                </a:lnTo>
                <a:lnTo>
                  <a:pt x="5573544" y="255108"/>
                </a:lnTo>
                <a:lnTo>
                  <a:pt x="5573544" y="771868"/>
                </a:lnTo>
                <a:close/>
                <a:moveTo>
                  <a:pt x="4645600" y="771868"/>
                </a:moveTo>
                <a:lnTo>
                  <a:pt x="3972763" y="771868"/>
                </a:lnTo>
                <a:lnTo>
                  <a:pt x="3972763" y="255108"/>
                </a:lnTo>
                <a:lnTo>
                  <a:pt x="4638390" y="255108"/>
                </a:lnTo>
                <a:lnTo>
                  <a:pt x="4638390" y="771868"/>
                </a:lnTo>
                <a:lnTo>
                  <a:pt x="4645600" y="771868"/>
                </a:lnTo>
                <a:close/>
                <a:moveTo>
                  <a:pt x="3710445" y="771868"/>
                </a:moveTo>
                <a:lnTo>
                  <a:pt x="3044819" y="771868"/>
                </a:lnTo>
                <a:lnTo>
                  <a:pt x="3044819" y="255108"/>
                </a:lnTo>
                <a:lnTo>
                  <a:pt x="3710445" y="255108"/>
                </a:lnTo>
                <a:lnTo>
                  <a:pt x="3710445" y="771868"/>
                </a:lnTo>
                <a:lnTo>
                  <a:pt x="3710445" y="771868"/>
                </a:lnTo>
                <a:close/>
                <a:moveTo>
                  <a:pt x="2783167" y="771868"/>
                </a:moveTo>
                <a:lnTo>
                  <a:pt x="2116884" y="771868"/>
                </a:lnTo>
                <a:lnTo>
                  <a:pt x="2116884" y="255108"/>
                </a:lnTo>
                <a:lnTo>
                  <a:pt x="2782510" y="255108"/>
                </a:lnTo>
                <a:lnTo>
                  <a:pt x="2783167" y="771868"/>
                </a:lnTo>
                <a:lnTo>
                  <a:pt x="2783167" y="771868"/>
                </a:lnTo>
                <a:close/>
                <a:moveTo>
                  <a:pt x="1855222" y="771868"/>
                </a:moveTo>
                <a:lnTo>
                  <a:pt x="1189596" y="771868"/>
                </a:lnTo>
                <a:lnTo>
                  <a:pt x="1189596" y="255108"/>
                </a:lnTo>
                <a:lnTo>
                  <a:pt x="1855222" y="255108"/>
                </a:lnTo>
                <a:lnTo>
                  <a:pt x="1855222" y="771868"/>
                </a:lnTo>
                <a:close/>
                <a:moveTo>
                  <a:pt x="261661" y="261661"/>
                </a:moveTo>
                <a:lnTo>
                  <a:pt x="927287" y="261661"/>
                </a:lnTo>
                <a:lnTo>
                  <a:pt x="927287" y="778421"/>
                </a:lnTo>
                <a:lnTo>
                  <a:pt x="261661" y="778421"/>
                </a:lnTo>
                <a:lnTo>
                  <a:pt x="261661" y="261661"/>
                </a:lnTo>
                <a:close/>
                <a:moveTo>
                  <a:pt x="261661" y="3718322"/>
                </a:moveTo>
                <a:lnTo>
                  <a:pt x="927287" y="3718322"/>
                </a:lnTo>
                <a:lnTo>
                  <a:pt x="927287" y="4235082"/>
                </a:lnTo>
                <a:lnTo>
                  <a:pt x="261661" y="4235082"/>
                </a:lnTo>
                <a:lnTo>
                  <a:pt x="261661" y="3718322"/>
                </a:lnTo>
                <a:close/>
                <a:moveTo>
                  <a:pt x="1189596" y="3718322"/>
                </a:moveTo>
                <a:lnTo>
                  <a:pt x="1855222" y="3718322"/>
                </a:lnTo>
                <a:lnTo>
                  <a:pt x="1855222" y="4235082"/>
                </a:lnTo>
                <a:lnTo>
                  <a:pt x="1189596" y="4235082"/>
                </a:lnTo>
                <a:lnTo>
                  <a:pt x="1189596" y="3718322"/>
                </a:lnTo>
                <a:lnTo>
                  <a:pt x="1189596" y="3718322"/>
                </a:lnTo>
                <a:close/>
                <a:moveTo>
                  <a:pt x="2116884" y="3718322"/>
                </a:moveTo>
                <a:lnTo>
                  <a:pt x="2782510" y="3718322"/>
                </a:lnTo>
                <a:lnTo>
                  <a:pt x="2782510" y="4235082"/>
                </a:lnTo>
                <a:lnTo>
                  <a:pt x="2116884" y="4235082"/>
                </a:lnTo>
                <a:lnTo>
                  <a:pt x="2116884" y="3718322"/>
                </a:lnTo>
                <a:lnTo>
                  <a:pt x="2116884" y="3718322"/>
                </a:lnTo>
                <a:close/>
                <a:moveTo>
                  <a:pt x="3044828" y="3718322"/>
                </a:moveTo>
                <a:lnTo>
                  <a:pt x="3710454" y="3718322"/>
                </a:lnTo>
                <a:lnTo>
                  <a:pt x="3710454" y="4235082"/>
                </a:lnTo>
                <a:lnTo>
                  <a:pt x="3044828" y="4235082"/>
                </a:lnTo>
                <a:lnTo>
                  <a:pt x="3044828" y="3718322"/>
                </a:lnTo>
                <a:close/>
                <a:moveTo>
                  <a:pt x="3972763" y="3718322"/>
                </a:moveTo>
                <a:lnTo>
                  <a:pt x="4638390" y="3718322"/>
                </a:lnTo>
                <a:lnTo>
                  <a:pt x="4638390" y="4235082"/>
                </a:lnTo>
                <a:lnTo>
                  <a:pt x="3972763" y="4235082"/>
                </a:lnTo>
                <a:lnTo>
                  <a:pt x="3972763" y="3718322"/>
                </a:lnTo>
                <a:close/>
                <a:moveTo>
                  <a:pt x="5573544" y="4235082"/>
                </a:moveTo>
                <a:lnTo>
                  <a:pt x="4907919" y="4235082"/>
                </a:lnTo>
                <a:lnTo>
                  <a:pt x="4907919" y="3718322"/>
                </a:lnTo>
                <a:lnTo>
                  <a:pt x="5573544" y="3718322"/>
                </a:lnTo>
                <a:lnTo>
                  <a:pt x="5573544" y="4235082"/>
                </a:lnTo>
                <a:close/>
                <a:moveTo>
                  <a:pt x="3633064" y="2124751"/>
                </a:moveTo>
                <a:lnTo>
                  <a:pt x="2535279" y="1487329"/>
                </a:lnTo>
                <a:cubicBezTo>
                  <a:pt x="2492655" y="1466345"/>
                  <a:pt x="2443468" y="1466345"/>
                  <a:pt x="2408053" y="1487329"/>
                </a:cubicBezTo>
                <a:cubicBezTo>
                  <a:pt x="2365429" y="1508312"/>
                  <a:pt x="2344446" y="1550937"/>
                  <a:pt x="2344446" y="1600781"/>
                </a:cubicBezTo>
                <a:lnTo>
                  <a:pt x="2344446" y="2868416"/>
                </a:lnTo>
                <a:cubicBezTo>
                  <a:pt x="2344446" y="2918260"/>
                  <a:pt x="2372649" y="2960227"/>
                  <a:pt x="2408053" y="2981868"/>
                </a:cubicBezTo>
                <a:cubicBezTo>
                  <a:pt x="2429037" y="2996298"/>
                  <a:pt x="2450678" y="2996298"/>
                  <a:pt x="2471661" y="2996298"/>
                </a:cubicBezTo>
                <a:cubicBezTo>
                  <a:pt x="2492645" y="2996298"/>
                  <a:pt x="2514286" y="2989088"/>
                  <a:pt x="2535270" y="2981868"/>
                </a:cubicBezTo>
                <a:lnTo>
                  <a:pt x="3633054" y="2344445"/>
                </a:lnTo>
                <a:cubicBezTo>
                  <a:pt x="3675679" y="2323462"/>
                  <a:pt x="3696662" y="2280837"/>
                  <a:pt x="3696662" y="2230993"/>
                </a:cubicBezTo>
                <a:cubicBezTo>
                  <a:pt x="3696681" y="2195579"/>
                  <a:pt x="3668478" y="2152955"/>
                  <a:pt x="3633064" y="2124751"/>
                </a:cubicBezTo>
                <a:close/>
                <a:moveTo>
                  <a:pt x="2598887" y="2648731"/>
                </a:moveTo>
                <a:lnTo>
                  <a:pt x="2598887" y="1834239"/>
                </a:lnTo>
                <a:lnTo>
                  <a:pt x="3307137" y="2244766"/>
                </a:lnTo>
                <a:lnTo>
                  <a:pt x="2598887" y="2648731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0" name="Forma libre 410">
            <a:extLst>
              <a:ext uri="{FF2B5EF4-FFF2-40B4-BE49-F238E27FC236}">
                <a16:creationId xmlns:a16="http://schemas.microsoft.com/office/drawing/2014/main" xmlns="" id="{611F0032-FBD2-8340-B52B-A952DD5041FA}"/>
              </a:ext>
            </a:extLst>
          </p:cNvPr>
          <p:cNvSpPr/>
          <p:nvPr/>
        </p:nvSpPr>
        <p:spPr>
          <a:xfrm>
            <a:off x="8000016" y="3425293"/>
            <a:ext cx="300885" cy="327477"/>
          </a:xfrm>
          <a:custGeom>
            <a:avLst/>
            <a:gdLst>
              <a:gd name="connsiteX0" fmla="*/ 5281602 w 5811023"/>
              <a:gd name="connsiteY0" fmla="*/ 1551753 h 6324599"/>
              <a:gd name="connsiteX1" fmla="*/ 4899445 w 5811023"/>
              <a:gd name="connsiteY1" fmla="*/ 1551753 h 6324599"/>
              <a:gd name="connsiteX2" fmla="*/ 4899445 w 5811023"/>
              <a:gd name="connsiteY2" fmla="*/ 1543802 h 6324599"/>
              <a:gd name="connsiteX3" fmla="*/ 4899445 w 5811023"/>
              <a:gd name="connsiteY3" fmla="*/ 296191 h 6324599"/>
              <a:gd name="connsiteX4" fmla="*/ 4603253 w 5811023"/>
              <a:gd name="connsiteY4" fmla="*/ 0 h 6324599"/>
              <a:gd name="connsiteX5" fmla="*/ 1240392 w 5811023"/>
              <a:gd name="connsiteY5" fmla="*/ 0 h 6324599"/>
              <a:gd name="connsiteX6" fmla="*/ 944201 w 5811023"/>
              <a:gd name="connsiteY6" fmla="*/ 296191 h 6324599"/>
              <a:gd name="connsiteX7" fmla="*/ 944201 w 5811023"/>
              <a:gd name="connsiteY7" fmla="*/ 1536583 h 6324599"/>
              <a:gd name="connsiteX8" fmla="*/ 944201 w 5811023"/>
              <a:gd name="connsiteY8" fmla="*/ 1544534 h 6324599"/>
              <a:gd name="connsiteX9" fmla="*/ 538200 w 5811023"/>
              <a:gd name="connsiteY9" fmla="*/ 1544534 h 6324599"/>
              <a:gd name="connsiteX10" fmla="*/ 0 w 5811023"/>
              <a:gd name="connsiteY10" fmla="*/ 2082734 h 6324599"/>
              <a:gd name="connsiteX11" fmla="*/ 0 w 5811023"/>
              <a:gd name="connsiteY11" fmla="*/ 4306340 h 6324599"/>
              <a:gd name="connsiteX12" fmla="*/ 538200 w 5811023"/>
              <a:gd name="connsiteY12" fmla="*/ 4844539 h 6324599"/>
              <a:gd name="connsiteX13" fmla="*/ 944201 w 5811023"/>
              <a:gd name="connsiteY13" fmla="*/ 4844539 h 6324599"/>
              <a:gd name="connsiteX14" fmla="*/ 944201 w 5811023"/>
              <a:gd name="connsiteY14" fmla="*/ 6022808 h 6324599"/>
              <a:gd name="connsiteX15" fmla="*/ 1248343 w 5811023"/>
              <a:gd name="connsiteY15" fmla="*/ 6326949 h 6324599"/>
              <a:gd name="connsiteX16" fmla="*/ 4595312 w 5811023"/>
              <a:gd name="connsiteY16" fmla="*/ 6326949 h 6324599"/>
              <a:gd name="connsiteX17" fmla="*/ 4899454 w 5811023"/>
              <a:gd name="connsiteY17" fmla="*/ 6022808 h 6324599"/>
              <a:gd name="connsiteX18" fmla="*/ 4899454 w 5811023"/>
              <a:gd name="connsiteY18" fmla="*/ 4844549 h 6324599"/>
              <a:gd name="connsiteX19" fmla="*/ 5281612 w 5811023"/>
              <a:gd name="connsiteY19" fmla="*/ 4844549 h 6324599"/>
              <a:gd name="connsiteX20" fmla="*/ 5819812 w 5811023"/>
              <a:gd name="connsiteY20" fmla="*/ 4306349 h 6324599"/>
              <a:gd name="connsiteX21" fmla="*/ 5819812 w 5811023"/>
              <a:gd name="connsiteY21" fmla="*/ 2082734 h 6324599"/>
              <a:gd name="connsiteX22" fmla="*/ 5281602 w 5811023"/>
              <a:gd name="connsiteY22" fmla="*/ 1551753 h 6324599"/>
              <a:gd name="connsiteX23" fmla="*/ 1232441 w 5811023"/>
              <a:gd name="connsiteY23" fmla="*/ 1536583 h 6324599"/>
              <a:gd name="connsiteX24" fmla="*/ 1232441 w 5811023"/>
              <a:gd name="connsiteY24" fmla="*/ 296191 h 6324599"/>
              <a:gd name="connsiteX25" fmla="*/ 1240392 w 5811023"/>
              <a:gd name="connsiteY25" fmla="*/ 288240 h 6324599"/>
              <a:gd name="connsiteX26" fmla="*/ 4603253 w 5811023"/>
              <a:gd name="connsiteY26" fmla="*/ 288240 h 6324599"/>
              <a:gd name="connsiteX27" fmla="*/ 4611204 w 5811023"/>
              <a:gd name="connsiteY27" fmla="*/ 296191 h 6324599"/>
              <a:gd name="connsiteX28" fmla="*/ 4611204 w 5811023"/>
              <a:gd name="connsiteY28" fmla="*/ 1536583 h 6324599"/>
              <a:gd name="connsiteX29" fmla="*/ 4603253 w 5811023"/>
              <a:gd name="connsiteY29" fmla="*/ 1544534 h 6324599"/>
              <a:gd name="connsiteX30" fmla="*/ 1240392 w 5811023"/>
              <a:gd name="connsiteY30" fmla="*/ 1544534 h 6324599"/>
              <a:gd name="connsiteX31" fmla="*/ 1232441 w 5811023"/>
              <a:gd name="connsiteY31" fmla="*/ 1536583 h 6324599"/>
              <a:gd name="connsiteX32" fmla="*/ 4610481 w 5811023"/>
              <a:gd name="connsiteY32" fmla="*/ 6014866 h 6324599"/>
              <a:gd name="connsiteX33" fmla="*/ 4594589 w 5811023"/>
              <a:gd name="connsiteY33" fmla="*/ 6030758 h 6324599"/>
              <a:gd name="connsiteX34" fmla="*/ 1248333 w 5811023"/>
              <a:gd name="connsiteY34" fmla="*/ 6030758 h 6324599"/>
              <a:gd name="connsiteX35" fmla="*/ 1232441 w 5811023"/>
              <a:gd name="connsiteY35" fmla="*/ 6014866 h 6324599"/>
              <a:gd name="connsiteX36" fmla="*/ 1232441 w 5811023"/>
              <a:gd name="connsiteY36" fmla="*/ 4696449 h 6324599"/>
              <a:gd name="connsiteX37" fmla="*/ 1232441 w 5811023"/>
              <a:gd name="connsiteY37" fmla="*/ 3729127 h 6324599"/>
              <a:gd name="connsiteX38" fmla="*/ 1248333 w 5811023"/>
              <a:gd name="connsiteY38" fmla="*/ 3713235 h 6324599"/>
              <a:gd name="connsiteX39" fmla="*/ 4595302 w 5811023"/>
              <a:gd name="connsiteY39" fmla="*/ 3713235 h 6324599"/>
              <a:gd name="connsiteX40" fmla="*/ 4611195 w 5811023"/>
              <a:gd name="connsiteY40" fmla="*/ 3729127 h 6324599"/>
              <a:gd name="connsiteX41" fmla="*/ 4611195 w 5811023"/>
              <a:gd name="connsiteY41" fmla="*/ 4704390 h 6324599"/>
              <a:gd name="connsiteX42" fmla="*/ 4611195 w 5811023"/>
              <a:gd name="connsiteY42" fmla="*/ 6014857 h 6324599"/>
              <a:gd name="connsiteX43" fmla="*/ 4610481 w 5811023"/>
              <a:gd name="connsiteY43" fmla="*/ 6014857 h 6324599"/>
              <a:gd name="connsiteX44" fmla="*/ 5531562 w 5811023"/>
              <a:gd name="connsiteY44" fmla="*/ 4306340 h 6324599"/>
              <a:gd name="connsiteX45" fmla="*/ 5281602 w 5811023"/>
              <a:gd name="connsiteY45" fmla="*/ 4556299 h 6324599"/>
              <a:gd name="connsiteX46" fmla="*/ 4899445 w 5811023"/>
              <a:gd name="connsiteY46" fmla="*/ 4556299 h 6324599"/>
              <a:gd name="connsiteX47" fmla="*/ 4899445 w 5811023"/>
              <a:gd name="connsiteY47" fmla="*/ 3729127 h 6324599"/>
              <a:gd name="connsiteX48" fmla="*/ 4595302 w 5811023"/>
              <a:gd name="connsiteY48" fmla="*/ 3424985 h 6324599"/>
              <a:gd name="connsiteX49" fmla="*/ 1248333 w 5811023"/>
              <a:gd name="connsiteY49" fmla="*/ 3424985 h 6324599"/>
              <a:gd name="connsiteX50" fmla="*/ 944192 w 5811023"/>
              <a:gd name="connsiteY50" fmla="*/ 3729127 h 6324599"/>
              <a:gd name="connsiteX51" fmla="*/ 944192 w 5811023"/>
              <a:gd name="connsiteY51" fmla="*/ 4556299 h 6324599"/>
              <a:gd name="connsiteX52" fmla="*/ 538200 w 5811023"/>
              <a:gd name="connsiteY52" fmla="*/ 4556299 h 6324599"/>
              <a:gd name="connsiteX53" fmla="*/ 288240 w 5811023"/>
              <a:gd name="connsiteY53" fmla="*/ 4306340 h 6324599"/>
              <a:gd name="connsiteX54" fmla="*/ 288240 w 5811023"/>
              <a:gd name="connsiteY54" fmla="*/ 2082734 h 6324599"/>
              <a:gd name="connsiteX55" fmla="*/ 538200 w 5811023"/>
              <a:gd name="connsiteY55" fmla="*/ 1832774 h 6324599"/>
              <a:gd name="connsiteX56" fmla="*/ 1240392 w 5811023"/>
              <a:gd name="connsiteY56" fmla="*/ 1832774 h 6324599"/>
              <a:gd name="connsiteX57" fmla="*/ 4603253 w 5811023"/>
              <a:gd name="connsiteY57" fmla="*/ 1832774 h 6324599"/>
              <a:gd name="connsiteX58" fmla="*/ 5282325 w 5811023"/>
              <a:gd name="connsiteY58" fmla="*/ 1832774 h 6324599"/>
              <a:gd name="connsiteX59" fmla="*/ 5532285 w 5811023"/>
              <a:gd name="connsiteY59" fmla="*/ 2082734 h 6324599"/>
              <a:gd name="connsiteX60" fmla="*/ 5531562 w 5811023"/>
              <a:gd name="connsiteY60" fmla="*/ 4306340 h 6324599"/>
              <a:gd name="connsiteX61" fmla="*/ 5531562 w 5811023"/>
              <a:gd name="connsiteY61" fmla="*/ 4306340 h 6324599"/>
              <a:gd name="connsiteX62" fmla="*/ 5086548 w 5811023"/>
              <a:gd name="connsiteY62" fmla="*/ 2417937 h 6324599"/>
              <a:gd name="connsiteX63" fmla="*/ 4930506 w 5811023"/>
              <a:gd name="connsiteY63" fmla="*/ 2573979 h 6324599"/>
              <a:gd name="connsiteX64" fmla="*/ 4774464 w 5811023"/>
              <a:gd name="connsiteY64" fmla="*/ 2417937 h 6324599"/>
              <a:gd name="connsiteX65" fmla="*/ 4930506 w 5811023"/>
              <a:gd name="connsiteY65" fmla="*/ 2261896 h 6324599"/>
              <a:gd name="connsiteX66" fmla="*/ 5086548 w 5811023"/>
              <a:gd name="connsiteY66" fmla="*/ 2417937 h 6324599"/>
              <a:gd name="connsiteX67" fmla="*/ 4509335 w 5811023"/>
              <a:gd name="connsiteY67" fmla="*/ 2417937 h 6324599"/>
              <a:gd name="connsiteX68" fmla="*/ 4353294 w 5811023"/>
              <a:gd name="connsiteY68" fmla="*/ 2573979 h 6324599"/>
              <a:gd name="connsiteX69" fmla="*/ 4197252 w 5811023"/>
              <a:gd name="connsiteY69" fmla="*/ 2417937 h 6324599"/>
              <a:gd name="connsiteX70" fmla="*/ 4353294 w 5811023"/>
              <a:gd name="connsiteY70" fmla="*/ 2261896 h 6324599"/>
              <a:gd name="connsiteX71" fmla="*/ 4509335 w 5811023"/>
              <a:gd name="connsiteY71" fmla="*/ 2417937 h 6324599"/>
              <a:gd name="connsiteX72" fmla="*/ 4096115 w 5811023"/>
              <a:gd name="connsiteY72" fmla="*/ 5296781 h 6324599"/>
              <a:gd name="connsiteX73" fmla="*/ 3955966 w 5811023"/>
              <a:gd name="connsiteY73" fmla="*/ 5436931 h 6324599"/>
              <a:gd name="connsiteX74" fmla="*/ 1918741 w 5811023"/>
              <a:gd name="connsiteY74" fmla="*/ 5436931 h 6324599"/>
              <a:gd name="connsiteX75" fmla="*/ 1778592 w 5811023"/>
              <a:gd name="connsiteY75" fmla="*/ 5296781 h 6324599"/>
              <a:gd name="connsiteX76" fmla="*/ 1918741 w 5811023"/>
              <a:gd name="connsiteY76" fmla="*/ 5156632 h 6324599"/>
              <a:gd name="connsiteX77" fmla="*/ 3955243 w 5811023"/>
              <a:gd name="connsiteY77" fmla="*/ 5156632 h 6324599"/>
              <a:gd name="connsiteX78" fmla="*/ 4096115 w 5811023"/>
              <a:gd name="connsiteY78" fmla="*/ 5296781 h 6324599"/>
              <a:gd name="connsiteX79" fmla="*/ 4096115 w 5811023"/>
              <a:gd name="connsiteY79" fmla="*/ 4446489 h 6324599"/>
              <a:gd name="connsiteX80" fmla="*/ 3955966 w 5811023"/>
              <a:gd name="connsiteY80" fmla="*/ 4586638 h 6324599"/>
              <a:gd name="connsiteX81" fmla="*/ 1918741 w 5811023"/>
              <a:gd name="connsiteY81" fmla="*/ 4586638 h 6324599"/>
              <a:gd name="connsiteX82" fmla="*/ 1778592 w 5811023"/>
              <a:gd name="connsiteY82" fmla="*/ 4446489 h 6324599"/>
              <a:gd name="connsiteX83" fmla="*/ 1918741 w 5811023"/>
              <a:gd name="connsiteY83" fmla="*/ 4306340 h 6324599"/>
              <a:gd name="connsiteX84" fmla="*/ 3955243 w 5811023"/>
              <a:gd name="connsiteY84" fmla="*/ 4306340 h 6324599"/>
              <a:gd name="connsiteX85" fmla="*/ 4096115 w 5811023"/>
              <a:gd name="connsiteY85" fmla="*/ 4446489 h 632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811023" h="6324599">
                <a:moveTo>
                  <a:pt x="5281602" y="1551753"/>
                </a:moveTo>
                <a:lnTo>
                  <a:pt x="4899445" y="1551753"/>
                </a:lnTo>
                <a:lnTo>
                  <a:pt x="4899445" y="1543802"/>
                </a:lnTo>
                <a:lnTo>
                  <a:pt x="4899445" y="296191"/>
                </a:lnTo>
                <a:cubicBezTo>
                  <a:pt x="4899445" y="132198"/>
                  <a:pt x="4766523" y="0"/>
                  <a:pt x="4603253" y="0"/>
                </a:cubicBezTo>
                <a:lnTo>
                  <a:pt x="1240392" y="0"/>
                </a:lnTo>
                <a:cubicBezTo>
                  <a:pt x="1076399" y="0"/>
                  <a:pt x="944201" y="132921"/>
                  <a:pt x="944201" y="296191"/>
                </a:cubicBezTo>
                <a:lnTo>
                  <a:pt x="944201" y="1536583"/>
                </a:lnTo>
                <a:lnTo>
                  <a:pt x="944201" y="1544534"/>
                </a:lnTo>
                <a:lnTo>
                  <a:pt x="538200" y="1544534"/>
                </a:lnTo>
                <a:cubicBezTo>
                  <a:pt x="242009" y="1544534"/>
                  <a:pt x="0" y="1786543"/>
                  <a:pt x="0" y="2082734"/>
                </a:cubicBezTo>
                <a:lnTo>
                  <a:pt x="0" y="4306340"/>
                </a:lnTo>
                <a:cubicBezTo>
                  <a:pt x="0" y="4602531"/>
                  <a:pt x="242009" y="4844539"/>
                  <a:pt x="538200" y="4844539"/>
                </a:cubicBezTo>
                <a:lnTo>
                  <a:pt x="944201" y="4844539"/>
                </a:lnTo>
                <a:lnTo>
                  <a:pt x="944201" y="6022808"/>
                </a:lnTo>
                <a:cubicBezTo>
                  <a:pt x="944201" y="6194742"/>
                  <a:pt x="1084350" y="6326949"/>
                  <a:pt x="1248343" y="6326949"/>
                </a:cubicBezTo>
                <a:lnTo>
                  <a:pt x="4595312" y="6326949"/>
                </a:lnTo>
                <a:cubicBezTo>
                  <a:pt x="4767246" y="6326949"/>
                  <a:pt x="4899454" y="6186800"/>
                  <a:pt x="4899454" y="6022808"/>
                </a:cubicBezTo>
                <a:lnTo>
                  <a:pt x="4899454" y="4844549"/>
                </a:lnTo>
                <a:lnTo>
                  <a:pt x="5281612" y="4844549"/>
                </a:lnTo>
                <a:cubicBezTo>
                  <a:pt x="5577803" y="4844549"/>
                  <a:pt x="5819812" y="4602540"/>
                  <a:pt x="5819812" y="4306349"/>
                </a:cubicBezTo>
                <a:lnTo>
                  <a:pt x="5819812" y="2082734"/>
                </a:lnTo>
                <a:cubicBezTo>
                  <a:pt x="5819812" y="1785820"/>
                  <a:pt x="5578516" y="1551753"/>
                  <a:pt x="5281602" y="1551753"/>
                </a:cubicBezTo>
                <a:close/>
                <a:moveTo>
                  <a:pt x="1232441" y="1536583"/>
                </a:moveTo>
                <a:lnTo>
                  <a:pt x="1232441" y="296191"/>
                </a:lnTo>
                <a:cubicBezTo>
                  <a:pt x="1232441" y="288240"/>
                  <a:pt x="1240392" y="288240"/>
                  <a:pt x="1240392" y="288240"/>
                </a:cubicBezTo>
                <a:lnTo>
                  <a:pt x="4603253" y="288240"/>
                </a:lnTo>
                <a:cubicBezTo>
                  <a:pt x="4611204" y="288240"/>
                  <a:pt x="4611204" y="296191"/>
                  <a:pt x="4611204" y="296191"/>
                </a:cubicBezTo>
                <a:lnTo>
                  <a:pt x="4611204" y="1536583"/>
                </a:lnTo>
                <a:cubicBezTo>
                  <a:pt x="4611204" y="1544534"/>
                  <a:pt x="4603253" y="1544534"/>
                  <a:pt x="4603253" y="1544534"/>
                </a:cubicBezTo>
                <a:lnTo>
                  <a:pt x="1240392" y="1544534"/>
                </a:lnTo>
                <a:cubicBezTo>
                  <a:pt x="1240392" y="1551753"/>
                  <a:pt x="1232441" y="1544534"/>
                  <a:pt x="1232441" y="1536583"/>
                </a:cubicBezTo>
                <a:close/>
                <a:moveTo>
                  <a:pt x="4610481" y="6014866"/>
                </a:moveTo>
                <a:cubicBezTo>
                  <a:pt x="4610481" y="6022817"/>
                  <a:pt x="4602531" y="6030758"/>
                  <a:pt x="4594589" y="6030758"/>
                </a:cubicBezTo>
                <a:lnTo>
                  <a:pt x="1248333" y="6030758"/>
                </a:lnTo>
                <a:cubicBezTo>
                  <a:pt x="1240383" y="6030758"/>
                  <a:pt x="1232441" y="6022808"/>
                  <a:pt x="1232441" y="6014866"/>
                </a:cubicBezTo>
                <a:lnTo>
                  <a:pt x="1232441" y="4696449"/>
                </a:lnTo>
                <a:lnTo>
                  <a:pt x="1232441" y="3729127"/>
                </a:lnTo>
                <a:cubicBezTo>
                  <a:pt x="1232441" y="3721176"/>
                  <a:pt x="1240392" y="3713235"/>
                  <a:pt x="1248333" y="3713235"/>
                </a:cubicBezTo>
                <a:lnTo>
                  <a:pt x="4595302" y="3713235"/>
                </a:lnTo>
                <a:cubicBezTo>
                  <a:pt x="4603253" y="3713235"/>
                  <a:pt x="4611195" y="3721186"/>
                  <a:pt x="4611195" y="3729127"/>
                </a:cubicBezTo>
                <a:lnTo>
                  <a:pt x="4611195" y="4704390"/>
                </a:lnTo>
                <a:lnTo>
                  <a:pt x="4611195" y="6014857"/>
                </a:lnTo>
                <a:lnTo>
                  <a:pt x="4610481" y="6014857"/>
                </a:lnTo>
                <a:close/>
                <a:moveTo>
                  <a:pt x="5531562" y="4306340"/>
                </a:moveTo>
                <a:cubicBezTo>
                  <a:pt x="5531562" y="4446489"/>
                  <a:pt x="5422474" y="4556299"/>
                  <a:pt x="5281602" y="4556299"/>
                </a:cubicBezTo>
                <a:lnTo>
                  <a:pt x="4899445" y="4556299"/>
                </a:lnTo>
                <a:lnTo>
                  <a:pt x="4899445" y="3729127"/>
                </a:lnTo>
                <a:cubicBezTo>
                  <a:pt x="4899445" y="3557193"/>
                  <a:pt x="4759295" y="3424985"/>
                  <a:pt x="4595302" y="3424985"/>
                </a:cubicBezTo>
                <a:lnTo>
                  <a:pt x="1248333" y="3424985"/>
                </a:lnTo>
                <a:cubicBezTo>
                  <a:pt x="1076399" y="3424985"/>
                  <a:pt x="944192" y="3565134"/>
                  <a:pt x="944192" y="3729127"/>
                </a:cubicBezTo>
                <a:lnTo>
                  <a:pt x="944192" y="4556299"/>
                </a:lnTo>
                <a:lnTo>
                  <a:pt x="538200" y="4556299"/>
                </a:lnTo>
                <a:cubicBezTo>
                  <a:pt x="398050" y="4556299"/>
                  <a:pt x="288240" y="4447212"/>
                  <a:pt x="288240" y="4306340"/>
                </a:cubicBezTo>
                <a:lnTo>
                  <a:pt x="288240" y="2082734"/>
                </a:lnTo>
                <a:cubicBezTo>
                  <a:pt x="288240" y="1942584"/>
                  <a:pt x="397328" y="1832774"/>
                  <a:pt x="538200" y="1832774"/>
                </a:cubicBezTo>
                <a:lnTo>
                  <a:pt x="1240392" y="1832774"/>
                </a:lnTo>
                <a:lnTo>
                  <a:pt x="4603253" y="1832774"/>
                </a:lnTo>
                <a:lnTo>
                  <a:pt x="5282325" y="1832774"/>
                </a:lnTo>
                <a:cubicBezTo>
                  <a:pt x="5422474" y="1832774"/>
                  <a:pt x="5532285" y="1941862"/>
                  <a:pt x="5532285" y="2082734"/>
                </a:cubicBezTo>
                <a:lnTo>
                  <a:pt x="5531562" y="4306340"/>
                </a:lnTo>
                <a:lnTo>
                  <a:pt x="5531562" y="4306340"/>
                </a:lnTo>
                <a:close/>
                <a:moveTo>
                  <a:pt x="5086548" y="2417937"/>
                </a:moveTo>
                <a:cubicBezTo>
                  <a:pt x="5086548" y="2503905"/>
                  <a:pt x="5016473" y="2573979"/>
                  <a:pt x="4930506" y="2573979"/>
                </a:cubicBezTo>
                <a:cubicBezTo>
                  <a:pt x="4844539" y="2573979"/>
                  <a:pt x="4774464" y="2503905"/>
                  <a:pt x="4774464" y="2417937"/>
                </a:cubicBezTo>
                <a:cubicBezTo>
                  <a:pt x="4774464" y="2331971"/>
                  <a:pt x="4844539" y="2261896"/>
                  <a:pt x="4930506" y="2261896"/>
                </a:cubicBezTo>
                <a:cubicBezTo>
                  <a:pt x="5016473" y="2261896"/>
                  <a:pt x="5086548" y="2331971"/>
                  <a:pt x="5086548" y="2417937"/>
                </a:cubicBezTo>
                <a:close/>
                <a:moveTo>
                  <a:pt x="4509335" y="2417937"/>
                </a:moveTo>
                <a:cubicBezTo>
                  <a:pt x="4509335" y="2503905"/>
                  <a:pt x="4439261" y="2573979"/>
                  <a:pt x="4353294" y="2573979"/>
                </a:cubicBezTo>
                <a:cubicBezTo>
                  <a:pt x="4267327" y="2573979"/>
                  <a:pt x="4197252" y="2503905"/>
                  <a:pt x="4197252" y="2417937"/>
                </a:cubicBezTo>
                <a:cubicBezTo>
                  <a:pt x="4197252" y="2331971"/>
                  <a:pt x="4267327" y="2261896"/>
                  <a:pt x="4353294" y="2261896"/>
                </a:cubicBezTo>
                <a:cubicBezTo>
                  <a:pt x="4439261" y="2261896"/>
                  <a:pt x="4509335" y="2331971"/>
                  <a:pt x="4509335" y="2417937"/>
                </a:cubicBezTo>
                <a:close/>
                <a:moveTo>
                  <a:pt x="4096115" y="5296781"/>
                </a:moveTo>
                <a:cubicBezTo>
                  <a:pt x="4096115" y="5374807"/>
                  <a:pt x="4033992" y="5436931"/>
                  <a:pt x="3955966" y="5436931"/>
                </a:cubicBezTo>
                <a:lnTo>
                  <a:pt x="1918741" y="5436931"/>
                </a:lnTo>
                <a:cubicBezTo>
                  <a:pt x="1840715" y="5436931"/>
                  <a:pt x="1778592" y="5374807"/>
                  <a:pt x="1778592" y="5296781"/>
                </a:cubicBezTo>
                <a:cubicBezTo>
                  <a:pt x="1778592" y="5218756"/>
                  <a:pt x="1840715" y="5156632"/>
                  <a:pt x="1918741" y="5156632"/>
                </a:cubicBezTo>
                <a:lnTo>
                  <a:pt x="3955243" y="5156632"/>
                </a:lnTo>
                <a:cubicBezTo>
                  <a:pt x="4033259" y="5156632"/>
                  <a:pt x="4096115" y="5218756"/>
                  <a:pt x="4096115" y="5296781"/>
                </a:cubicBezTo>
                <a:close/>
                <a:moveTo>
                  <a:pt x="4096115" y="4446489"/>
                </a:moveTo>
                <a:cubicBezTo>
                  <a:pt x="4096115" y="4524515"/>
                  <a:pt x="4033992" y="4586638"/>
                  <a:pt x="3955966" y="4586638"/>
                </a:cubicBezTo>
                <a:lnTo>
                  <a:pt x="1918741" y="4586638"/>
                </a:lnTo>
                <a:cubicBezTo>
                  <a:pt x="1840715" y="4586638"/>
                  <a:pt x="1778592" y="4524515"/>
                  <a:pt x="1778592" y="4446489"/>
                </a:cubicBezTo>
                <a:cubicBezTo>
                  <a:pt x="1778592" y="4368463"/>
                  <a:pt x="1840715" y="4306340"/>
                  <a:pt x="1918741" y="4306340"/>
                </a:cubicBezTo>
                <a:lnTo>
                  <a:pt x="3955243" y="4306340"/>
                </a:lnTo>
                <a:cubicBezTo>
                  <a:pt x="4033259" y="4298398"/>
                  <a:pt x="4096115" y="4368473"/>
                  <a:pt x="4096115" y="4446489"/>
                </a:cubicBezTo>
                <a:close/>
              </a:path>
            </a:pathLst>
          </a:custGeom>
          <a:solidFill>
            <a:schemeClr val="bg1"/>
          </a:solidFill>
          <a:ln w="9511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1" name="Forma libre 412">
            <a:extLst>
              <a:ext uri="{FF2B5EF4-FFF2-40B4-BE49-F238E27FC236}">
                <a16:creationId xmlns:a16="http://schemas.microsoft.com/office/drawing/2014/main" xmlns="" id="{593B045F-6A4E-2140-9C69-87C644693392}"/>
              </a:ext>
            </a:extLst>
          </p:cNvPr>
          <p:cNvSpPr/>
          <p:nvPr/>
        </p:nvSpPr>
        <p:spPr>
          <a:xfrm>
            <a:off x="2781817" y="3385423"/>
            <a:ext cx="300852" cy="305776"/>
          </a:xfrm>
          <a:custGeom>
            <a:avLst/>
            <a:gdLst>
              <a:gd name="connsiteX0" fmla="*/ 1030743 w 5810403"/>
              <a:gd name="connsiteY0" fmla="*/ 2643998 h 5905499"/>
              <a:gd name="connsiteX1" fmla="*/ 1022783 w 5810403"/>
              <a:gd name="connsiteY1" fmla="*/ 2643998 h 5905499"/>
              <a:gd name="connsiteX2" fmla="*/ 303796 w 5810403"/>
              <a:gd name="connsiteY2" fmla="*/ 2643998 h 5905499"/>
              <a:gd name="connsiteX3" fmla="*/ 61480 w 5810403"/>
              <a:gd name="connsiteY3" fmla="*/ 2526820 h 5905499"/>
              <a:gd name="connsiteX4" fmla="*/ 22424 w 5810403"/>
              <a:gd name="connsiteY4" fmla="*/ 2292464 h 5905499"/>
              <a:gd name="connsiteX5" fmla="*/ 1874145 w 5810403"/>
              <a:gd name="connsiteY5" fmla="*/ 199150 h 5905499"/>
              <a:gd name="connsiteX6" fmla="*/ 5053910 w 5810403"/>
              <a:gd name="connsiteY6" fmla="*/ 933324 h 5905499"/>
              <a:gd name="connsiteX7" fmla="*/ 5444510 w 5810403"/>
              <a:gd name="connsiteY7" fmla="*/ 558644 h 5905499"/>
              <a:gd name="connsiteX8" fmla="*/ 5631850 w 5810403"/>
              <a:gd name="connsiteY8" fmla="*/ 472572 h 5905499"/>
              <a:gd name="connsiteX9" fmla="*/ 5819191 w 5810403"/>
              <a:gd name="connsiteY9" fmla="*/ 691018 h 5905499"/>
              <a:gd name="connsiteX10" fmla="*/ 5819191 w 5810403"/>
              <a:gd name="connsiteY10" fmla="*/ 2393733 h 5905499"/>
              <a:gd name="connsiteX11" fmla="*/ 5600744 w 5810403"/>
              <a:gd name="connsiteY11" fmla="*/ 2644008 h 5905499"/>
              <a:gd name="connsiteX12" fmla="*/ 5569638 w 5810403"/>
              <a:gd name="connsiteY12" fmla="*/ 2644008 h 5905499"/>
              <a:gd name="connsiteX13" fmla="*/ 3882110 w 5810403"/>
              <a:gd name="connsiteY13" fmla="*/ 2644008 h 5905499"/>
              <a:gd name="connsiteX14" fmla="*/ 3866201 w 5810403"/>
              <a:gd name="connsiteY14" fmla="*/ 2644008 h 5905499"/>
              <a:gd name="connsiteX15" fmla="*/ 3662941 w 5810403"/>
              <a:gd name="connsiteY15" fmla="*/ 2503684 h 5905499"/>
              <a:gd name="connsiteX16" fmla="*/ 3725144 w 5810403"/>
              <a:gd name="connsiteY16" fmla="*/ 2277277 h 5905499"/>
              <a:gd name="connsiteX17" fmla="*/ 4138890 w 5810403"/>
              <a:gd name="connsiteY17" fmla="*/ 1855571 h 5905499"/>
              <a:gd name="connsiteX18" fmla="*/ 2794947 w 5810403"/>
              <a:gd name="connsiteY18" fmla="*/ 1300778 h 5905499"/>
              <a:gd name="connsiteX19" fmla="*/ 1341775 w 5810403"/>
              <a:gd name="connsiteY19" fmla="*/ 2410365 h 5905499"/>
              <a:gd name="connsiteX20" fmla="*/ 1030743 w 5810403"/>
              <a:gd name="connsiteY20" fmla="*/ 2643998 h 5905499"/>
              <a:gd name="connsiteX21" fmla="*/ 312478 w 5810403"/>
              <a:gd name="connsiteY21" fmla="*/ 2355390 h 5905499"/>
              <a:gd name="connsiteX22" fmla="*/ 312478 w 5810403"/>
              <a:gd name="connsiteY22" fmla="*/ 2355390 h 5905499"/>
              <a:gd name="connsiteX23" fmla="*/ 1031466 w 5810403"/>
              <a:gd name="connsiteY23" fmla="*/ 2355390 h 5905499"/>
              <a:gd name="connsiteX24" fmla="*/ 1078481 w 5810403"/>
              <a:gd name="connsiteY24" fmla="*/ 2308374 h 5905499"/>
              <a:gd name="connsiteX25" fmla="*/ 2773969 w 5810403"/>
              <a:gd name="connsiteY25" fmla="*/ 1027356 h 5905499"/>
              <a:gd name="connsiteX26" fmla="*/ 4453537 w 5810403"/>
              <a:gd name="connsiteY26" fmla="*/ 1785409 h 5905499"/>
              <a:gd name="connsiteX27" fmla="*/ 4445577 w 5810403"/>
              <a:gd name="connsiteY27" fmla="*/ 1980709 h 5905499"/>
              <a:gd name="connsiteX28" fmla="*/ 4062937 w 5810403"/>
              <a:gd name="connsiteY28" fmla="*/ 2363349 h 5905499"/>
              <a:gd name="connsiteX29" fmla="*/ 5524068 w 5810403"/>
              <a:gd name="connsiteY29" fmla="*/ 2363349 h 5905499"/>
              <a:gd name="connsiteX30" fmla="*/ 5524068 w 5810403"/>
              <a:gd name="connsiteY30" fmla="*/ 878349 h 5905499"/>
              <a:gd name="connsiteX31" fmla="*/ 5156614 w 5810403"/>
              <a:gd name="connsiteY31" fmla="*/ 1237843 h 5905499"/>
              <a:gd name="connsiteX32" fmla="*/ 5055346 w 5810403"/>
              <a:gd name="connsiteY32" fmla="*/ 1276899 h 5905499"/>
              <a:gd name="connsiteX33" fmla="*/ 4954078 w 5810403"/>
              <a:gd name="connsiteY33" fmla="*/ 1229883 h 5905499"/>
              <a:gd name="connsiteX34" fmla="*/ 1976136 w 5810403"/>
              <a:gd name="connsiteY34" fmla="*/ 464603 h 5905499"/>
              <a:gd name="connsiteX35" fmla="*/ 312478 w 5810403"/>
              <a:gd name="connsiteY35" fmla="*/ 2355390 h 5905499"/>
              <a:gd name="connsiteX36" fmla="*/ 2866555 w 5810403"/>
              <a:gd name="connsiteY36" fmla="*/ 5909835 h 5905499"/>
              <a:gd name="connsiteX37" fmla="*/ 765281 w 5810403"/>
              <a:gd name="connsiteY37" fmla="*/ 4972402 h 5905499"/>
              <a:gd name="connsiteX38" fmla="*/ 374681 w 5810403"/>
              <a:gd name="connsiteY38" fmla="*/ 5347082 h 5905499"/>
              <a:gd name="connsiteX39" fmla="*/ 187340 w 5810403"/>
              <a:gd name="connsiteY39" fmla="*/ 5433163 h 5905499"/>
              <a:gd name="connsiteX40" fmla="*/ 187340 w 5810403"/>
              <a:gd name="connsiteY40" fmla="*/ 5433163 h 5905499"/>
              <a:gd name="connsiteX41" fmla="*/ 0 w 5810403"/>
              <a:gd name="connsiteY41" fmla="*/ 5214717 h 5905499"/>
              <a:gd name="connsiteX42" fmla="*/ 0 w 5810403"/>
              <a:gd name="connsiteY42" fmla="*/ 3519230 h 5905499"/>
              <a:gd name="connsiteX43" fmla="*/ 218446 w 5810403"/>
              <a:gd name="connsiteY43" fmla="*/ 3268955 h 5905499"/>
              <a:gd name="connsiteX44" fmla="*/ 249553 w 5810403"/>
              <a:gd name="connsiteY44" fmla="*/ 3268955 h 5905499"/>
              <a:gd name="connsiteX45" fmla="*/ 1929121 w 5810403"/>
              <a:gd name="connsiteY45" fmla="*/ 3268955 h 5905499"/>
              <a:gd name="connsiteX46" fmla="*/ 1945030 w 5810403"/>
              <a:gd name="connsiteY46" fmla="*/ 3268955 h 5905499"/>
              <a:gd name="connsiteX47" fmla="*/ 2148290 w 5810403"/>
              <a:gd name="connsiteY47" fmla="*/ 3409279 h 5905499"/>
              <a:gd name="connsiteX48" fmla="*/ 2086087 w 5810403"/>
              <a:gd name="connsiteY48" fmla="*/ 3635685 h 5905499"/>
              <a:gd name="connsiteX49" fmla="*/ 1672341 w 5810403"/>
              <a:gd name="connsiteY49" fmla="*/ 4057391 h 5905499"/>
              <a:gd name="connsiteX50" fmla="*/ 3016284 w 5810403"/>
              <a:gd name="connsiteY50" fmla="*/ 4612185 h 5905499"/>
              <a:gd name="connsiteX51" fmla="*/ 4469456 w 5810403"/>
              <a:gd name="connsiteY51" fmla="*/ 3502597 h 5905499"/>
              <a:gd name="connsiteX52" fmla="*/ 4477415 w 5810403"/>
              <a:gd name="connsiteY52" fmla="*/ 3494638 h 5905499"/>
              <a:gd name="connsiteX53" fmla="*/ 4781934 w 5810403"/>
              <a:gd name="connsiteY53" fmla="*/ 3276191 h 5905499"/>
              <a:gd name="connsiteX54" fmla="*/ 5508158 w 5810403"/>
              <a:gd name="connsiteY54" fmla="*/ 3276191 h 5905499"/>
              <a:gd name="connsiteX55" fmla="*/ 5750474 w 5810403"/>
              <a:gd name="connsiteY55" fmla="*/ 3393370 h 5905499"/>
              <a:gd name="connsiteX56" fmla="*/ 5789530 w 5810403"/>
              <a:gd name="connsiteY56" fmla="*/ 3627725 h 5905499"/>
              <a:gd name="connsiteX57" fmla="*/ 3945759 w 5810403"/>
              <a:gd name="connsiteY57" fmla="*/ 5729000 h 5905499"/>
              <a:gd name="connsiteX58" fmla="*/ 2866555 w 5810403"/>
              <a:gd name="connsiteY58" fmla="*/ 5909835 h 5905499"/>
              <a:gd name="connsiteX59" fmla="*/ 773240 w 5810403"/>
              <a:gd name="connsiteY59" fmla="*/ 4628095 h 5905499"/>
              <a:gd name="connsiteX60" fmla="*/ 773240 w 5810403"/>
              <a:gd name="connsiteY60" fmla="*/ 4628095 h 5905499"/>
              <a:gd name="connsiteX61" fmla="*/ 874509 w 5810403"/>
              <a:gd name="connsiteY61" fmla="*/ 4675110 h 5905499"/>
              <a:gd name="connsiteX62" fmla="*/ 3851014 w 5810403"/>
              <a:gd name="connsiteY62" fmla="*/ 5441113 h 5905499"/>
              <a:gd name="connsiteX63" fmla="*/ 5514672 w 5810403"/>
              <a:gd name="connsiteY63" fmla="*/ 3550326 h 5905499"/>
              <a:gd name="connsiteX64" fmla="*/ 5514672 w 5810403"/>
              <a:gd name="connsiteY64" fmla="*/ 3550326 h 5905499"/>
              <a:gd name="connsiteX65" fmla="*/ 4795685 w 5810403"/>
              <a:gd name="connsiteY65" fmla="*/ 3550326 h 5905499"/>
              <a:gd name="connsiteX66" fmla="*/ 4756628 w 5810403"/>
              <a:gd name="connsiteY66" fmla="*/ 3597342 h 5905499"/>
              <a:gd name="connsiteX67" fmla="*/ 4756628 w 5810403"/>
              <a:gd name="connsiteY67" fmla="*/ 3597342 h 5905499"/>
              <a:gd name="connsiteX68" fmla="*/ 3061141 w 5810403"/>
              <a:gd name="connsiteY68" fmla="*/ 4878360 h 5905499"/>
              <a:gd name="connsiteX69" fmla="*/ 1381573 w 5810403"/>
              <a:gd name="connsiteY69" fmla="*/ 4120307 h 5905499"/>
              <a:gd name="connsiteX70" fmla="*/ 1389533 w 5810403"/>
              <a:gd name="connsiteY70" fmla="*/ 3925007 h 5905499"/>
              <a:gd name="connsiteX71" fmla="*/ 1772173 w 5810403"/>
              <a:gd name="connsiteY71" fmla="*/ 3542367 h 5905499"/>
              <a:gd name="connsiteX72" fmla="*/ 311033 w 5810403"/>
              <a:gd name="connsiteY72" fmla="*/ 3542367 h 5905499"/>
              <a:gd name="connsiteX73" fmla="*/ 311033 w 5810403"/>
              <a:gd name="connsiteY73" fmla="*/ 5018685 h 5905499"/>
              <a:gd name="connsiteX74" fmla="*/ 678486 w 5810403"/>
              <a:gd name="connsiteY74" fmla="*/ 4659191 h 5905499"/>
              <a:gd name="connsiteX75" fmla="*/ 773240 w 5810403"/>
              <a:gd name="connsiteY75" fmla="*/ 4628095 h 5905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810403" h="5905499">
                <a:moveTo>
                  <a:pt x="1030743" y="2643998"/>
                </a:moveTo>
                <a:lnTo>
                  <a:pt x="1022783" y="2643998"/>
                </a:lnTo>
                <a:lnTo>
                  <a:pt x="303796" y="2643998"/>
                </a:lnTo>
                <a:cubicBezTo>
                  <a:pt x="272690" y="2643998"/>
                  <a:pt x="139602" y="2636039"/>
                  <a:pt x="61480" y="2526820"/>
                </a:cubicBezTo>
                <a:cubicBezTo>
                  <a:pt x="30374" y="2479805"/>
                  <a:pt x="-8682" y="2401683"/>
                  <a:pt x="22424" y="2292464"/>
                </a:cubicBezTo>
                <a:cubicBezTo>
                  <a:pt x="287886" y="1253762"/>
                  <a:pt x="912842" y="542725"/>
                  <a:pt x="1874145" y="199150"/>
                </a:cubicBezTo>
                <a:cubicBezTo>
                  <a:pt x="3045945" y="-222556"/>
                  <a:pt x="4131663" y="26987"/>
                  <a:pt x="5053910" y="933324"/>
                </a:cubicBezTo>
                <a:lnTo>
                  <a:pt x="5444510" y="558644"/>
                </a:lnTo>
                <a:cubicBezTo>
                  <a:pt x="5475616" y="535497"/>
                  <a:pt x="5545779" y="472572"/>
                  <a:pt x="5631850" y="472572"/>
                </a:cubicBezTo>
                <a:cubicBezTo>
                  <a:pt x="5702012" y="472572"/>
                  <a:pt x="5819191" y="519588"/>
                  <a:pt x="5819191" y="691018"/>
                </a:cubicBezTo>
                <a:lnTo>
                  <a:pt x="5819191" y="2393733"/>
                </a:lnTo>
                <a:cubicBezTo>
                  <a:pt x="5819191" y="2518870"/>
                  <a:pt x="5733118" y="2620139"/>
                  <a:pt x="5600744" y="2644008"/>
                </a:cubicBezTo>
                <a:cubicBezTo>
                  <a:pt x="5592785" y="2644008"/>
                  <a:pt x="5577597" y="2644008"/>
                  <a:pt x="5569638" y="2644008"/>
                </a:cubicBezTo>
                <a:lnTo>
                  <a:pt x="3882110" y="2644008"/>
                </a:lnTo>
                <a:cubicBezTo>
                  <a:pt x="3874151" y="2644008"/>
                  <a:pt x="3874151" y="2644008"/>
                  <a:pt x="3866201" y="2644008"/>
                </a:cubicBezTo>
                <a:cubicBezTo>
                  <a:pt x="3827144" y="2636048"/>
                  <a:pt x="3702007" y="2620862"/>
                  <a:pt x="3662941" y="2503684"/>
                </a:cubicBezTo>
                <a:cubicBezTo>
                  <a:pt x="3647031" y="2456668"/>
                  <a:pt x="3631835" y="2370586"/>
                  <a:pt x="3725144" y="2277277"/>
                </a:cubicBezTo>
                <a:lnTo>
                  <a:pt x="4138890" y="1855571"/>
                </a:lnTo>
                <a:cubicBezTo>
                  <a:pt x="3764210" y="1449062"/>
                  <a:pt x="3310675" y="1261722"/>
                  <a:pt x="2794947" y="1300778"/>
                </a:cubicBezTo>
                <a:cubicBezTo>
                  <a:pt x="2083909" y="1362981"/>
                  <a:pt x="1607237" y="1722484"/>
                  <a:pt x="1341775" y="2410365"/>
                </a:cubicBezTo>
                <a:cubicBezTo>
                  <a:pt x="1265108" y="2589746"/>
                  <a:pt x="1132734" y="2643998"/>
                  <a:pt x="1030743" y="2643998"/>
                </a:cubicBezTo>
                <a:close/>
                <a:moveTo>
                  <a:pt x="312478" y="2355390"/>
                </a:moveTo>
                <a:lnTo>
                  <a:pt x="312478" y="2355390"/>
                </a:lnTo>
                <a:lnTo>
                  <a:pt x="1031466" y="2355390"/>
                </a:lnTo>
                <a:cubicBezTo>
                  <a:pt x="1039425" y="2355390"/>
                  <a:pt x="1054612" y="2347430"/>
                  <a:pt x="1078481" y="2308374"/>
                </a:cubicBezTo>
                <a:cubicBezTo>
                  <a:pt x="1383000" y="1527174"/>
                  <a:pt x="1960940" y="1089559"/>
                  <a:pt x="2773969" y="1027356"/>
                </a:cubicBezTo>
                <a:cubicBezTo>
                  <a:pt x="3430030" y="972381"/>
                  <a:pt x="4000734" y="1230615"/>
                  <a:pt x="4453537" y="1785409"/>
                </a:cubicBezTo>
                <a:cubicBezTo>
                  <a:pt x="4500552" y="1840385"/>
                  <a:pt x="4492593" y="1925734"/>
                  <a:pt x="4445577" y="1980709"/>
                </a:cubicBezTo>
                <a:lnTo>
                  <a:pt x="4062937" y="2363349"/>
                </a:lnTo>
                <a:lnTo>
                  <a:pt x="5524068" y="2363349"/>
                </a:lnTo>
                <a:lnTo>
                  <a:pt x="5524068" y="878349"/>
                </a:lnTo>
                <a:lnTo>
                  <a:pt x="5156614" y="1237843"/>
                </a:lnTo>
                <a:cubicBezTo>
                  <a:pt x="5125508" y="1260989"/>
                  <a:pt x="5086452" y="1276899"/>
                  <a:pt x="5055346" y="1276899"/>
                </a:cubicBezTo>
                <a:cubicBezTo>
                  <a:pt x="5016290" y="1276899"/>
                  <a:pt x="4977224" y="1260989"/>
                  <a:pt x="4954078" y="1229883"/>
                </a:cubicBezTo>
                <a:cubicBezTo>
                  <a:pt x="4085370" y="324278"/>
                  <a:pt x="3077774" y="66053"/>
                  <a:pt x="1976136" y="464603"/>
                </a:cubicBezTo>
                <a:cubicBezTo>
                  <a:pt x="1108865" y="777081"/>
                  <a:pt x="554071" y="1417956"/>
                  <a:pt x="312478" y="2355390"/>
                </a:cubicBezTo>
                <a:close/>
                <a:moveTo>
                  <a:pt x="2866555" y="5909835"/>
                </a:moveTo>
                <a:cubicBezTo>
                  <a:pt x="2108501" y="5909835"/>
                  <a:pt x="1405423" y="5597357"/>
                  <a:pt x="765281" y="4972402"/>
                </a:cubicBezTo>
                <a:lnTo>
                  <a:pt x="374681" y="5347082"/>
                </a:lnTo>
                <a:cubicBezTo>
                  <a:pt x="343575" y="5370229"/>
                  <a:pt x="273412" y="5433163"/>
                  <a:pt x="187340" y="5433163"/>
                </a:cubicBezTo>
                <a:lnTo>
                  <a:pt x="187340" y="5433163"/>
                </a:lnTo>
                <a:cubicBezTo>
                  <a:pt x="117178" y="5433163"/>
                  <a:pt x="0" y="5386148"/>
                  <a:pt x="0" y="5214717"/>
                </a:cubicBezTo>
                <a:lnTo>
                  <a:pt x="0" y="3519230"/>
                </a:lnTo>
                <a:cubicBezTo>
                  <a:pt x="0" y="3394092"/>
                  <a:pt x="86072" y="3292824"/>
                  <a:pt x="218446" y="3268955"/>
                </a:cubicBezTo>
                <a:cubicBezTo>
                  <a:pt x="226406" y="3268955"/>
                  <a:pt x="241593" y="3268955"/>
                  <a:pt x="249553" y="3268955"/>
                </a:cubicBezTo>
                <a:lnTo>
                  <a:pt x="1929121" y="3268955"/>
                </a:lnTo>
                <a:cubicBezTo>
                  <a:pt x="1937080" y="3268955"/>
                  <a:pt x="1937080" y="3268955"/>
                  <a:pt x="1945030" y="3268955"/>
                </a:cubicBezTo>
                <a:cubicBezTo>
                  <a:pt x="1984086" y="3276914"/>
                  <a:pt x="2109224" y="3292101"/>
                  <a:pt x="2148290" y="3409279"/>
                </a:cubicBezTo>
                <a:cubicBezTo>
                  <a:pt x="2164199" y="3456295"/>
                  <a:pt x="2179396" y="3542376"/>
                  <a:pt x="2086087" y="3635685"/>
                </a:cubicBezTo>
                <a:lnTo>
                  <a:pt x="1672341" y="4057391"/>
                </a:lnTo>
                <a:cubicBezTo>
                  <a:pt x="2047021" y="4463901"/>
                  <a:pt x="2500556" y="4651241"/>
                  <a:pt x="3016284" y="4612185"/>
                </a:cubicBezTo>
                <a:cubicBezTo>
                  <a:pt x="3727322" y="4549982"/>
                  <a:pt x="4203994" y="4190488"/>
                  <a:pt x="4469456" y="3502597"/>
                </a:cubicBezTo>
                <a:cubicBezTo>
                  <a:pt x="4469456" y="3502597"/>
                  <a:pt x="4469456" y="3494638"/>
                  <a:pt x="4477415" y="3494638"/>
                </a:cubicBezTo>
                <a:cubicBezTo>
                  <a:pt x="4547577" y="3330444"/>
                  <a:pt x="4688625" y="3276191"/>
                  <a:pt x="4781934" y="3276191"/>
                </a:cubicBezTo>
                <a:lnTo>
                  <a:pt x="5508158" y="3276191"/>
                </a:lnTo>
                <a:cubicBezTo>
                  <a:pt x="5539264" y="3276191"/>
                  <a:pt x="5672352" y="3284151"/>
                  <a:pt x="5750474" y="3393370"/>
                </a:cubicBezTo>
                <a:cubicBezTo>
                  <a:pt x="5781580" y="3440385"/>
                  <a:pt x="5820636" y="3518507"/>
                  <a:pt x="5789530" y="3627725"/>
                </a:cubicBezTo>
                <a:cubicBezTo>
                  <a:pt x="5524068" y="4674387"/>
                  <a:pt x="4907072" y="5377465"/>
                  <a:pt x="3945759" y="5729000"/>
                </a:cubicBezTo>
                <a:cubicBezTo>
                  <a:pt x="3585551" y="5846910"/>
                  <a:pt x="3218098" y="5909835"/>
                  <a:pt x="2866555" y="5909835"/>
                </a:cubicBezTo>
                <a:close/>
                <a:moveTo>
                  <a:pt x="773240" y="4628095"/>
                </a:moveTo>
                <a:lnTo>
                  <a:pt x="773240" y="4628095"/>
                </a:lnTo>
                <a:cubicBezTo>
                  <a:pt x="812296" y="4628095"/>
                  <a:pt x="851362" y="4644004"/>
                  <a:pt x="874509" y="4675110"/>
                </a:cubicBezTo>
                <a:cubicBezTo>
                  <a:pt x="1741780" y="5581438"/>
                  <a:pt x="2749377" y="5838950"/>
                  <a:pt x="3851014" y="5441113"/>
                </a:cubicBezTo>
                <a:cubicBezTo>
                  <a:pt x="4710326" y="5128635"/>
                  <a:pt x="5273079" y="4495720"/>
                  <a:pt x="5514672" y="3550326"/>
                </a:cubicBezTo>
                <a:lnTo>
                  <a:pt x="5514672" y="3550326"/>
                </a:lnTo>
                <a:lnTo>
                  <a:pt x="4795685" y="3550326"/>
                </a:lnTo>
                <a:cubicBezTo>
                  <a:pt x="4795685" y="3550326"/>
                  <a:pt x="4772538" y="3558286"/>
                  <a:pt x="4756628" y="3597342"/>
                </a:cubicBezTo>
                <a:lnTo>
                  <a:pt x="4756628" y="3597342"/>
                </a:lnTo>
                <a:cubicBezTo>
                  <a:pt x="4444151" y="4378542"/>
                  <a:pt x="3874170" y="4808198"/>
                  <a:pt x="3061141" y="4878360"/>
                </a:cubicBezTo>
                <a:cubicBezTo>
                  <a:pt x="2405079" y="4933336"/>
                  <a:pt x="1834376" y="4675101"/>
                  <a:pt x="1381573" y="4120307"/>
                </a:cubicBezTo>
                <a:cubicBezTo>
                  <a:pt x="1334557" y="4065332"/>
                  <a:pt x="1342517" y="3979982"/>
                  <a:pt x="1389533" y="3925007"/>
                </a:cubicBezTo>
                <a:lnTo>
                  <a:pt x="1772173" y="3542367"/>
                </a:lnTo>
                <a:lnTo>
                  <a:pt x="311033" y="3542367"/>
                </a:lnTo>
                <a:lnTo>
                  <a:pt x="311033" y="5018685"/>
                </a:lnTo>
                <a:lnTo>
                  <a:pt x="678486" y="4659191"/>
                </a:lnTo>
                <a:cubicBezTo>
                  <a:pt x="703078" y="4644004"/>
                  <a:pt x="734184" y="4628095"/>
                  <a:pt x="773240" y="4628095"/>
                </a:cubicBezTo>
                <a:close/>
              </a:path>
            </a:pathLst>
          </a:custGeom>
          <a:solidFill>
            <a:schemeClr val="bg1"/>
          </a:solidFill>
          <a:ln w="951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2" name="Forma libre 414">
            <a:extLst>
              <a:ext uri="{FF2B5EF4-FFF2-40B4-BE49-F238E27FC236}">
                <a16:creationId xmlns:a16="http://schemas.microsoft.com/office/drawing/2014/main" xmlns="" id="{45D1ED5C-EA16-0245-8DA3-433FD4017AD1}"/>
              </a:ext>
            </a:extLst>
          </p:cNvPr>
          <p:cNvSpPr/>
          <p:nvPr/>
        </p:nvSpPr>
        <p:spPr>
          <a:xfrm>
            <a:off x="4258099" y="2005535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02 h 5829300"/>
              <a:gd name="connsiteX2" fmla="*/ 2915002 w 5829300"/>
              <a:gd name="connsiteY2" fmla="*/ 5829300 h 5829300"/>
              <a:gd name="connsiteX3" fmla="*/ 5830005 w 5829300"/>
              <a:gd name="connsiteY3" fmla="*/ 2914298 h 5829300"/>
              <a:gd name="connsiteX4" fmla="*/ 2915002 w 5829300"/>
              <a:gd name="connsiteY4" fmla="*/ 0 h 5829300"/>
              <a:gd name="connsiteX5" fmla="*/ 2915002 w 5829300"/>
              <a:gd name="connsiteY5" fmla="*/ 5554475 h 5829300"/>
              <a:gd name="connsiteX6" fmla="*/ 282597 w 5829300"/>
              <a:gd name="connsiteY6" fmla="*/ 2922070 h 5829300"/>
              <a:gd name="connsiteX7" fmla="*/ 2915002 w 5829300"/>
              <a:gd name="connsiteY7" fmla="*/ 289665 h 5829300"/>
              <a:gd name="connsiteX8" fmla="*/ 5547408 w 5829300"/>
              <a:gd name="connsiteY8" fmla="*/ 2922070 h 5829300"/>
              <a:gd name="connsiteX9" fmla="*/ 2915002 w 5829300"/>
              <a:gd name="connsiteY9" fmla="*/ 5554475 h 5829300"/>
              <a:gd name="connsiteX10" fmla="*/ 3785407 w 5829300"/>
              <a:gd name="connsiteY10" fmla="*/ 1731626 h 5829300"/>
              <a:gd name="connsiteX11" fmla="*/ 3632807 w 5829300"/>
              <a:gd name="connsiteY11" fmla="*/ 1800158 h 5829300"/>
              <a:gd name="connsiteX12" fmla="*/ 2846480 w 5829300"/>
              <a:gd name="connsiteY12" fmla="*/ 2532793 h 5829300"/>
              <a:gd name="connsiteX13" fmla="*/ 2846480 w 5829300"/>
              <a:gd name="connsiteY13" fmla="*/ 1998678 h 5829300"/>
              <a:gd name="connsiteX14" fmla="*/ 2647950 w 5829300"/>
              <a:gd name="connsiteY14" fmla="*/ 1731626 h 5829300"/>
              <a:gd name="connsiteX15" fmla="*/ 2495350 w 5829300"/>
              <a:gd name="connsiteY15" fmla="*/ 1800158 h 5829300"/>
              <a:gd name="connsiteX16" fmla="*/ 1541583 w 5829300"/>
              <a:gd name="connsiteY16" fmla="*/ 2693165 h 5829300"/>
              <a:gd name="connsiteX17" fmla="*/ 1495663 w 5829300"/>
              <a:gd name="connsiteY17" fmla="*/ 3090215 h 5829300"/>
              <a:gd name="connsiteX18" fmla="*/ 1511208 w 5829300"/>
              <a:gd name="connsiteY18" fmla="*/ 3105760 h 5829300"/>
              <a:gd name="connsiteX19" fmla="*/ 2510904 w 5829300"/>
              <a:gd name="connsiteY19" fmla="*/ 4036219 h 5829300"/>
              <a:gd name="connsiteX20" fmla="*/ 2655732 w 5829300"/>
              <a:gd name="connsiteY20" fmla="*/ 4096979 h 5829300"/>
              <a:gd name="connsiteX21" fmla="*/ 2846489 w 5829300"/>
              <a:gd name="connsiteY21" fmla="*/ 3829927 h 5829300"/>
              <a:gd name="connsiteX22" fmla="*/ 2846489 w 5829300"/>
              <a:gd name="connsiteY22" fmla="*/ 3288040 h 5829300"/>
              <a:gd name="connsiteX23" fmla="*/ 3647656 w 5829300"/>
              <a:gd name="connsiteY23" fmla="*/ 4036219 h 5829300"/>
              <a:gd name="connsiteX24" fmla="*/ 3792484 w 5829300"/>
              <a:gd name="connsiteY24" fmla="*/ 4096979 h 5829300"/>
              <a:gd name="connsiteX25" fmla="*/ 3983241 w 5829300"/>
              <a:gd name="connsiteY25" fmla="*/ 3829927 h 5829300"/>
              <a:gd name="connsiteX26" fmla="*/ 3983241 w 5829300"/>
              <a:gd name="connsiteY26" fmla="*/ 1998678 h 5829300"/>
              <a:gd name="connsiteX27" fmla="*/ 3785407 w 5829300"/>
              <a:gd name="connsiteY27" fmla="*/ 1731626 h 5829300"/>
              <a:gd name="connsiteX28" fmla="*/ 2564578 w 5829300"/>
              <a:gd name="connsiteY28" fmla="*/ 3708397 h 5829300"/>
              <a:gd name="connsiteX29" fmla="*/ 1725263 w 5829300"/>
              <a:gd name="connsiteY29" fmla="*/ 2914298 h 5829300"/>
              <a:gd name="connsiteX30" fmla="*/ 1740808 w 5829300"/>
              <a:gd name="connsiteY30" fmla="*/ 2898753 h 5829300"/>
              <a:gd name="connsiteX31" fmla="*/ 2564578 w 5829300"/>
              <a:gd name="connsiteY31" fmla="*/ 2128676 h 5829300"/>
              <a:gd name="connsiteX32" fmla="*/ 2564578 w 5829300"/>
              <a:gd name="connsiteY32" fmla="*/ 3708397 h 5829300"/>
              <a:gd name="connsiteX33" fmla="*/ 3701329 w 5829300"/>
              <a:gd name="connsiteY33" fmla="*/ 3708397 h 5829300"/>
              <a:gd name="connsiteX34" fmla="*/ 2854242 w 5829300"/>
              <a:gd name="connsiteY34" fmla="*/ 2914298 h 5829300"/>
              <a:gd name="connsiteX35" fmla="*/ 2869787 w 5829300"/>
              <a:gd name="connsiteY35" fmla="*/ 2898753 h 5829300"/>
              <a:gd name="connsiteX36" fmla="*/ 3701329 w 5829300"/>
              <a:gd name="connsiteY36" fmla="*/ 2128676 h 5829300"/>
              <a:gd name="connsiteX37" fmla="*/ 3701329 w 5829300"/>
              <a:gd name="connsiteY37" fmla="*/ 3708397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906"/>
                  <a:pt x="0" y="2915002"/>
                </a:cubicBezTo>
                <a:cubicBezTo>
                  <a:pt x="0" y="4525099"/>
                  <a:pt x="1305601" y="5829300"/>
                  <a:pt x="2915002" y="5829300"/>
                </a:cubicBezTo>
                <a:cubicBezTo>
                  <a:pt x="4525109" y="5837073"/>
                  <a:pt x="5830005" y="4524404"/>
                  <a:pt x="5830005" y="2914298"/>
                </a:cubicBezTo>
                <a:cubicBezTo>
                  <a:pt x="5830005" y="1304192"/>
                  <a:pt x="4525109" y="0"/>
                  <a:pt x="2915002" y="0"/>
                </a:cubicBezTo>
                <a:close/>
                <a:moveTo>
                  <a:pt x="2915002" y="5554475"/>
                </a:moveTo>
                <a:cubicBezTo>
                  <a:pt x="1465269" y="5554475"/>
                  <a:pt x="282597" y="4371804"/>
                  <a:pt x="282597" y="2922070"/>
                </a:cubicBezTo>
                <a:cubicBezTo>
                  <a:pt x="282597" y="1472336"/>
                  <a:pt x="1465269" y="289665"/>
                  <a:pt x="2915002" y="289665"/>
                </a:cubicBezTo>
                <a:cubicBezTo>
                  <a:pt x="4364736" y="289665"/>
                  <a:pt x="5547408" y="1472336"/>
                  <a:pt x="5547408" y="2922070"/>
                </a:cubicBezTo>
                <a:cubicBezTo>
                  <a:pt x="5547408" y="4371804"/>
                  <a:pt x="4372509" y="5554475"/>
                  <a:pt x="2915002" y="5554475"/>
                </a:cubicBezTo>
                <a:close/>
                <a:moveTo>
                  <a:pt x="3785407" y="1731626"/>
                </a:moveTo>
                <a:cubicBezTo>
                  <a:pt x="3731714" y="1731626"/>
                  <a:pt x="3678726" y="1754238"/>
                  <a:pt x="3632807" y="1800158"/>
                </a:cubicBezTo>
                <a:lnTo>
                  <a:pt x="2846480" y="2532793"/>
                </a:lnTo>
                <a:lnTo>
                  <a:pt x="2846480" y="1998678"/>
                </a:lnTo>
                <a:cubicBezTo>
                  <a:pt x="2846480" y="1747161"/>
                  <a:pt x="2693880" y="1731626"/>
                  <a:pt x="2647950" y="1731626"/>
                </a:cubicBezTo>
                <a:cubicBezTo>
                  <a:pt x="2594258" y="1731626"/>
                  <a:pt x="2541270" y="1754238"/>
                  <a:pt x="2495350" y="1800158"/>
                </a:cubicBezTo>
                <a:lnTo>
                  <a:pt x="1541583" y="2693165"/>
                </a:lnTo>
                <a:cubicBezTo>
                  <a:pt x="1381211" y="2837993"/>
                  <a:pt x="1419358" y="2998375"/>
                  <a:pt x="1495663" y="3090215"/>
                </a:cubicBezTo>
                <a:cubicBezTo>
                  <a:pt x="1495663" y="3097987"/>
                  <a:pt x="1503436" y="3097987"/>
                  <a:pt x="1511208" y="3105760"/>
                </a:cubicBezTo>
                <a:lnTo>
                  <a:pt x="2510904" y="4036219"/>
                </a:lnTo>
                <a:cubicBezTo>
                  <a:pt x="2556825" y="4082139"/>
                  <a:pt x="2602744" y="4096979"/>
                  <a:pt x="2655732" y="4096979"/>
                </a:cubicBezTo>
                <a:cubicBezTo>
                  <a:pt x="2701652" y="4096979"/>
                  <a:pt x="2846489" y="4074367"/>
                  <a:pt x="2846489" y="3829927"/>
                </a:cubicBezTo>
                <a:lnTo>
                  <a:pt x="2846489" y="3288040"/>
                </a:lnTo>
                <a:lnTo>
                  <a:pt x="3647656" y="4036219"/>
                </a:lnTo>
                <a:cubicBezTo>
                  <a:pt x="3693576" y="4082139"/>
                  <a:pt x="3739496" y="4096979"/>
                  <a:pt x="3792484" y="4096979"/>
                </a:cubicBezTo>
                <a:cubicBezTo>
                  <a:pt x="3838404" y="4096979"/>
                  <a:pt x="3983241" y="4074367"/>
                  <a:pt x="3983241" y="3829927"/>
                </a:cubicBezTo>
                <a:lnTo>
                  <a:pt x="3983241" y="1998678"/>
                </a:lnTo>
                <a:cubicBezTo>
                  <a:pt x="3983222" y="1754943"/>
                  <a:pt x="3830622" y="1731626"/>
                  <a:pt x="3785407" y="1731626"/>
                </a:cubicBezTo>
                <a:close/>
                <a:moveTo>
                  <a:pt x="2564578" y="3708397"/>
                </a:moveTo>
                <a:lnTo>
                  <a:pt x="1725263" y="2914298"/>
                </a:lnTo>
                <a:cubicBezTo>
                  <a:pt x="1725263" y="2906525"/>
                  <a:pt x="1733036" y="2906525"/>
                  <a:pt x="1740808" y="2898753"/>
                </a:cubicBezTo>
                <a:lnTo>
                  <a:pt x="2564578" y="2128676"/>
                </a:lnTo>
                <a:lnTo>
                  <a:pt x="2564578" y="3708397"/>
                </a:lnTo>
                <a:close/>
                <a:moveTo>
                  <a:pt x="3701329" y="3708397"/>
                </a:moveTo>
                <a:lnTo>
                  <a:pt x="2854242" y="2914298"/>
                </a:lnTo>
                <a:cubicBezTo>
                  <a:pt x="2854242" y="2906525"/>
                  <a:pt x="2862015" y="2906525"/>
                  <a:pt x="2869787" y="2898753"/>
                </a:cubicBezTo>
                <a:lnTo>
                  <a:pt x="3701329" y="2128676"/>
                </a:lnTo>
                <a:lnTo>
                  <a:pt x="3701329" y="3708397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3" name="Forma libre 416">
            <a:extLst>
              <a:ext uri="{FF2B5EF4-FFF2-40B4-BE49-F238E27FC236}">
                <a16:creationId xmlns:a16="http://schemas.microsoft.com/office/drawing/2014/main" xmlns="" id="{9E1D0FB4-D711-984A-8447-6681250AAF97}"/>
              </a:ext>
            </a:extLst>
          </p:cNvPr>
          <p:cNvSpPr/>
          <p:nvPr/>
        </p:nvSpPr>
        <p:spPr>
          <a:xfrm>
            <a:off x="481817" y="3385423"/>
            <a:ext cx="301339" cy="301339"/>
          </a:xfrm>
          <a:custGeom>
            <a:avLst/>
            <a:gdLst>
              <a:gd name="connsiteX0" fmla="*/ 2910247 w 5819790"/>
              <a:gd name="connsiteY0" fmla="*/ 0 h 5819790"/>
              <a:gd name="connsiteX1" fmla="*/ 0 w 5819790"/>
              <a:gd name="connsiteY1" fmla="*/ 2910247 h 5819790"/>
              <a:gd name="connsiteX2" fmla="*/ 2910247 w 5819790"/>
              <a:gd name="connsiteY2" fmla="*/ 5827550 h 5819790"/>
              <a:gd name="connsiteX3" fmla="*/ 5820495 w 5819790"/>
              <a:gd name="connsiteY3" fmla="*/ 2917303 h 5819790"/>
              <a:gd name="connsiteX4" fmla="*/ 2910247 w 5819790"/>
              <a:gd name="connsiteY4" fmla="*/ 0 h 5819790"/>
              <a:gd name="connsiteX5" fmla="*/ 2910247 w 5819790"/>
              <a:gd name="connsiteY5" fmla="*/ 5545414 h 5819790"/>
              <a:gd name="connsiteX6" fmla="*/ 282136 w 5819790"/>
              <a:gd name="connsiteY6" fmla="*/ 2917303 h 5819790"/>
              <a:gd name="connsiteX7" fmla="*/ 2910247 w 5819790"/>
              <a:gd name="connsiteY7" fmla="*/ 281433 h 5819790"/>
              <a:gd name="connsiteX8" fmla="*/ 5538358 w 5819790"/>
              <a:gd name="connsiteY8" fmla="*/ 2909544 h 5819790"/>
              <a:gd name="connsiteX9" fmla="*/ 2910247 w 5819790"/>
              <a:gd name="connsiteY9" fmla="*/ 5545414 h 5819790"/>
              <a:gd name="connsiteX10" fmla="*/ 4265916 w 5819790"/>
              <a:gd name="connsiteY10" fmla="*/ 2977964 h 5819790"/>
              <a:gd name="connsiteX11" fmla="*/ 4258157 w 5819790"/>
              <a:gd name="connsiteY11" fmla="*/ 2985724 h 5819790"/>
              <a:gd name="connsiteX12" fmla="*/ 4242637 w 5819790"/>
              <a:gd name="connsiteY12" fmla="*/ 3008299 h 5819790"/>
              <a:gd name="connsiteX13" fmla="*/ 3191680 w 5819790"/>
              <a:gd name="connsiteY13" fmla="*/ 4059256 h 5819790"/>
              <a:gd name="connsiteX14" fmla="*/ 3092933 w 5819790"/>
              <a:gd name="connsiteY14" fmla="*/ 4097342 h 5819790"/>
              <a:gd name="connsiteX15" fmla="*/ 2994187 w 5819790"/>
              <a:gd name="connsiteY15" fmla="*/ 4059256 h 5819790"/>
              <a:gd name="connsiteX16" fmla="*/ 2994187 w 5819790"/>
              <a:gd name="connsiteY16" fmla="*/ 3861051 h 5819790"/>
              <a:gd name="connsiteX17" fmla="*/ 3801807 w 5819790"/>
              <a:gd name="connsiteY17" fmla="*/ 3053431 h 5819790"/>
              <a:gd name="connsiteX18" fmla="*/ 1569385 w 5819790"/>
              <a:gd name="connsiteY18" fmla="*/ 3053431 h 5819790"/>
              <a:gd name="connsiteX19" fmla="*/ 1432543 w 5819790"/>
              <a:gd name="connsiteY19" fmla="*/ 2916590 h 5819790"/>
              <a:gd name="connsiteX20" fmla="*/ 1569385 w 5819790"/>
              <a:gd name="connsiteY20" fmla="*/ 2779749 h 5819790"/>
              <a:gd name="connsiteX21" fmla="*/ 3801094 w 5819790"/>
              <a:gd name="connsiteY21" fmla="*/ 2779749 h 5819790"/>
              <a:gd name="connsiteX22" fmla="*/ 3001937 w 5819790"/>
              <a:gd name="connsiteY22" fmla="*/ 1980593 h 5819790"/>
              <a:gd name="connsiteX23" fmla="*/ 3001937 w 5819790"/>
              <a:gd name="connsiteY23" fmla="*/ 1782387 h 5819790"/>
              <a:gd name="connsiteX24" fmla="*/ 3200143 w 5819790"/>
              <a:gd name="connsiteY24" fmla="*/ 1782387 h 5819790"/>
              <a:gd name="connsiteX25" fmla="*/ 4235590 w 5819790"/>
              <a:gd name="connsiteY25" fmla="*/ 2818538 h 5819790"/>
              <a:gd name="connsiteX26" fmla="*/ 4251110 w 5819790"/>
              <a:gd name="connsiteY26" fmla="*/ 2841113 h 5819790"/>
              <a:gd name="connsiteX27" fmla="*/ 4258870 w 5819790"/>
              <a:gd name="connsiteY27" fmla="*/ 2848873 h 5819790"/>
              <a:gd name="connsiteX28" fmla="*/ 4266629 w 5819790"/>
              <a:gd name="connsiteY28" fmla="*/ 2864393 h 5819790"/>
              <a:gd name="connsiteX29" fmla="*/ 4274389 w 5819790"/>
              <a:gd name="connsiteY29" fmla="*/ 2879912 h 5819790"/>
              <a:gd name="connsiteX30" fmla="*/ 4274389 w 5819790"/>
              <a:gd name="connsiteY30" fmla="*/ 2895432 h 5819790"/>
              <a:gd name="connsiteX31" fmla="*/ 4274389 w 5819790"/>
              <a:gd name="connsiteY31" fmla="*/ 2949036 h 5819790"/>
              <a:gd name="connsiteX32" fmla="*/ 4274389 w 5819790"/>
              <a:gd name="connsiteY32" fmla="*/ 2964556 h 5819790"/>
              <a:gd name="connsiteX33" fmla="*/ 4265916 w 5819790"/>
              <a:gd name="connsiteY33" fmla="*/ 2977964 h 5819790"/>
              <a:gd name="connsiteX34" fmla="*/ 4265916 w 5819790"/>
              <a:gd name="connsiteY34" fmla="*/ 2977964 h 581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819790" h="5819790">
                <a:moveTo>
                  <a:pt x="2910247" y="0"/>
                </a:moveTo>
                <a:cubicBezTo>
                  <a:pt x="1302768" y="0"/>
                  <a:pt x="0" y="1302768"/>
                  <a:pt x="0" y="2910247"/>
                </a:cubicBezTo>
                <a:cubicBezTo>
                  <a:pt x="0" y="4517727"/>
                  <a:pt x="1302768" y="5827550"/>
                  <a:pt x="2910247" y="5827550"/>
                </a:cubicBezTo>
                <a:cubicBezTo>
                  <a:pt x="4517727" y="5827550"/>
                  <a:pt x="5820495" y="4524783"/>
                  <a:pt x="5820495" y="2917303"/>
                </a:cubicBezTo>
                <a:cubicBezTo>
                  <a:pt x="5820495" y="1309824"/>
                  <a:pt x="4517727" y="0"/>
                  <a:pt x="2910247" y="0"/>
                </a:cubicBezTo>
                <a:close/>
                <a:moveTo>
                  <a:pt x="2910247" y="5545414"/>
                </a:moveTo>
                <a:cubicBezTo>
                  <a:pt x="1462879" y="5545414"/>
                  <a:pt x="282136" y="4364672"/>
                  <a:pt x="282136" y="2917303"/>
                </a:cubicBezTo>
                <a:cubicBezTo>
                  <a:pt x="282136" y="1469935"/>
                  <a:pt x="1462879" y="281433"/>
                  <a:pt x="2910247" y="281433"/>
                </a:cubicBezTo>
                <a:cubicBezTo>
                  <a:pt x="4357616" y="281433"/>
                  <a:pt x="5538358" y="1462175"/>
                  <a:pt x="5538358" y="2909544"/>
                </a:cubicBezTo>
                <a:cubicBezTo>
                  <a:pt x="5538358" y="4356912"/>
                  <a:pt x="4357616" y="5545414"/>
                  <a:pt x="2910247" y="5545414"/>
                </a:cubicBezTo>
                <a:close/>
                <a:moveTo>
                  <a:pt x="4265916" y="2977964"/>
                </a:moveTo>
                <a:cubicBezTo>
                  <a:pt x="4265916" y="2977964"/>
                  <a:pt x="4265916" y="2985724"/>
                  <a:pt x="4258157" y="2985724"/>
                </a:cubicBezTo>
                <a:cubicBezTo>
                  <a:pt x="4250397" y="2993484"/>
                  <a:pt x="4250397" y="3001243"/>
                  <a:pt x="4242637" y="3008299"/>
                </a:cubicBezTo>
                <a:lnTo>
                  <a:pt x="3191680" y="4059256"/>
                </a:lnTo>
                <a:cubicBezTo>
                  <a:pt x="3161354" y="4089582"/>
                  <a:pt x="3131019" y="4097342"/>
                  <a:pt x="3092933" y="4097342"/>
                </a:cubicBezTo>
                <a:cubicBezTo>
                  <a:pt x="3054848" y="4097342"/>
                  <a:pt x="3024513" y="4081822"/>
                  <a:pt x="2994187" y="4059256"/>
                </a:cubicBezTo>
                <a:cubicBezTo>
                  <a:pt x="2940582" y="4005652"/>
                  <a:pt x="2940582" y="3914665"/>
                  <a:pt x="2994187" y="3861051"/>
                </a:cubicBezTo>
                <a:lnTo>
                  <a:pt x="3801807" y="3053431"/>
                </a:lnTo>
                <a:lnTo>
                  <a:pt x="1569385" y="3053431"/>
                </a:lnTo>
                <a:cubicBezTo>
                  <a:pt x="1493204" y="3053431"/>
                  <a:pt x="1432543" y="2992770"/>
                  <a:pt x="1432543" y="2916590"/>
                </a:cubicBezTo>
                <a:cubicBezTo>
                  <a:pt x="1432543" y="2840410"/>
                  <a:pt x="1493204" y="2779749"/>
                  <a:pt x="1569385" y="2779749"/>
                </a:cubicBezTo>
                <a:lnTo>
                  <a:pt x="3801094" y="2779749"/>
                </a:lnTo>
                <a:lnTo>
                  <a:pt x="3001937" y="1980593"/>
                </a:lnTo>
                <a:cubicBezTo>
                  <a:pt x="2948333" y="1926988"/>
                  <a:pt x="2948333" y="1836001"/>
                  <a:pt x="3001937" y="1782387"/>
                </a:cubicBezTo>
                <a:cubicBezTo>
                  <a:pt x="3055542" y="1728782"/>
                  <a:pt x="3146529" y="1728782"/>
                  <a:pt x="3200143" y="1782387"/>
                </a:cubicBezTo>
                <a:lnTo>
                  <a:pt x="4235590" y="2818538"/>
                </a:lnTo>
                <a:cubicBezTo>
                  <a:pt x="4243350" y="2826298"/>
                  <a:pt x="4251110" y="2834057"/>
                  <a:pt x="4251110" y="2841113"/>
                </a:cubicBezTo>
                <a:lnTo>
                  <a:pt x="4258870" y="2848873"/>
                </a:lnTo>
                <a:cubicBezTo>
                  <a:pt x="4258870" y="2856633"/>
                  <a:pt x="4266629" y="2856633"/>
                  <a:pt x="4266629" y="2864393"/>
                </a:cubicBezTo>
                <a:cubicBezTo>
                  <a:pt x="4266629" y="2872152"/>
                  <a:pt x="4266629" y="2872152"/>
                  <a:pt x="4274389" y="2879912"/>
                </a:cubicBezTo>
                <a:cubicBezTo>
                  <a:pt x="4274389" y="2887672"/>
                  <a:pt x="4274389" y="2887672"/>
                  <a:pt x="4274389" y="2895432"/>
                </a:cubicBezTo>
                <a:cubicBezTo>
                  <a:pt x="4274389" y="2910951"/>
                  <a:pt x="4274389" y="2933517"/>
                  <a:pt x="4274389" y="2949036"/>
                </a:cubicBezTo>
                <a:cubicBezTo>
                  <a:pt x="4274389" y="2956796"/>
                  <a:pt x="4274389" y="2956796"/>
                  <a:pt x="4274389" y="2964556"/>
                </a:cubicBezTo>
                <a:cubicBezTo>
                  <a:pt x="4273676" y="2970908"/>
                  <a:pt x="4273676" y="2970908"/>
                  <a:pt x="4265916" y="2977964"/>
                </a:cubicBezTo>
                <a:cubicBezTo>
                  <a:pt x="4265916" y="2970908"/>
                  <a:pt x="4265916" y="2977964"/>
                  <a:pt x="4265916" y="2977964"/>
                </a:cubicBez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4" name="Forma libre 418">
            <a:extLst>
              <a:ext uri="{FF2B5EF4-FFF2-40B4-BE49-F238E27FC236}">
                <a16:creationId xmlns:a16="http://schemas.microsoft.com/office/drawing/2014/main" xmlns="" id="{B6F50AAF-9878-8D44-9750-9B98FF5D3AC5}"/>
              </a:ext>
            </a:extLst>
          </p:cNvPr>
          <p:cNvSpPr/>
          <p:nvPr/>
        </p:nvSpPr>
        <p:spPr>
          <a:xfrm>
            <a:off x="6491661" y="2069004"/>
            <a:ext cx="301338" cy="301338"/>
          </a:xfrm>
          <a:custGeom>
            <a:avLst/>
            <a:gdLst>
              <a:gd name="connsiteX0" fmla="*/ 5773646 w 5819775"/>
              <a:gd name="connsiteY0" fmla="*/ 1146820 h 5819775"/>
              <a:gd name="connsiteX1" fmla="*/ 4666374 w 5819775"/>
              <a:gd name="connsiteY1" fmla="*/ 39548 h 5819775"/>
              <a:gd name="connsiteX2" fmla="*/ 4563847 w 5819775"/>
              <a:gd name="connsiteY2" fmla="*/ 0 h 5819775"/>
              <a:gd name="connsiteX3" fmla="*/ 4136898 w 5819775"/>
              <a:gd name="connsiteY3" fmla="*/ 0 h 5819775"/>
              <a:gd name="connsiteX4" fmla="*/ 1676286 w 5819775"/>
              <a:gd name="connsiteY4" fmla="*/ 0 h 5819775"/>
              <a:gd name="connsiteX5" fmla="*/ 387401 w 5819775"/>
              <a:gd name="connsiteY5" fmla="*/ 0 h 5819775"/>
              <a:gd name="connsiteX6" fmla="*/ 0 w 5819775"/>
              <a:gd name="connsiteY6" fmla="*/ 387401 h 5819775"/>
              <a:gd name="connsiteX7" fmla="*/ 0 w 5819775"/>
              <a:gd name="connsiteY7" fmla="*/ 5433117 h 5819775"/>
              <a:gd name="connsiteX8" fmla="*/ 387401 w 5819775"/>
              <a:gd name="connsiteY8" fmla="*/ 5820518 h 5819775"/>
              <a:gd name="connsiteX9" fmla="*/ 1209799 w 5819775"/>
              <a:gd name="connsiteY9" fmla="*/ 5820518 h 5819775"/>
              <a:gd name="connsiteX10" fmla="*/ 4721295 w 5819775"/>
              <a:gd name="connsiteY10" fmla="*/ 5820518 h 5819775"/>
              <a:gd name="connsiteX11" fmla="*/ 5441166 w 5819775"/>
              <a:gd name="connsiteY11" fmla="*/ 5820518 h 5819775"/>
              <a:gd name="connsiteX12" fmla="*/ 5828567 w 5819775"/>
              <a:gd name="connsiteY12" fmla="*/ 5433117 h 5819775"/>
              <a:gd name="connsiteX13" fmla="*/ 5828567 w 5819775"/>
              <a:gd name="connsiteY13" fmla="*/ 1250080 h 5819775"/>
              <a:gd name="connsiteX14" fmla="*/ 5773646 w 5819775"/>
              <a:gd name="connsiteY14" fmla="*/ 1146820 h 5819775"/>
              <a:gd name="connsiteX15" fmla="*/ 3994099 w 5819775"/>
              <a:gd name="connsiteY15" fmla="*/ 292932 h 5819775"/>
              <a:gd name="connsiteX16" fmla="*/ 3994099 w 5819775"/>
              <a:gd name="connsiteY16" fmla="*/ 1589875 h 5819775"/>
              <a:gd name="connsiteX17" fmla="*/ 3986041 w 5819775"/>
              <a:gd name="connsiteY17" fmla="*/ 1597933 h 5819775"/>
              <a:gd name="connsiteX18" fmla="*/ 3582533 w 5819775"/>
              <a:gd name="connsiteY18" fmla="*/ 1597933 h 5819775"/>
              <a:gd name="connsiteX19" fmla="*/ 3582533 w 5819775"/>
              <a:gd name="connsiteY19" fmla="*/ 292932 h 5819775"/>
              <a:gd name="connsiteX20" fmla="*/ 3994099 w 5819775"/>
              <a:gd name="connsiteY20" fmla="*/ 292932 h 5819775"/>
              <a:gd name="connsiteX21" fmla="*/ 3282277 w 5819775"/>
              <a:gd name="connsiteY21" fmla="*/ 292932 h 5819775"/>
              <a:gd name="connsiteX22" fmla="*/ 3282277 w 5819775"/>
              <a:gd name="connsiteY22" fmla="*/ 1597933 h 5819775"/>
              <a:gd name="connsiteX23" fmla="*/ 1834467 w 5819775"/>
              <a:gd name="connsiteY23" fmla="*/ 1597933 h 5819775"/>
              <a:gd name="connsiteX24" fmla="*/ 1826409 w 5819775"/>
              <a:gd name="connsiteY24" fmla="*/ 1589875 h 5819775"/>
              <a:gd name="connsiteX25" fmla="*/ 1826409 w 5819775"/>
              <a:gd name="connsiteY25" fmla="*/ 292932 h 5819775"/>
              <a:gd name="connsiteX26" fmla="*/ 3282277 w 5819775"/>
              <a:gd name="connsiteY26" fmla="*/ 292932 h 5819775"/>
              <a:gd name="connsiteX27" fmla="*/ 1351874 w 5819775"/>
              <a:gd name="connsiteY27" fmla="*/ 5529044 h 5819775"/>
              <a:gd name="connsiteX28" fmla="*/ 1351874 w 5819775"/>
              <a:gd name="connsiteY28" fmla="*/ 3717274 h 5819775"/>
              <a:gd name="connsiteX29" fmla="*/ 1968494 w 5819775"/>
              <a:gd name="connsiteY29" fmla="*/ 3100654 h 5819775"/>
              <a:gd name="connsiteX30" fmla="*/ 3953828 w 5819775"/>
              <a:gd name="connsiteY30" fmla="*/ 3100654 h 5819775"/>
              <a:gd name="connsiteX31" fmla="*/ 4570448 w 5819775"/>
              <a:gd name="connsiteY31" fmla="*/ 3717274 h 5819775"/>
              <a:gd name="connsiteX32" fmla="*/ 4570448 w 5819775"/>
              <a:gd name="connsiteY32" fmla="*/ 5528310 h 5819775"/>
              <a:gd name="connsiteX33" fmla="*/ 1351874 w 5819775"/>
              <a:gd name="connsiteY33" fmla="*/ 5528310 h 5819775"/>
              <a:gd name="connsiteX34" fmla="*/ 1351874 w 5819775"/>
              <a:gd name="connsiteY34" fmla="*/ 5529044 h 5819775"/>
              <a:gd name="connsiteX35" fmla="*/ 5528320 w 5819775"/>
              <a:gd name="connsiteY35" fmla="*/ 5433842 h 5819775"/>
              <a:gd name="connsiteX36" fmla="*/ 5433117 w 5819775"/>
              <a:gd name="connsiteY36" fmla="*/ 5529044 h 5819775"/>
              <a:gd name="connsiteX37" fmla="*/ 4863370 w 5819775"/>
              <a:gd name="connsiteY37" fmla="*/ 5529044 h 5819775"/>
              <a:gd name="connsiteX38" fmla="*/ 4863370 w 5819775"/>
              <a:gd name="connsiteY38" fmla="*/ 3717274 h 5819775"/>
              <a:gd name="connsiteX39" fmla="*/ 3953828 w 5819775"/>
              <a:gd name="connsiteY39" fmla="*/ 2807732 h 5819775"/>
              <a:gd name="connsiteX40" fmla="*/ 1976542 w 5819775"/>
              <a:gd name="connsiteY40" fmla="*/ 2807732 h 5819775"/>
              <a:gd name="connsiteX41" fmla="*/ 1067000 w 5819775"/>
              <a:gd name="connsiteY41" fmla="*/ 3717274 h 5819775"/>
              <a:gd name="connsiteX42" fmla="*/ 1067000 w 5819775"/>
              <a:gd name="connsiteY42" fmla="*/ 5528310 h 5819775"/>
              <a:gd name="connsiteX43" fmla="*/ 386667 w 5819775"/>
              <a:gd name="connsiteY43" fmla="*/ 5528310 h 5819775"/>
              <a:gd name="connsiteX44" fmla="*/ 291465 w 5819775"/>
              <a:gd name="connsiteY44" fmla="*/ 5433108 h 5819775"/>
              <a:gd name="connsiteX45" fmla="*/ 291465 w 5819775"/>
              <a:gd name="connsiteY45" fmla="*/ 387401 h 5819775"/>
              <a:gd name="connsiteX46" fmla="*/ 386667 w 5819775"/>
              <a:gd name="connsiteY46" fmla="*/ 292198 h 5819775"/>
              <a:gd name="connsiteX47" fmla="*/ 1533487 w 5819775"/>
              <a:gd name="connsiteY47" fmla="*/ 292198 h 5819775"/>
              <a:gd name="connsiteX48" fmla="*/ 1533487 w 5819775"/>
              <a:gd name="connsiteY48" fmla="*/ 1589141 h 5819775"/>
              <a:gd name="connsiteX49" fmla="*/ 1833744 w 5819775"/>
              <a:gd name="connsiteY49" fmla="*/ 1889398 h 5819775"/>
              <a:gd name="connsiteX50" fmla="*/ 3985308 w 5819775"/>
              <a:gd name="connsiteY50" fmla="*/ 1889398 h 5819775"/>
              <a:gd name="connsiteX51" fmla="*/ 4285565 w 5819775"/>
              <a:gd name="connsiteY51" fmla="*/ 1589141 h 5819775"/>
              <a:gd name="connsiteX52" fmla="*/ 4285565 w 5819775"/>
              <a:gd name="connsiteY52" fmla="*/ 292932 h 5819775"/>
              <a:gd name="connsiteX53" fmla="*/ 4506725 w 5819775"/>
              <a:gd name="connsiteY53" fmla="*/ 292932 h 5819775"/>
              <a:gd name="connsiteX54" fmla="*/ 5526853 w 5819775"/>
              <a:gd name="connsiteY54" fmla="*/ 1313059 h 5819775"/>
              <a:gd name="connsiteX55" fmla="*/ 5528320 w 5819775"/>
              <a:gd name="connsiteY55" fmla="*/ 5433842 h 5819775"/>
              <a:gd name="connsiteX56" fmla="*/ 5528320 w 5819775"/>
              <a:gd name="connsiteY56" fmla="*/ 5433842 h 5819775"/>
              <a:gd name="connsiteX57" fmla="*/ 4025589 w 5819775"/>
              <a:gd name="connsiteY57" fmla="*/ 4666364 h 5819775"/>
              <a:gd name="connsiteX58" fmla="*/ 3883514 w 5819775"/>
              <a:gd name="connsiteY58" fmla="*/ 4808439 h 5819775"/>
              <a:gd name="connsiteX59" fmla="*/ 2071745 w 5819775"/>
              <a:gd name="connsiteY59" fmla="*/ 4808439 h 5819775"/>
              <a:gd name="connsiteX60" fmla="*/ 1929670 w 5819775"/>
              <a:gd name="connsiteY60" fmla="*/ 4666364 h 5819775"/>
              <a:gd name="connsiteX61" fmla="*/ 2071745 w 5819775"/>
              <a:gd name="connsiteY61" fmla="*/ 4524290 h 5819775"/>
              <a:gd name="connsiteX62" fmla="*/ 3874723 w 5819775"/>
              <a:gd name="connsiteY62" fmla="*/ 4524290 h 5819775"/>
              <a:gd name="connsiteX63" fmla="*/ 4025589 w 5819775"/>
              <a:gd name="connsiteY63" fmla="*/ 4666364 h 5819775"/>
              <a:gd name="connsiteX64" fmla="*/ 4025589 w 5819775"/>
              <a:gd name="connsiteY64" fmla="*/ 3907679 h 5819775"/>
              <a:gd name="connsiteX65" fmla="*/ 3883514 w 5819775"/>
              <a:gd name="connsiteY65" fmla="*/ 4049754 h 5819775"/>
              <a:gd name="connsiteX66" fmla="*/ 2071745 w 5819775"/>
              <a:gd name="connsiteY66" fmla="*/ 4049754 h 5819775"/>
              <a:gd name="connsiteX67" fmla="*/ 1929670 w 5819775"/>
              <a:gd name="connsiteY67" fmla="*/ 3907679 h 5819775"/>
              <a:gd name="connsiteX68" fmla="*/ 2071745 w 5819775"/>
              <a:gd name="connsiteY68" fmla="*/ 3765604 h 5819775"/>
              <a:gd name="connsiteX69" fmla="*/ 3874723 w 5819775"/>
              <a:gd name="connsiteY69" fmla="*/ 3765604 h 5819775"/>
              <a:gd name="connsiteX70" fmla="*/ 4025589 w 5819775"/>
              <a:gd name="connsiteY70" fmla="*/ 3907679 h 581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5819775" h="5819775">
                <a:moveTo>
                  <a:pt x="5773646" y="1146820"/>
                </a:moveTo>
                <a:lnTo>
                  <a:pt x="4666374" y="39548"/>
                </a:lnTo>
                <a:cubicBezTo>
                  <a:pt x="4642942" y="16116"/>
                  <a:pt x="4603395" y="0"/>
                  <a:pt x="4563847" y="0"/>
                </a:cubicBezTo>
                <a:lnTo>
                  <a:pt x="4136898" y="0"/>
                </a:lnTo>
                <a:lnTo>
                  <a:pt x="1676286" y="0"/>
                </a:lnTo>
                <a:lnTo>
                  <a:pt x="387401" y="0"/>
                </a:lnTo>
                <a:cubicBezTo>
                  <a:pt x="173565" y="0"/>
                  <a:pt x="0" y="174288"/>
                  <a:pt x="0" y="387401"/>
                </a:cubicBezTo>
                <a:lnTo>
                  <a:pt x="0" y="5433117"/>
                </a:lnTo>
                <a:cubicBezTo>
                  <a:pt x="0" y="5646954"/>
                  <a:pt x="174288" y="5820518"/>
                  <a:pt x="387401" y="5820518"/>
                </a:cubicBezTo>
                <a:lnTo>
                  <a:pt x="1209799" y="5820518"/>
                </a:lnTo>
                <a:lnTo>
                  <a:pt x="4721295" y="5820518"/>
                </a:lnTo>
                <a:lnTo>
                  <a:pt x="5441166" y="5820518"/>
                </a:lnTo>
                <a:cubicBezTo>
                  <a:pt x="5655002" y="5820518"/>
                  <a:pt x="5828567" y="5646220"/>
                  <a:pt x="5828567" y="5433117"/>
                </a:cubicBezTo>
                <a:lnTo>
                  <a:pt x="5828567" y="1250080"/>
                </a:lnTo>
                <a:cubicBezTo>
                  <a:pt x="5820509" y="1218590"/>
                  <a:pt x="5805135" y="1179043"/>
                  <a:pt x="5773646" y="1146820"/>
                </a:cubicBezTo>
                <a:close/>
                <a:moveTo>
                  <a:pt x="3994099" y="292932"/>
                </a:moveTo>
                <a:lnTo>
                  <a:pt x="3994099" y="1589875"/>
                </a:lnTo>
                <a:cubicBezTo>
                  <a:pt x="3994099" y="1597933"/>
                  <a:pt x="3986041" y="1597933"/>
                  <a:pt x="3986041" y="1597933"/>
                </a:cubicBezTo>
                <a:lnTo>
                  <a:pt x="3582533" y="1597933"/>
                </a:lnTo>
                <a:lnTo>
                  <a:pt x="3582533" y="292932"/>
                </a:lnTo>
                <a:lnTo>
                  <a:pt x="3994099" y="292932"/>
                </a:lnTo>
                <a:close/>
                <a:moveTo>
                  <a:pt x="3282277" y="292932"/>
                </a:moveTo>
                <a:lnTo>
                  <a:pt x="3282277" y="1597933"/>
                </a:lnTo>
                <a:lnTo>
                  <a:pt x="1834467" y="1597933"/>
                </a:lnTo>
                <a:cubicBezTo>
                  <a:pt x="1826409" y="1597933"/>
                  <a:pt x="1826409" y="1589875"/>
                  <a:pt x="1826409" y="1589875"/>
                </a:cubicBezTo>
                <a:lnTo>
                  <a:pt x="1826409" y="292932"/>
                </a:lnTo>
                <a:lnTo>
                  <a:pt x="3282277" y="292932"/>
                </a:lnTo>
                <a:close/>
                <a:moveTo>
                  <a:pt x="1351874" y="5529044"/>
                </a:moveTo>
                <a:lnTo>
                  <a:pt x="1351874" y="3717274"/>
                </a:lnTo>
                <a:cubicBezTo>
                  <a:pt x="1351874" y="3377479"/>
                  <a:pt x="1628689" y="3100654"/>
                  <a:pt x="1968494" y="3100654"/>
                </a:cubicBezTo>
                <a:lnTo>
                  <a:pt x="3953828" y="3100654"/>
                </a:lnTo>
                <a:cubicBezTo>
                  <a:pt x="4293622" y="3100654"/>
                  <a:pt x="4570448" y="3377470"/>
                  <a:pt x="4570448" y="3717274"/>
                </a:cubicBezTo>
                <a:lnTo>
                  <a:pt x="4570448" y="5528310"/>
                </a:lnTo>
                <a:lnTo>
                  <a:pt x="1351874" y="5528310"/>
                </a:lnTo>
                <a:lnTo>
                  <a:pt x="1351874" y="5529044"/>
                </a:lnTo>
                <a:close/>
                <a:moveTo>
                  <a:pt x="5528320" y="5433842"/>
                </a:moveTo>
                <a:cubicBezTo>
                  <a:pt x="5528320" y="5481438"/>
                  <a:pt x="5488772" y="5529044"/>
                  <a:pt x="5433117" y="5529044"/>
                </a:cubicBezTo>
                <a:lnTo>
                  <a:pt x="4863370" y="5529044"/>
                </a:lnTo>
                <a:lnTo>
                  <a:pt x="4863370" y="3717274"/>
                </a:lnTo>
                <a:cubicBezTo>
                  <a:pt x="4863370" y="3219298"/>
                  <a:pt x="4451804" y="2807732"/>
                  <a:pt x="3953828" y="2807732"/>
                </a:cubicBezTo>
                <a:lnTo>
                  <a:pt x="1976542" y="2807732"/>
                </a:lnTo>
                <a:cubicBezTo>
                  <a:pt x="1478566" y="2807732"/>
                  <a:pt x="1067000" y="3219298"/>
                  <a:pt x="1067000" y="3717274"/>
                </a:cubicBezTo>
                <a:lnTo>
                  <a:pt x="1067000" y="5528310"/>
                </a:lnTo>
                <a:lnTo>
                  <a:pt x="386667" y="5528310"/>
                </a:lnTo>
                <a:cubicBezTo>
                  <a:pt x="339071" y="5528310"/>
                  <a:pt x="291465" y="5488763"/>
                  <a:pt x="291465" y="5433108"/>
                </a:cubicBezTo>
                <a:lnTo>
                  <a:pt x="291465" y="387401"/>
                </a:lnTo>
                <a:cubicBezTo>
                  <a:pt x="291465" y="339804"/>
                  <a:pt x="331013" y="292198"/>
                  <a:pt x="386667" y="292198"/>
                </a:cubicBezTo>
                <a:lnTo>
                  <a:pt x="1533487" y="292198"/>
                </a:lnTo>
                <a:lnTo>
                  <a:pt x="1533487" y="1589141"/>
                </a:lnTo>
                <a:cubicBezTo>
                  <a:pt x="1533487" y="1755381"/>
                  <a:pt x="1668237" y="1889398"/>
                  <a:pt x="1833744" y="1889398"/>
                </a:cubicBezTo>
                <a:lnTo>
                  <a:pt x="3985308" y="1889398"/>
                </a:lnTo>
                <a:cubicBezTo>
                  <a:pt x="4151548" y="1889398"/>
                  <a:pt x="4285565" y="1754648"/>
                  <a:pt x="4285565" y="1589141"/>
                </a:cubicBezTo>
                <a:lnTo>
                  <a:pt x="4285565" y="292932"/>
                </a:lnTo>
                <a:lnTo>
                  <a:pt x="4506725" y="292932"/>
                </a:lnTo>
                <a:lnTo>
                  <a:pt x="5526853" y="1313059"/>
                </a:lnTo>
                <a:lnTo>
                  <a:pt x="5528320" y="5433842"/>
                </a:lnTo>
                <a:lnTo>
                  <a:pt x="5528320" y="5433842"/>
                </a:lnTo>
                <a:close/>
                <a:moveTo>
                  <a:pt x="4025589" y="4666364"/>
                </a:moveTo>
                <a:cubicBezTo>
                  <a:pt x="4025589" y="4745460"/>
                  <a:pt x="3962610" y="4808439"/>
                  <a:pt x="3883514" y="4808439"/>
                </a:cubicBezTo>
                <a:lnTo>
                  <a:pt x="2071745" y="4808439"/>
                </a:lnTo>
                <a:cubicBezTo>
                  <a:pt x="1992649" y="4808439"/>
                  <a:pt x="1929670" y="4745460"/>
                  <a:pt x="1929670" y="4666364"/>
                </a:cubicBezTo>
                <a:cubicBezTo>
                  <a:pt x="1929670" y="4587278"/>
                  <a:pt x="1992649" y="4524290"/>
                  <a:pt x="2071745" y="4524290"/>
                </a:cubicBezTo>
                <a:lnTo>
                  <a:pt x="3874723" y="4524290"/>
                </a:lnTo>
                <a:cubicBezTo>
                  <a:pt x="3961876" y="4524299"/>
                  <a:pt x="4025589" y="4587278"/>
                  <a:pt x="4025589" y="4666364"/>
                </a:cubicBezTo>
                <a:close/>
                <a:moveTo>
                  <a:pt x="4025589" y="3907679"/>
                </a:moveTo>
                <a:cubicBezTo>
                  <a:pt x="4025589" y="3986765"/>
                  <a:pt x="3962610" y="4049754"/>
                  <a:pt x="3883514" y="4049754"/>
                </a:cubicBezTo>
                <a:lnTo>
                  <a:pt x="2071745" y="4049754"/>
                </a:lnTo>
                <a:cubicBezTo>
                  <a:pt x="1992649" y="4049754"/>
                  <a:pt x="1929670" y="3986775"/>
                  <a:pt x="1929670" y="3907679"/>
                </a:cubicBezTo>
                <a:cubicBezTo>
                  <a:pt x="1929670" y="3828583"/>
                  <a:pt x="1992649" y="3765604"/>
                  <a:pt x="2071745" y="3765604"/>
                </a:cubicBezTo>
                <a:lnTo>
                  <a:pt x="3874723" y="3765604"/>
                </a:lnTo>
                <a:cubicBezTo>
                  <a:pt x="3961876" y="3756822"/>
                  <a:pt x="4025589" y="3820535"/>
                  <a:pt x="4025589" y="390767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5" name="Forma libre 420">
            <a:extLst>
              <a:ext uri="{FF2B5EF4-FFF2-40B4-BE49-F238E27FC236}">
                <a16:creationId xmlns:a16="http://schemas.microsoft.com/office/drawing/2014/main" xmlns="" id="{6353A0BF-EE62-5544-801B-F1023FEC6354}"/>
              </a:ext>
            </a:extLst>
          </p:cNvPr>
          <p:cNvSpPr/>
          <p:nvPr/>
        </p:nvSpPr>
        <p:spPr>
          <a:xfrm>
            <a:off x="2843524" y="2048377"/>
            <a:ext cx="301338" cy="297392"/>
          </a:xfrm>
          <a:custGeom>
            <a:avLst/>
            <a:gdLst>
              <a:gd name="connsiteX0" fmla="*/ 5644982 w 5819775"/>
              <a:gd name="connsiteY0" fmla="*/ 4681871 h 5743575"/>
              <a:gd name="connsiteX1" fmla="*/ 4364612 w 5819775"/>
              <a:gd name="connsiteY1" fmla="*/ 3401501 h 5743575"/>
              <a:gd name="connsiteX2" fmla="*/ 4633532 w 5819775"/>
              <a:gd name="connsiteY2" fmla="*/ 2316766 h 5743575"/>
              <a:gd name="connsiteX3" fmla="*/ 2316766 w 5819775"/>
              <a:gd name="connsiteY3" fmla="*/ 0 h 5743575"/>
              <a:gd name="connsiteX4" fmla="*/ 0 w 5819775"/>
              <a:gd name="connsiteY4" fmla="*/ 2316766 h 5743575"/>
              <a:gd name="connsiteX5" fmla="*/ 2325072 w 5819775"/>
              <a:gd name="connsiteY5" fmla="*/ 4625216 h 5743575"/>
              <a:gd name="connsiteX6" fmla="*/ 3491389 w 5819775"/>
              <a:gd name="connsiteY6" fmla="*/ 4307196 h 5743575"/>
              <a:gd name="connsiteX7" fmla="*/ 4755899 w 5819775"/>
              <a:gd name="connsiteY7" fmla="*/ 5570954 h 5743575"/>
              <a:gd name="connsiteX8" fmla="*/ 5204594 w 5819775"/>
              <a:gd name="connsiteY8" fmla="*/ 5750738 h 5743575"/>
              <a:gd name="connsiteX9" fmla="*/ 5644982 w 5819775"/>
              <a:gd name="connsiteY9" fmla="*/ 5563401 h 5743575"/>
              <a:gd name="connsiteX10" fmla="*/ 5644982 w 5819775"/>
              <a:gd name="connsiteY10" fmla="*/ 4681871 h 5743575"/>
              <a:gd name="connsiteX11" fmla="*/ 3433982 w 5819775"/>
              <a:gd name="connsiteY11" fmla="*/ 3980126 h 5743575"/>
              <a:gd name="connsiteX12" fmla="*/ 2316013 w 5819775"/>
              <a:gd name="connsiteY12" fmla="*/ 4314759 h 5743575"/>
              <a:gd name="connsiteX13" fmla="*/ 309715 w 5819775"/>
              <a:gd name="connsiteY13" fmla="*/ 2307708 h 5743575"/>
              <a:gd name="connsiteX14" fmla="*/ 2325072 w 5819775"/>
              <a:gd name="connsiteY14" fmla="*/ 292332 h 5743575"/>
              <a:gd name="connsiteX15" fmla="*/ 4340438 w 5819775"/>
              <a:gd name="connsiteY15" fmla="*/ 2307698 h 5743575"/>
              <a:gd name="connsiteX16" fmla="*/ 4054907 w 5819775"/>
              <a:gd name="connsiteY16" fmla="*/ 3335779 h 5743575"/>
              <a:gd name="connsiteX17" fmla="*/ 4046601 w 5819775"/>
              <a:gd name="connsiteY17" fmla="*/ 3344085 h 5743575"/>
              <a:gd name="connsiteX18" fmla="*/ 3433982 w 5819775"/>
              <a:gd name="connsiteY18" fmla="*/ 3980126 h 5743575"/>
              <a:gd name="connsiteX19" fmla="*/ 5432727 w 5819775"/>
              <a:gd name="connsiteY19" fmla="*/ 5359451 h 5743575"/>
              <a:gd name="connsiteX20" fmla="*/ 4967412 w 5819775"/>
              <a:gd name="connsiteY20" fmla="*/ 5359451 h 5743575"/>
              <a:gd name="connsiteX21" fmla="*/ 3743687 w 5819775"/>
              <a:gd name="connsiteY21" fmla="*/ 4135727 h 5743575"/>
              <a:gd name="connsiteX22" fmla="*/ 3760308 w 5819775"/>
              <a:gd name="connsiteY22" fmla="*/ 4127421 h 5743575"/>
              <a:gd name="connsiteX23" fmla="*/ 4200697 w 5819775"/>
              <a:gd name="connsiteY23" fmla="*/ 3670411 h 5743575"/>
              <a:gd name="connsiteX24" fmla="*/ 5432727 w 5819775"/>
              <a:gd name="connsiteY24" fmla="*/ 4902442 h 5743575"/>
              <a:gd name="connsiteX25" fmla="*/ 5432727 w 5819775"/>
              <a:gd name="connsiteY25" fmla="*/ 5359451 h 5743575"/>
              <a:gd name="connsiteX26" fmla="*/ 2325072 w 5819775"/>
              <a:gd name="connsiteY26" fmla="*/ 929126 h 5743575"/>
              <a:gd name="connsiteX27" fmla="*/ 946499 w 5819775"/>
              <a:gd name="connsiteY27" fmla="*/ 2307698 h 5743575"/>
              <a:gd name="connsiteX28" fmla="*/ 2325072 w 5819775"/>
              <a:gd name="connsiteY28" fmla="*/ 3686270 h 5743575"/>
              <a:gd name="connsiteX29" fmla="*/ 3703644 w 5819775"/>
              <a:gd name="connsiteY29" fmla="*/ 2307698 h 5743575"/>
              <a:gd name="connsiteX30" fmla="*/ 2325072 w 5819775"/>
              <a:gd name="connsiteY30" fmla="*/ 929126 h 5743575"/>
              <a:gd name="connsiteX31" fmla="*/ 2325072 w 5819775"/>
              <a:gd name="connsiteY31" fmla="*/ 3393186 h 5743575"/>
              <a:gd name="connsiteX32" fmla="*/ 1240336 w 5819775"/>
              <a:gd name="connsiteY32" fmla="*/ 2308450 h 5743575"/>
              <a:gd name="connsiteX33" fmla="*/ 2325072 w 5819775"/>
              <a:gd name="connsiteY33" fmla="*/ 1223715 h 5743575"/>
              <a:gd name="connsiteX34" fmla="*/ 3409807 w 5819775"/>
              <a:gd name="connsiteY34" fmla="*/ 2308450 h 5743575"/>
              <a:gd name="connsiteX35" fmla="*/ 2325072 w 5819775"/>
              <a:gd name="connsiteY35" fmla="*/ 3393186 h 574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819775" h="5743575">
                <a:moveTo>
                  <a:pt x="5644982" y="4681871"/>
                </a:moveTo>
                <a:lnTo>
                  <a:pt x="4364612" y="3401501"/>
                </a:lnTo>
                <a:cubicBezTo>
                  <a:pt x="4536082" y="3075175"/>
                  <a:pt x="4633532" y="2708062"/>
                  <a:pt x="4633532" y="2316766"/>
                </a:cubicBezTo>
                <a:cubicBezTo>
                  <a:pt x="4633532" y="1043940"/>
                  <a:pt x="3597145" y="0"/>
                  <a:pt x="2316766" y="0"/>
                </a:cubicBezTo>
                <a:cubicBezTo>
                  <a:pt x="1043940" y="0"/>
                  <a:pt x="0" y="1036387"/>
                  <a:pt x="0" y="2316766"/>
                </a:cubicBezTo>
                <a:cubicBezTo>
                  <a:pt x="0" y="3597145"/>
                  <a:pt x="1043940" y="4625216"/>
                  <a:pt x="2325072" y="4625216"/>
                </a:cubicBezTo>
                <a:cubicBezTo>
                  <a:pt x="2749601" y="4625216"/>
                  <a:pt x="3149194" y="4511155"/>
                  <a:pt x="3491389" y="4307196"/>
                </a:cubicBezTo>
                <a:lnTo>
                  <a:pt x="4755899" y="5570954"/>
                </a:lnTo>
                <a:cubicBezTo>
                  <a:pt x="4878267" y="5685015"/>
                  <a:pt x="5033124" y="5750738"/>
                  <a:pt x="5204594" y="5750738"/>
                </a:cubicBezTo>
                <a:cubicBezTo>
                  <a:pt x="5376063" y="5750738"/>
                  <a:pt x="5530920" y="5685777"/>
                  <a:pt x="5644982" y="5563401"/>
                </a:cubicBezTo>
                <a:cubicBezTo>
                  <a:pt x="5889727" y="5326219"/>
                  <a:pt x="5889727" y="4926616"/>
                  <a:pt x="5644982" y="4681871"/>
                </a:cubicBezTo>
                <a:close/>
                <a:moveTo>
                  <a:pt x="3433982" y="3980126"/>
                </a:moveTo>
                <a:cubicBezTo>
                  <a:pt x="3115961" y="4192391"/>
                  <a:pt x="2732227" y="4314759"/>
                  <a:pt x="2316013" y="4314759"/>
                </a:cubicBezTo>
                <a:cubicBezTo>
                  <a:pt x="1215419" y="4323064"/>
                  <a:pt x="309715" y="3417361"/>
                  <a:pt x="309715" y="2307708"/>
                </a:cubicBezTo>
                <a:cubicBezTo>
                  <a:pt x="309715" y="1198055"/>
                  <a:pt x="1215419" y="292332"/>
                  <a:pt x="2325072" y="292332"/>
                </a:cubicBezTo>
                <a:cubicBezTo>
                  <a:pt x="3434725" y="292332"/>
                  <a:pt x="4340438" y="1198036"/>
                  <a:pt x="4340438" y="2307698"/>
                </a:cubicBezTo>
                <a:cubicBezTo>
                  <a:pt x="4340438" y="2683126"/>
                  <a:pt x="4234682" y="3033617"/>
                  <a:pt x="4054907" y="3335779"/>
                </a:cubicBezTo>
                <a:lnTo>
                  <a:pt x="4046601" y="3344085"/>
                </a:lnTo>
                <a:cubicBezTo>
                  <a:pt x="3890982" y="3597145"/>
                  <a:pt x="3678726" y="3816963"/>
                  <a:pt x="3433982" y="3980126"/>
                </a:cubicBezTo>
                <a:close/>
                <a:moveTo>
                  <a:pt x="5432727" y="5359451"/>
                </a:moveTo>
                <a:cubicBezTo>
                  <a:pt x="5310359" y="5481819"/>
                  <a:pt x="5089779" y="5481819"/>
                  <a:pt x="4967412" y="5359451"/>
                </a:cubicBezTo>
                <a:lnTo>
                  <a:pt x="3743687" y="4135727"/>
                </a:lnTo>
                <a:cubicBezTo>
                  <a:pt x="3751993" y="4135727"/>
                  <a:pt x="3751993" y="4127421"/>
                  <a:pt x="3760308" y="4127421"/>
                </a:cubicBezTo>
                <a:cubicBezTo>
                  <a:pt x="3923471" y="3996738"/>
                  <a:pt x="4078329" y="3841890"/>
                  <a:pt x="4200697" y="3670411"/>
                </a:cubicBezTo>
                <a:lnTo>
                  <a:pt x="5432727" y="4902442"/>
                </a:lnTo>
                <a:cubicBezTo>
                  <a:pt x="5563410" y="5024819"/>
                  <a:pt x="5563410" y="5228768"/>
                  <a:pt x="5432727" y="5359451"/>
                </a:cubicBezTo>
                <a:close/>
                <a:moveTo>
                  <a:pt x="2325072" y="929126"/>
                </a:moveTo>
                <a:cubicBezTo>
                  <a:pt x="1566663" y="929126"/>
                  <a:pt x="946499" y="1549299"/>
                  <a:pt x="946499" y="2307698"/>
                </a:cubicBezTo>
                <a:cubicBezTo>
                  <a:pt x="946499" y="3066098"/>
                  <a:pt x="1566672" y="3686270"/>
                  <a:pt x="2325072" y="3686270"/>
                </a:cubicBezTo>
                <a:cubicBezTo>
                  <a:pt x="3083471" y="3686270"/>
                  <a:pt x="3703644" y="3066098"/>
                  <a:pt x="3703644" y="2307698"/>
                </a:cubicBezTo>
                <a:cubicBezTo>
                  <a:pt x="3703644" y="1549299"/>
                  <a:pt x="3083481" y="929126"/>
                  <a:pt x="2325072" y="929126"/>
                </a:cubicBezTo>
                <a:close/>
                <a:moveTo>
                  <a:pt x="2325072" y="3393186"/>
                </a:moveTo>
                <a:cubicBezTo>
                  <a:pt x="1729826" y="3393186"/>
                  <a:pt x="1240336" y="2912002"/>
                  <a:pt x="1240336" y="2308450"/>
                </a:cubicBezTo>
                <a:cubicBezTo>
                  <a:pt x="1240336" y="1713205"/>
                  <a:pt x="1721520" y="1223715"/>
                  <a:pt x="2325072" y="1223715"/>
                </a:cubicBezTo>
                <a:cubicBezTo>
                  <a:pt x="2920318" y="1223715"/>
                  <a:pt x="3409807" y="1704899"/>
                  <a:pt x="3409807" y="2308450"/>
                </a:cubicBezTo>
                <a:cubicBezTo>
                  <a:pt x="3401492" y="2903696"/>
                  <a:pt x="2920318" y="3393186"/>
                  <a:pt x="2325072" y="339318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6" name="Forma libre 422">
            <a:extLst>
              <a:ext uri="{FF2B5EF4-FFF2-40B4-BE49-F238E27FC236}">
                <a16:creationId xmlns:a16="http://schemas.microsoft.com/office/drawing/2014/main" xmlns="" id="{AF38788E-566B-2446-B4CD-363CA669500C}"/>
              </a:ext>
            </a:extLst>
          </p:cNvPr>
          <p:cNvSpPr/>
          <p:nvPr/>
        </p:nvSpPr>
        <p:spPr>
          <a:xfrm>
            <a:off x="482275" y="2050721"/>
            <a:ext cx="301338" cy="253499"/>
          </a:xfrm>
          <a:custGeom>
            <a:avLst/>
            <a:gdLst>
              <a:gd name="connsiteX0" fmla="*/ 5725987 w 5819775"/>
              <a:gd name="connsiteY0" fmla="*/ 1390502 h 4895850"/>
              <a:gd name="connsiteX1" fmla="*/ 4429606 w 5819775"/>
              <a:gd name="connsiteY1" fmla="*/ 94112 h 4895850"/>
              <a:gd name="connsiteX2" fmla="*/ 3965881 w 5819775"/>
              <a:gd name="connsiteY2" fmla="*/ 94112 h 4895850"/>
              <a:gd name="connsiteX3" fmla="*/ 3332355 w 5819775"/>
              <a:gd name="connsiteY3" fmla="*/ 727639 h 4895850"/>
              <a:gd name="connsiteX4" fmla="*/ 2875450 w 5819775"/>
              <a:gd name="connsiteY4" fmla="*/ 1184543 h 4895850"/>
              <a:gd name="connsiteX5" fmla="*/ 2514700 w 5819775"/>
              <a:gd name="connsiteY5" fmla="*/ 823793 h 4895850"/>
              <a:gd name="connsiteX6" fmla="*/ 2507194 w 5819775"/>
              <a:gd name="connsiteY6" fmla="*/ 816288 h 4895850"/>
              <a:gd name="connsiteX7" fmla="*/ 2499689 w 5819775"/>
              <a:gd name="connsiteY7" fmla="*/ 808782 h 4895850"/>
              <a:gd name="connsiteX8" fmla="*/ 1858656 w 5819775"/>
              <a:gd name="connsiteY8" fmla="*/ 167750 h 4895850"/>
              <a:gd name="connsiteX9" fmla="*/ 1372424 w 5819775"/>
              <a:gd name="connsiteY9" fmla="*/ 167750 h 4895850"/>
              <a:gd name="connsiteX10" fmla="*/ 99227 w 5819775"/>
              <a:gd name="connsiteY10" fmla="*/ 1464150 h 4895850"/>
              <a:gd name="connsiteX11" fmla="*/ 99227 w 5819775"/>
              <a:gd name="connsiteY11" fmla="*/ 1950382 h 4895850"/>
              <a:gd name="connsiteX12" fmla="*/ 740259 w 5819775"/>
              <a:gd name="connsiteY12" fmla="*/ 2591415 h 4895850"/>
              <a:gd name="connsiteX13" fmla="*/ 747765 w 5819775"/>
              <a:gd name="connsiteY13" fmla="*/ 2598920 h 4895850"/>
              <a:gd name="connsiteX14" fmla="*/ 755271 w 5819775"/>
              <a:gd name="connsiteY14" fmla="*/ 2606426 h 4895850"/>
              <a:gd name="connsiteX15" fmla="*/ 1351974 w 5819775"/>
              <a:gd name="connsiteY15" fmla="*/ 3203129 h 4895850"/>
              <a:gd name="connsiteX16" fmla="*/ 1330152 w 5819775"/>
              <a:gd name="connsiteY16" fmla="*/ 3224951 h 4895850"/>
              <a:gd name="connsiteX17" fmla="*/ 1300825 w 5819775"/>
              <a:gd name="connsiteY17" fmla="*/ 3269280 h 4895850"/>
              <a:gd name="connsiteX18" fmla="*/ 1205355 w 5819775"/>
              <a:gd name="connsiteY18" fmla="*/ 3497737 h 4895850"/>
              <a:gd name="connsiteX19" fmla="*/ 1300825 w 5819775"/>
              <a:gd name="connsiteY19" fmla="*/ 3726194 h 4895850"/>
              <a:gd name="connsiteX20" fmla="*/ 2353756 w 5819775"/>
              <a:gd name="connsiteY20" fmla="*/ 4779126 h 4895850"/>
              <a:gd name="connsiteX21" fmla="*/ 2582213 w 5819775"/>
              <a:gd name="connsiteY21" fmla="*/ 4874595 h 4895850"/>
              <a:gd name="connsiteX22" fmla="*/ 2810671 w 5819775"/>
              <a:gd name="connsiteY22" fmla="*/ 4779126 h 4895850"/>
              <a:gd name="connsiteX23" fmla="*/ 2869316 w 5819775"/>
              <a:gd name="connsiteY23" fmla="*/ 4720481 h 4895850"/>
              <a:gd name="connsiteX24" fmla="*/ 2972291 w 5819775"/>
              <a:gd name="connsiteY24" fmla="*/ 4823455 h 4895850"/>
              <a:gd name="connsiteX25" fmla="*/ 2979796 w 5819775"/>
              <a:gd name="connsiteY25" fmla="*/ 4830961 h 4895850"/>
              <a:gd name="connsiteX26" fmla="*/ 3178926 w 5819775"/>
              <a:gd name="connsiteY26" fmla="*/ 4904608 h 4895850"/>
              <a:gd name="connsiteX27" fmla="*/ 3407383 w 5819775"/>
              <a:gd name="connsiteY27" fmla="*/ 4801634 h 4895850"/>
              <a:gd name="connsiteX28" fmla="*/ 4452114 w 5819775"/>
              <a:gd name="connsiteY28" fmla="*/ 3754817 h 4895850"/>
              <a:gd name="connsiteX29" fmla="*/ 4473936 w 5819775"/>
              <a:gd name="connsiteY29" fmla="*/ 3276091 h 4895850"/>
              <a:gd name="connsiteX30" fmla="*/ 4392783 w 5819775"/>
              <a:gd name="connsiteY30" fmla="*/ 3194938 h 4895850"/>
              <a:gd name="connsiteX31" fmla="*/ 5099966 w 5819775"/>
              <a:gd name="connsiteY31" fmla="*/ 2488440 h 4895850"/>
              <a:gd name="connsiteX32" fmla="*/ 5733493 w 5819775"/>
              <a:gd name="connsiteY32" fmla="*/ 1854913 h 4895850"/>
              <a:gd name="connsiteX33" fmla="*/ 5828962 w 5819775"/>
              <a:gd name="connsiteY33" fmla="*/ 1618960 h 4895850"/>
              <a:gd name="connsiteX34" fmla="*/ 5725987 w 5819775"/>
              <a:gd name="connsiteY34" fmla="*/ 1390502 h 4895850"/>
              <a:gd name="connsiteX35" fmla="*/ 290860 w 5819775"/>
              <a:gd name="connsiteY35" fmla="*/ 1655774 h 4895850"/>
              <a:gd name="connsiteX36" fmla="*/ 1579736 w 5819775"/>
              <a:gd name="connsiteY36" fmla="*/ 366898 h 4895850"/>
              <a:gd name="connsiteX37" fmla="*/ 1631561 w 5819775"/>
              <a:gd name="connsiteY37" fmla="*/ 345076 h 4895850"/>
              <a:gd name="connsiteX38" fmla="*/ 1683387 w 5819775"/>
              <a:gd name="connsiteY38" fmla="*/ 366898 h 4895850"/>
              <a:gd name="connsiteX39" fmla="*/ 2228264 w 5819775"/>
              <a:gd name="connsiteY39" fmla="*/ 911776 h 4895850"/>
              <a:gd name="connsiteX40" fmla="*/ 828918 w 5819775"/>
              <a:gd name="connsiteY40" fmla="*/ 2296130 h 4895850"/>
              <a:gd name="connsiteX41" fmla="*/ 284040 w 5819775"/>
              <a:gd name="connsiteY41" fmla="*/ 1751252 h 4895850"/>
              <a:gd name="connsiteX42" fmla="*/ 290860 w 5819775"/>
              <a:gd name="connsiteY42" fmla="*/ 1655774 h 4895850"/>
              <a:gd name="connsiteX43" fmla="*/ 2574022 w 5819775"/>
              <a:gd name="connsiteY43" fmla="*/ 4601799 h 4895850"/>
              <a:gd name="connsiteX44" fmla="*/ 2537198 w 5819775"/>
              <a:gd name="connsiteY44" fmla="*/ 4586798 h 4895850"/>
              <a:gd name="connsiteX45" fmla="*/ 1483581 w 5819775"/>
              <a:gd name="connsiteY45" fmla="*/ 3533866 h 4895850"/>
              <a:gd name="connsiteX46" fmla="*/ 1468579 w 5819775"/>
              <a:gd name="connsiteY46" fmla="*/ 3497042 h 4895850"/>
              <a:gd name="connsiteX47" fmla="*/ 1483581 w 5819775"/>
              <a:gd name="connsiteY47" fmla="*/ 3460218 h 4895850"/>
              <a:gd name="connsiteX48" fmla="*/ 1520404 w 5819775"/>
              <a:gd name="connsiteY48" fmla="*/ 3423395 h 4895850"/>
              <a:gd name="connsiteX49" fmla="*/ 1520404 w 5819775"/>
              <a:gd name="connsiteY49" fmla="*/ 3423395 h 4895850"/>
              <a:gd name="connsiteX50" fmla="*/ 1594052 w 5819775"/>
              <a:gd name="connsiteY50" fmla="*/ 3349747 h 4895850"/>
              <a:gd name="connsiteX51" fmla="*/ 1763178 w 5819775"/>
              <a:gd name="connsiteY51" fmla="*/ 3180621 h 4895850"/>
              <a:gd name="connsiteX52" fmla="*/ 1770683 w 5819775"/>
              <a:gd name="connsiteY52" fmla="*/ 3173116 h 4895850"/>
              <a:gd name="connsiteX53" fmla="*/ 1800011 w 5819775"/>
              <a:gd name="connsiteY53" fmla="*/ 3165610 h 4895850"/>
              <a:gd name="connsiteX54" fmla="*/ 1836834 w 5819775"/>
              <a:gd name="connsiteY54" fmla="*/ 3180612 h 4895850"/>
              <a:gd name="connsiteX55" fmla="*/ 2890442 w 5819775"/>
              <a:gd name="connsiteY55" fmla="*/ 4233544 h 4895850"/>
              <a:gd name="connsiteX56" fmla="*/ 2890442 w 5819775"/>
              <a:gd name="connsiteY56" fmla="*/ 4307191 h 4895850"/>
              <a:gd name="connsiteX57" fmla="*/ 2764960 w 5819775"/>
              <a:gd name="connsiteY57" fmla="*/ 4432673 h 4895850"/>
              <a:gd name="connsiteX58" fmla="*/ 2610836 w 5819775"/>
              <a:gd name="connsiteY58" fmla="*/ 4587474 h 4895850"/>
              <a:gd name="connsiteX59" fmla="*/ 2574022 w 5819775"/>
              <a:gd name="connsiteY59" fmla="*/ 4601799 h 4895850"/>
              <a:gd name="connsiteX60" fmla="*/ 4252984 w 5819775"/>
              <a:gd name="connsiteY60" fmla="*/ 3556373 h 4895850"/>
              <a:gd name="connsiteX61" fmla="*/ 3206872 w 5819775"/>
              <a:gd name="connsiteY61" fmla="*/ 4609296 h 4895850"/>
              <a:gd name="connsiteX62" fmla="*/ 3170049 w 5819775"/>
              <a:gd name="connsiteY62" fmla="*/ 4631117 h 4895850"/>
              <a:gd name="connsiteX63" fmla="*/ 3155047 w 5819775"/>
              <a:gd name="connsiteY63" fmla="*/ 4623612 h 4895850"/>
              <a:gd name="connsiteX64" fmla="*/ 3059578 w 5819775"/>
              <a:gd name="connsiteY64" fmla="*/ 4528142 h 4895850"/>
              <a:gd name="connsiteX65" fmla="*/ 3081400 w 5819775"/>
              <a:gd name="connsiteY65" fmla="*/ 4506321 h 4895850"/>
              <a:gd name="connsiteX66" fmla="*/ 3081400 w 5819775"/>
              <a:gd name="connsiteY66" fmla="*/ 4506321 h 4895850"/>
              <a:gd name="connsiteX67" fmla="*/ 3103221 w 5819775"/>
              <a:gd name="connsiteY67" fmla="*/ 4476993 h 4895850"/>
              <a:gd name="connsiteX68" fmla="*/ 3125043 w 5819775"/>
              <a:gd name="connsiteY68" fmla="*/ 4455171 h 4895850"/>
              <a:gd name="connsiteX69" fmla="*/ 3132549 w 5819775"/>
              <a:gd name="connsiteY69" fmla="*/ 4433349 h 4895850"/>
              <a:gd name="connsiteX70" fmla="*/ 3154370 w 5819775"/>
              <a:gd name="connsiteY70" fmla="*/ 4396526 h 4895850"/>
              <a:gd name="connsiteX71" fmla="*/ 3154370 w 5819775"/>
              <a:gd name="connsiteY71" fmla="*/ 4396526 h 4895850"/>
              <a:gd name="connsiteX72" fmla="*/ 3080723 w 5819775"/>
              <a:gd name="connsiteY72" fmla="*/ 4043272 h 4895850"/>
              <a:gd name="connsiteX73" fmla="*/ 2028458 w 5819775"/>
              <a:gd name="connsiteY73" fmla="*/ 2981482 h 4895850"/>
              <a:gd name="connsiteX74" fmla="*/ 1976633 w 5819775"/>
              <a:gd name="connsiteY74" fmla="*/ 2937153 h 4895850"/>
              <a:gd name="connsiteX75" fmla="*/ 1954811 w 5819775"/>
              <a:gd name="connsiteY75" fmla="*/ 2929647 h 4895850"/>
              <a:gd name="connsiteX76" fmla="*/ 1917987 w 5819775"/>
              <a:gd name="connsiteY76" fmla="*/ 2907826 h 4895850"/>
              <a:gd name="connsiteX77" fmla="*/ 1896166 w 5819775"/>
              <a:gd name="connsiteY77" fmla="*/ 2900320 h 4895850"/>
              <a:gd name="connsiteX78" fmla="*/ 1859342 w 5819775"/>
              <a:gd name="connsiteY78" fmla="*/ 2892814 h 4895850"/>
              <a:gd name="connsiteX79" fmla="*/ 1837520 w 5819775"/>
              <a:gd name="connsiteY79" fmla="*/ 2892814 h 4895850"/>
              <a:gd name="connsiteX80" fmla="*/ 1793191 w 5819775"/>
              <a:gd name="connsiteY80" fmla="*/ 2885308 h 4895850"/>
              <a:gd name="connsiteX81" fmla="*/ 1756367 w 5819775"/>
              <a:gd name="connsiteY81" fmla="*/ 2885308 h 4895850"/>
              <a:gd name="connsiteX82" fmla="*/ 1727040 w 5819775"/>
              <a:gd name="connsiteY82" fmla="*/ 2885308 h 4895850"/>
              <a:gd name="connsiteX83" fmla="*/ 1675214 w 5819775"/>
              <a:gd name="connsiteY83" fmla="*/ 2900310 h 4895850"/>
              <a:gd name="connsiteX84" fmla="*/ 1667709 w 5819775"/>
              <a:gd name="connsiteY84" fmla="*/ 2900310 h 4895850"/>
              <a:gd name="connsiteX85" fmla="*/ 1557228 w 5819775"/>
              <a:gd name="connsiteY85" fmla="*/ 2966461 h 4895850"/>
              <a:gd name="connsiteX86" fmla="*/ 1535406 w 5819775"/>
              <a:gd name="connsiteY86" fmla="*/ 2988283 h 4895850"/>
              <a:gd name="connsiteX87" fmla="*/ 1027352 w 5819775"/>
              <a:gd name="connsiteY87" fmla="*/ 2480229 h 4895850"/>
              <a:gd name="connsiteX88" fmla="*/ 2419212 w 5819775"/>
              <a:gd name="connsiteY88" fmla="*/ 1110191 h 4895850"/>
              <a:gd name="connsiteX89" fmla="*/ 2684493 w 5819775"/>
              <a:gd name="connsiteY89" fmla="*/ 1375472 h 4895850"/>
              <a:gd name="connsiteX90" fmla="*/ 1947991 w 5819775"/>
              <a:gd name="connsiteY90" fmla="*/ 2111974 h 4895850"/>
              <a:gd name="connsiteX91" fmla="*/ 1947991 w 5819775"/>
              <a:gd name="connsiteY91" fmla="*/ 2517053 h 4895850"/>
              <a:gd name="connsiteX92" fmla="*/ 2235094 w 5819775"/>
              <a:gd name="connsiteY92" fmla="*/ 2804155 h 4895850"/>
              <a:gd name="connsiteX93" fmla="*/ 2279423 w 5819775"/>
              <a:gd name="connsiteY93" fmla="*/ 2833483 h 4895850"/>
              <a:gd name="connsiteX94" fmla="*/ 2426727 w 5819775"/>
              <a:gd name="connsiteY94" fmla="*/ 2877812 h 4895850"/>
              <a:gd name="connsiteX95" fmla="*/ 2478553 w 5819775"/>
              <a:gd name="connsiteY95" fmla="*/ 2870307 h 4895850"/>
              <a:gd name="connsiteX96" fmla="*/ 2486058 w 5819775"/>
              <a:gd name="connsiteY96" fmla="*/ 2870307 h 4895850"/>
              <a:gd name="connsiteX97" fmla="*/ 2530388 w 5819775"/>
              <a:gd name="connsiteY97" fmla="*/ 2855305 h 4895850"/>
              <a:gd name="connsiteX98" fmla="*/ 2537894 w 5819775"/>
              <a:gd name="connsiteY98" fmla="*/ 2855305 h 4895850"/>
              <a:gd name="connsiteX99" fmla="*/ 2582223 w 5819775"/>
              <a:gd name="connsiteY99" fmla="*/ 2833483 h 4895850"/>
              <a:gd name="connsiteX100" fmla="*/ 2589729 w 5819775"/>
              <a:gd name="connsiteY100" fmla="*/ 2825977 h 4895850"/>
              <a:gd name="connsiteX101" fmla="*/ 2634058 w 5819775"/>
              <a:gd name="connsiteY101" fmla="*/ 2789153 h 4895850"/>
              <a:gd name="connsiteX102" fmla="*/ 3112784 w 5819775"/>
              <a:gd name="connsiteY102" fmla="*/ 2310427 h 4895850"/>
              <a:gd name="connsiteX103" fmla="*/ 4246869 w 5819775"/>
              <a:gd name="connsiteY103" fmla="*/ 3444512 h 4895850"/>
              <a:gd name="connsiteX104" fmla="*/ 4261871 w 5819775"/>
              <a:gd name="connsiteY104" fmla="*/ 3459513 h 4895850"/>
              <a:gd name="connsiteX105" fmla="*/ 4252984 w 5819775"/>
              <a:gd name="connsiteY105" fmla="*/ 3556373 h 4895850"/>
              <a:gd name="connsiteX106" fmla="*/ 4194329 w 5819775"/>
              <a:gd name="connsiteY106" fmla="*/ 3003990 h 4895850"/>
              <a:gd name="connsiteX107" fmla="*/ 3310523 w 5819775"/>
              <a:gd name="connsiteY107" fmla="*/ 2120184 h 4895850"/>
              <a:gd name="connsiteX108" fmla="*/ 3436006 w 5819775"/>
              <a:gd name="connsiteY108" fmla="*/ 1994702 h 4895850"/>
              <a:gd name="connsiteX109" fmla="*/ 3472830 w 5819775"/>
              <a:gd name="connsiteY109" fmla="*/ 1899233 h 4895850"/>
              <a:gd name="connsiteX110" fmla="*/ 3436006 w 5819775"/>
              <a:gd name="connsiteY110" fmla="*/ 1803764 h 4895850"/>
              <a:gd name="connsiteX111" fmla="*/ 3244382 w 5819775"/>
              <a:gd name="connsiteY111" fmla="*/ 1803764 h 4895850"/>
              <a:gd name="connsiteX112" fmla="*/ 3023431 w 5819775"/>
              <a:gd name="connsiteY112" fmla="*/ 2024715 h 4895850"/>
              <a:gd name="connsiteX113" fmla="*/ 2449225 w 5819775"/>
              <a:gd name="connsiteY113" fmla="*/ 2598920 h 4895850"/>
              <a:gd name="connsiteX114" fmla="*/ 2434223 w 5819775"/>
              <a:gd name="connsiteY114" fmla="*/ 2613922 h 4895850"/>
              <a:gd name="connsiteX115" fmla="*/ 2434223 w 5819775"/>
              <a:gd name="connsiteY115" fmla="*/ 2613922 h 4895850"/>
              <a:gd name="connsiteX116" fmla="*/ 2147121 w 5819775"/>
              <a:gd name="connsiteY116" fmla="*/ 2326819 h 4895850"/>
              <a:gd name="connsiteX117" fmla="*/ 2139615 w 5819775"/>
              <a:gd name="connsiteY117" fmla="*/ 2311818 h 4895850"/>
              <a:gd name="connsiteX118" fmla="*/ 2147121 w 5819775"/>
              <a:gd name="connsiteY118" fmla="*/ 2296816 h 4895850"/>
              <a:gd name="connsiteX119" fmla="*/ 3436006 w 5819775"/>
              <a:gd name="connsiteY119" fmla="*/ 1007931 h 4895850"/>
              <a:gd name="connsiteX120" fmla="*/ 4201835 w 5819775"/>
              <a:gd name="connsiteY120" fmla="*/ 1773760 h 4895850"/>
              <a:gd name="connsiteX121" fmla="*/ 4812864 w 5819775"/>
              <a:gd name="connsiteY121" fmla="*/ 2384789 h 4895850"/>
              <a:gd name="connsiteX122" fmla="*/ 4194329 w 5819775"/>
              <a:gd name="connsiteY122" fmla="*/ 3003990 h 4895850"/>
              <a:gd name="connsiteX123" fmla="*/ 5534363 w 5819775"/>
              <a:gd name="connsiteY123" fmla="*/ 1663279 h 4895850"/>
              <a:gd name="connsiteX124" fmla="*/ 4996991 w 5819775"/>
              <a:gd name="connsiteY124" fmla="*/ 2200651 h 4895850"/>
              <a:gd name="connsiteX125" fmla="*/ 3884729 w 5819775"/>
              <a:gd name="connsiteY125" fmla="*/ 1088398 h 4895850"/>
              <a:gd name="connsiteX126" fmla="*/ 3619448 w 5819775"/>
              <a:gd name="connsiteY126" fmla="*/ 823117 h 4895850"/>
              <a:gd name="connsiteX127" fmla="*/ 4156820 w 5819775"/>
              <a:gd name="connsiteY127" fmla="*/ 285745 h 4895850"/>
              <a:gd name="connsiteX128" fmla="*/ 4201149 w 5819775"/>
              <a:gd name="connsiteY128" fmla="*/ 270743 h 4895850"/>
              <a:gd name="connsiteX129" fmla="*/ 4245478 w 5819775"/>
              <a:gd name="connsiteY129" fmla="*/ 285745 h 4895850"/>
              <a:gd name="connsiteX130" fmla="*/ 5541860 w 5819775"/>
              <a:gd name="connsiteY130" fmla="*/ 1582126 h 4895850"/>
              <a:gd name="connsiteX131" fmla="*/ 5556861 w 5819775"/>
              <a:gd name="connsiteY131" fmla="*/ 1626456 h 4895850"/>
              <a:gd name="connsiteX132" fmla="*/ 5534363 w 5819775"/>
              <a:gd name="connsiteY132" fmla="*/ 1663279 h 489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5819775" h="4895850">
                <a:moveTo>
                  <a:pt x="5725987" y="1390502"/>
                </a:moveTo>
                <a:lnTo>
                  <a:pt x="4429606" y="94112"/>
                </a:lnTo>
                <a:cubicBezTo>
                  <a:pt x="4304124" y="-31371"/>
                  <a:pt x="4090678" y="-31371"/>
                  <a:pt x="3965881" y="94112"/>
                </a:cubicBezTo>
                <a:lnTo>
                  <a:pt x="3332355" y="727639"/>
                </a:lnTo>
                <a:lnTo>
                  <a:pt x="2875450" y="1184543"/>
                </a:lnTo>
                <a:lnTo>
                  <a:pt x="2514700" y="823793"/>
                </a:lnTo>
                <a:cubicBezTo>
                  <a:pt x="2514700" y="823793"/>
                  <a:pt x="2514700" y="823793"/>
                  <a:pt x="2507194" y="816288"/>
                </a:cubicBezTo>
                <a:cubicBezTo>
                  <a:pt x="2507194" y="816288"/>
                  <a:pt x="2507194" y="816288"/>
                  <a:pt x="2499689" y="808782"/>
                </a:cubicBezTo>
                <a:lnTo>
                  <a:pt x="1858656" y="167750"/>
                </a:lnTo>
                <a:cubicBezTo>
                  <a:pt x="1726354" y="35447"/>
                  <a:pt x="1505402" y="35447"/>
                  <a:pt x="1372424" y="167750"/>
                </a:cubicBezTo>
                <a:lnTo>
                  <a:pt x="99227" y="1464150"/>
                </a:lnTo>
                <a:cubicBezTo>
                  <a:pt x="-33076" y="1596452"/>
                  <a:pt x="-33076" y="1817403"/>
                  <a:pt x="99227" y="1950382"/>
                </a:cubicBezTo>
                <a:lnTo>
                  <a:pt x="740259" y="2591415"/>
                </a:lnTo>
                <a:cubicBezTo>
                  <a:pt x="740259" y="2591415"/>
                  <a:pt x="740259" y="2591415"/>
                  <a:pt x="747765" y="2598920"/>
                </a:cubicBezTo>
                <a:cubicBezTo>
                  <a:pt x="747765" y="2598920"/>
                  <a:pt x="747765" y="2598920"/>
                  <a:pt x="755271" y="2606426"/>
                </a:cubicBezTo>
                <a:lnTo>
                  <a:pt x="1351974" y="3203129"/>
                </a:lnTo>
                <a:lnTo>
                  <a:pt x="1330152" y="3224951"/>
                </a:lnTo>
                <a:cubicBezTo>
                  <a:pt x="1315150" y="3239953"/>
                  <a:pt x="1308330" y="3254278"/>
                  <a:pt x="1300825" y="3269280"/>
                </a:cubicBezTo>
                <a:cubicBezTo>
                  <a:pt x="1242179" y="3327925"/>
                  <a:pt x="1205355" y="3409079"/>
                  <a:pt x="1205355" y="3497737"/>
                </a:cubicBezTo>
                <a:cubicBezTo>
                  <a:pt x="1205355" y="3586396"/>
                  <a:pt x="1242179" y="3666863"/>
                  <a:pt x="1300825" y="3726194"/>
                </a:cubicBezTo>
                <a:lnTo>
                  <a:pt x="2353756" y="4779126"/>
                </a:lnTo>
                <a:cubicBezTo>
                  <a:pt x="2412402" y="4837772"/>
                  <a:pt x="2501060" y="4874595"/>
                  <a:pt x="2582213" y="4874595"/>
                </a:cubicBezTo>
                <a:cubicBezTo>
                  <a:pt x="2670863" y="4874595"/>
                  <a:pt x="2751339" y="4837772"/>
                  <a:pt x="2810671" y="4779126"/>
                </a:cubicBezTo>
                <a:lnTo>
                  <a:pt x="2869316" y="4720481"/>
                </a:lnTo>
                <a:lnTo>
                  <a:pt x="2972291" y="4823455"/>
                </a:lnTo>
                <a:lnTo>
                  <a:pt x="2979796" y="4830961"/>
                </a:lnTo>
                <a:cubicBezTo>
                  <a:pt x="3016620" y="4867785"/>
                  <a:pt x="3090277" y="4904608"/>
                  <a:pt x="3178926" y="4904608"/>
                </a:cubicBezTo>
                <a:cubicBezTo>
                  <a:pt x="3237572" y="4904608"/>
                  <a:pt x="3318724" y="4889606"/>
                  <a:pt x="3407383" y="4801634"/>
                </a:cubicBezTo>
                <a:lnTo>
                  <a:pt x="4452114" y="3754817"/>
                </a:lnTo>
                <a:cubicBezTo>
                  <a:pt x="4628736" y="3578195"/>
                  <a:pt x="4577596" y="3394067"/>
                  <a:pt x="4473936" y="3276091"/>
                </a:cubicBezTo>
                <a:lnTo>
                  <a:pt x="4392783" y="3194938"/>
                </a:lnTo>
                <a:lnTo>
                  <a:pt x="5099966" y="2488440"/>
                </a:lnTo>
                <a:lnTo>
                  <a:pt x="5733493" y="1854913"/>
                </a:lnTo>
                <a:cubicBezTo>
                  <a:pt x="5792139" y="1796267"/>
                  <a:pt x="5828962" y="1707609"/>
                  <a:pt x="5828962" y="1618960"/>
                </a:cubicBezTo>
                <a:cubicBezTo>
                  <a:pt x="5821466" y="1537797"/>
                  <a:pt x="5784642" y="1449824"/>
                  <a:pt x="5725987" y="1390502"/>
                </a:cubicBezTo>
                <a:close/>
                <a:moveTo>
                  <a:pt x="290860" y="1655774"/>
                </a:moveTo>
                <a:lnTo>
                  <a:pt x="1579736" y="366898"/>
                </a:lnTo>
                <a:cubicBezTo>
                  <a:pt x="1594737" y="351896"/>
                  <a:pt x="1609063" y="345076"/>
                  <a:pt x="1631561" y="345076"/>
                </a:cubicBezTo>
                <a:cubicBezTo>
                  <a:pt x="1654069" y="345076"/>
                  <a:pt x="1668385" y="352582"/>
                  <a:pt x="1683387" y="366898"/>
                </a:cubicBezTo>
                <a:lnTo>
                  <a:pt x="2228264" y="911776"/>
                </a:lnTo>
                <a:lnTo>
                  <a:pt x="828918" y="2296130"/>
                </a:lnTo>
                <a:lnTo>
                  <a:pt x="284040" y="1751252"/>
                </a:lnTo>
                <a:cubicBezTo>
                  <a:pt x="260847" y="1729431"/>
                  <a:pt x="260847" y="1685101"/>
                  <a:pt x="290860" y="1655774"/>
                </a:cubicBezTo>
                <a:close/>
                <a:moveTo>
                  <a:pt x="2574022" y="4601799"/>
                </a:moveTo>
                <a:cubicBezTo>
                  <a:pt x="2566516" y="4601799"/>
                  <a:pt x="2552200" y="4601799"/>
                  <a:pt x="2537198" y="4586798"/>
                </a:cubicBezTo>
                <a:lnTo>
                  <a:pt x="1483581" y="3533866"/>
                </a:lnTo>
                <a:cubicBezTo>
                  <a:pt x="1468579" y="3518864"/>
                  <a:pt x="1468579" y="3504538"/>
                  <a:pt x="1468579" y="3497042"/>
                </a:cubicBezTo>
                <a:cubicBezTo>
                  <a:pt x="1468579" y="3489536"/>
                  <a:pt x="1468579" y="3475220"/>
                  <a:pt x="1483581" y="3460218"/>
                </a:cubicBezTo>
                <a:lnTo>
                  <a:pt x="1520404" y="3423395"/>
                </a:lnTo>
                <a:lnTo>
                  <a:pt x="1520404" y="3423395"/>
                </a:lnTo>
                <a:lnTo>
                  <a:pt x="1594052" y="3349747"/>
                </a:lnTo>
                <a:lnTo>
                  <a:pt x="1763178" y="3180621"/>
                </a:lnTo>
                <a:lnTo>
                  <a:pt x="1770683" y="3173116"/>
                </a:lnTo>
                <a:cubicBezTo>
                  <a:pt x="1778189" y="3165610"/>
                  <a:pt x="1792505" y="3165610"/>
                  <a:pt x="1800011" y="3165610"/>
                </a:cubicBezTo>
                <a:cubicBezTo>
                  <a:pt x="1807516" y="3165610"/>
                  <a:pt x="1821833" y="3165610"/>
                  <a:pt x="1836834" y="3180612"/>
                </a:cubicBezTo>
                <a:lnTo>
                  <a:pt x="2890442" y="4233544"/>
                </a:lnTo>
                <a:cubicBezTo>
                  <a:pt x="2912264" y="4255365"/>
                  <a:pt x="2912264" y="4292189"/>
                  <a:pt x="2890442" y="4307191"/>
                </a:cubicBezTo>
                <a:lnTo>
                  <a:pt x="2764960" y="4432673"/>
                </a:lnTo>
                <a:lnTo>
                  <a:pt x="2610836" y="4587474"/>
                </a:lnTo>
                <a:cubicBezTo>
                  <a:pt x="2595844" y="4601799"/>
                  <a:pt x="2580842" y="4601799"/>
                  <a:pt x="2574022" y="4601799"/>
                </a:cubicBezTo>
                <a:close/>
                <a:moveTo>
                  <a:pt x="4252984" y="3556373"/>
                </a:moveTo>
                <a:lnTo>
                  <a:pt x="3206872" y="4609296"/>
                </a:lnTo>
                <a:cubicBezTo>
                  <a:pt x="3185051" y="4631117"/>
                  <a:pt x="3177545" y="4631117"/>
                  <a:pt x="3170049" y="4631117"/>
                </a:cubicBezTo>
                <a:cubicBezTo>
                  <a:pt x="3170049" y="4631117"/>
                  <a:pt x="3162543" y="4631117"/>
                  <a:pt x="3155047" y="4623612"/>
                </a:cubicBezTo>
                <a:lnTo>
                  <a:pt x="3059578" y="4528142"/>
                </a:lnTo>
                <a:lnTo>
                  <a:pt x="3081400" y="4506321"/>
                </a:lnTo>
                <a:lnTo>
                  <a:pt x="3081400" y="4506321"/>
                </a:lnTo>
                <a:cubicBezTo>
                  <a:pt x="3088905" y="4498815"/>
                  <a:pt x="3096401" y="4491319"/>
                  <a:pt x="3103221" y="4476993"/>
                </a:cubicBezTo>
                <a:cubicBezTo>
                  <a:pt x="3110727" y="4469487"/>
                  <a:pt x="3118223" y="4461991"/>
                  <a:pt x="3125043" y="4455171"/>
                </a:cubicBezTo>
                <a:cubicBezTo>
                  <a:pt x="3132549" y="4447665"/>
                  <a:pt x="3132549" y="4440169"/>
                  <a:pt x="3132549" y="4433349"/>
                </a:cubicBezTo>
                <a:cubicBezTo>
                  <a:pt x="3140055" y="4418348"/>
                  <a:pt x="3147551" y="4411528"/>
                  <a:pt x="3154370" y="4396526"/>
                </a:cubicBezTo>
                <a:lnTo>
                  <a:pt x="3154370" y="4396526"/>
                </a:lnTo>
                <a:cubicBezTo>
                  <a:pt x="3198700" y="4278549"/>
                  <a:pt x="3176192" y="4138751"/>
                  <a:pt x="3080723" y="4043272"/>
                </a:cubicBezTo>
                <a:lnTo>
                  <a:pt x="2028458" y="2981482"/>
                </a:lnTo>
                <a:cubicBezTo>
                  <a:pt x="2013456" y="2966480"/>
                  <a:pt x="1999131" y="2952155"/>
                  <a:pt x="1976633" y="2937153"/>
                </a:cubicBezTo>
                <a:cubicBezTo>
                  <a:pt x="1969127" y="2929647"/>
                  <a:pt x="1961631" y="2929647"/>
                  <a:pt x="1954811" y="2929647"/>
                </a:cubicBezTo>
                <a:cubicBezTo>
                  <a:pt x="1939809" y="2922142"/>
                  <a:pt x="1932989" y="2914645"/>
                  <a:pt x="1917987" y="2907826"/>
                </a:cubicBezTo>
                <a:cubicBezTo>
                  <a:pt x="1910482" y="2907826"/>
                  <a:pt x="1902985" y="2900320"/>
                  <a:pt x="1896166" y="2900320"/>
                </a:cubicBezTo>
                <a:cubicBezTo>
                  <a:pt x="1881164" y="2892814"/>
                  <a:pt x="1874344" y="2892814"/>
                  <a:pt x="1859342" y="2892814"/>
                </a:cubicBezTo>
                <a:cubicBezTo>
                  <a:pt x="1851836" y="2892814"/>
                  <a:pt x="1844340" y="2892814"/>
                  <a:pt x="1837520" y="2892814"/>
                </a:cubicBezTo>
                <a:cubicBezTo>
                  <a:pt x="1822518" y="2892814"/>
                  <a:pt x="1808193" y="2885308"/>
                  <a:pt x="1793191" y="2885308"/>
                </a:cubicBezTo>
                <a:cubicBezTo>
                  <a:pt x="1778189" y="2885308"/>
                  <a:pt x="1771369" y="2885308"/>
                  <a:pt x="1756367" y="2885308"/>
                </a:cubicBezTo>
                <a:cubicBezTo>
                  <a:pt x="1748861" y="2885308"/>
                  <a:pt x="1734545" y="2885308"/>
                  <a:pt x="1727040" y="2885308"/>
                </a:cubicBezTo>
                <a:cubicBezTo>
                  <a:pt x="1705218" y="2885308"/>
                  <a:pt x="1690216" y="2892814"/>
                  <a:pt x="1675214" y="2900310"/>
                </a:cubicBezTo>
                <a:lnTo>
                  <a:pt x="1667709" y="2900310"/>
                </a:lnTo>
                <a:cubicBezTo>
                  <a:pt x="1630885" y="2915312"/>
                  <a:pt x="1594061" y="2937134"/>
                  <a:pt x="1557228" y="2966461"/>
                </a:cubicBezTo>
                <a:lnTo>
                  <a:pt x="1535406" y="2988283"/>
                </a:lnTo>
                <a:lnTo>
                  <a:pt x="1027352" y="2480229"/>
                </a:lnTo>
                <a:lnTo>
                  <a:pt x="2419212" y="1110191"/>
                </a:lnTo>
                <a:lnTo>
                  <a:pt x="2684493" y="1375472"/>
                </a:lnTo>
                <a:lnTo>
                  <a:pt x="1947991" y="2111974"/>
                </a:lnTo>
                <a:cubicBezTo>
                  <a:pt x="1852522" y="2207443"/>
                  <a:pt x="1808193" y="2377254"/>
                  <a:pt x="1947991" y="2517053"/>
                </a:cubicBezTo>
                <a:lnTo>
                  <a:pt x="2235094" y="2804155"/>
                </a:lnTo>
                <a:cubicBezTo>
                  <a:pt x="2250096" y="2819157"/>
                  <a:pt x="2264421" y="2825977"/>
                  <a:pt x="2279423" y="2833483"/>
                </a:cubicBezTo>
                <a:cubicBezTo>
                  <a:pt x="2323752" y="2862810"/>
                  <a:pt x="2374892" y="2877812"/>
                  <a:pt x="2426727" y="2877812"/>
                </a:cubicBezTo>
                <a:cubicBezTo>
                  <a:pt x="2441729" y="2877812"/>
                  <a:pt x="2456055" y="2877812"/>
                  <a:pt x="2478553" y="2870307"/>
                </a:cubicBezTo>
                <a:cubicBezTo>
                  <a:pt x="2478553" y="2870307"/>
                  <a:pt x="2478553" y="2870307"/>
                  <a:pt x="2486058" y="2870307"/>
                </a:cubicBezTo>
                <a:cubicBezTo>
                  <a:pt x="2501060" y="2870307"/>
                  <a:pt x="2515386" y="2862801"/>
                  <a:pt x="2530388" y="2855305"/>
                </a:cubicBezTo>
                <a:lnTo>
                  <a:pt x="2537894" y="2855305"/>
                </a:lnTo>
                <a:cubicBezTo>
                  <a:pt x="2552895" y="2847799"/>
                  <a:pt x="2567221" y="2840303"/>
                  <a:pt x="2582223" y="2833483"/>
                </a:cubicBezTo>
                <a:cubicBezTo>
                  <a:pt x="2582223" y="2833483"/>
                  <a:pt x="2589729" y="2833483"/>
                  <a:pt x="2589729" y="2825977"/>
                </a:cubicBezTo>
                <a:cubicBezTo>
                  <a:pt x="2604730" y="2818471"/>
                  <a:pt x="2619056" y="2804155"/>
                  <a:pt x="2634058" y="2789153"/>
                </a:cubicBezTo>
                <a:lnTo>
                  <a:pt x="3112784" y="2310427"/>
                </a:lnTo>
                <a:lnTo>
                  <a:pt x="4246869" y="3444512"/>
                </a:lnTo>
                <a:lnTo>
                  <a:pt x="4261871" y="3459513"/>
                </a:lnTo>
                <a:cubicBezTo>
                  <a:pt x="4289808" y="3482716"/>
                  <a:pt x="4304810" y="3504538"/>
                  <a:pt x="4252984" y="3556373"/>
                </a:cubicBezTo>
                <a:close/>
                <a:moveTo>
                  <a:pt x="4194329" y="3003990"/>
                </a:moveTo>
                <a:lnTo>
                  <a:pt x="3310523" y="2120184"/>
                </a:lnTo>
                <a:lnTo>
                  <a:pt x="3436006" y="1994702"/>
                </a:lnTo>
                <a:cubicBezTo>
                  <a:pt x="3465333" y="1965374"/>
                  <a:pt x="3472830" y="1936056"/>
                  <a:pt x="3472830" y="1899233"/>
                </a:cubicBezTo>
                <a:cubicBezTo>
                  <a:pt x="3472830" y="1862409"/>
                  <a:pt x="3457828" y="1833082"/>
                  <a:pt x="3436006" y="1803764"/>
                </a:cubicBezTo>
                <a:cubicBezTo>
                  <a:pt x="3384180" y="1751938"/>
                  <a:pt x="3296207" y="1751938"/>
                  <a:pt x="3244382" y="1803764"/>
                </a:cubicBezTo>
                <a:lnTo>
                  <a:pt x="3023431" y="2024715"/>
                </a:lnTo>
                <a:lnTo>
                  <a:pt x="2449225" y="2598920"/>
                </a:lnTo>
                <a:cubicBezTo>
                  <a:pt x="2441720" y="2606426"/>
                  <a:pt x="2434223" y="2606426"/>
                  <a:pt x="2434223" y="2613922"/>
                </a:cubicBezTo>
                <a:lnTo>
                  <a:pt x="2434223" y="2613922"/>
                </a:lnTo>
                <a:lnTo>
                  <a:pt x="2147121" y="2326819"/>
                </a:lnTo>
                <a:cubicBezTo>
                  <a:pt x="2139615" y="2319314"/>
                  <a:pt x="2139615" y="2319314"/>
                  <a:pt x="2139615" y="2311818"/>
                </a:cubicBezTo>
                <a:cubicBezTo>
                  <a:pt x="2139615" y="2304312"/>
                  <a:pt x="2147121" y="2304312"/>
                  <a:pt x="2147121" y="2296816"/>
                </a:cubicBezTo>
                <a:lnTo>
                  <a:pt x="3436006" y="1007931"/>
                </a:lnTo>
                <a:lnTo>
                  <a:pt x="4201835" y="1773760"/>
                </a:lnTo>
                <a:lnTo>
                  <a:pt x="4812864" y="2384789"/>
                </a:lnTo>
                <a:lnTo>
                  <a:pt x="4194329" y="3003990"/>
                </a:lnTo>
                <a:close/>
                <a:moveTo>
                  <a:pt x="5534363" y="1663279"/>
                </a:moveTo>
                <a:lnTo>
                  <a:pt x="4996991" y="2200651"/>
                </a:lnTo>
                <a:lnTo>
                  <a:pt x="3884729" y="1088398"/>
                </a:lnTo>
                <a:lnTo>
                  <a:pt x="3619448" y="823117"/>
                </a:lnTo>
                <a:lnTo>
                  <a:pt x="4156820" y="285745"/>
                </a:lnTo>
                <a:cubicBezTo>
                  <a:pt x="4171821" y="270743"/>
                  <a:pt x="4186147" y="270743"/>
                  <a:pt x="4201149" y="270743"/>
                </a:cubicBezTo>
                <a:cubicBezTo>
                  <a:pt x="4208655" y="270743"/>
                  <a:pt x="4230477" y="270743"/>
                  <a:pt x="4245478" y="285745"/>
                </a:cubicBezTo>
                <a:lnTo>
                  <a:pt x="5541860" y="1582126"/>
                </a:lnTo>
                <a:cubicBezTo>
                  <a:pt x="5556861" y="1597128"/>
                  <a:pt x="5556861" y="1611454"/>
                  <a:pt x="5556861" y="1626456"/>
                </a:cubicBezTo>
                <a:cubicBezTo>
                  <a:pt x="5549365" y="1633952"/>
                  <a:pt x="5549365" y="1648277"/>
                  <a:pt x="5534363" y="166327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7" name="Forma libre 424">
            <a:extLst>
              <a:ext uri="{FF2B5EF4-FFF2-40B4-BE49-F238E27FC236}">
                <a16:creationId xmlns:a16="http://schemas.microsoft.com/office/drawing/2014/main" xmlns="" id="{69C28078-FD55-3E4D-A50B-5073F3AF8066}"/>
              </a:ext>
            </a:extLst>
          </p:cNvPr>
          <p:cNvSpPr/>
          <p:nvPr/>
        </p:nvSpPr>
        <p:spPr>
          <a:xfrm>
            <a:off x="4983499" y="2019434"/>
            <a:ext cx="301831" cy="291967"/>
          </a:xfrm>
          <a:custGeom>
            <a:avLst/>
            <a:gdLst>
              <a:gd name="connsiteX0" fmla="*/ 5382454 w 5829300"/>
              <a:gd name="connsiteY0" fmla="*/ 1944503 h 5638800"/>
              <a:gd name="connsiteX1" fmla="*/ 5104448 w 5829300"/>
              <a:gd name="connsiteY1" fmla="*/ 1944503 h 5638800"/>
              <a:gd name="connsiteX2" fmla="*/ 3017377 w 5829300"/>
              <a:gd name="connsiteY2" fmla="*/ 33054 h 5638800"/>
              <a:gd name="connsiteX3" fmla="*/ 2834297 w 5829300"/>
              <a:gd name="connsiteY3" fmla="*/ 33054 h 5638800"/>
              <a:gd name="connsiteX4" fmla="*/ 710613 w 5829300"/>
              <a:gd name="connsiteY4" fmla="*/ 1944503 h 5638800"/>
              <a:gd name="connsiteX5" fmla="*/ 446846 w 5829300"/>
              <a:gd name="connsiteY5" fmla="*/ 1944503 h 5638800"/>
              <a:gd name="connsiteX6" fmla="*/ 0 w 5829300"/>
              <a:gd name="connsiteY6" fmla="*/ 2391349 h 5638800"/>
              <a:gd name="connsiteX7" fmla="*/ 0 w 5829300"/>
              <a:gd name="connsiteY7" fmla="*/ 2566971 h 5638800"/>
              <a:gd name="connsiteX8" fmla="*/ 227152 w 5829300"/>
              <a:gd name="connsiteY8" fmla="*/ 2954820 h 5638800"/>
              <a:gd name="connsiteX9" fmla="*/ 695697 w 5829300"/>
              <a:gd name="connsiteY9" fmla="*/ 5386352 h 5638800"/>
              <a:gd name="connsiteX10" fmla="*/ 695697 w 5829300"/>
              <a:gd name="connsiteY10" fmla="*/ 5386352 h 5638800"/>
              <a:gd name="connsiteX11" fmla="*/ 1032691 w 5829300"/>
              <a:gd name="connsiteY11" fmla="*/ 5642660 h 5638800"/>
              <a:gd name="connsiteX12" fmla="*/ 4833233 w 5829300"/>
              <a:gd name="connsiteY12" fmla="*/ 5642660 h 5638800"/>
              <a:gd name="connsiteX13" fmla="*/ 5126155 w 5829300"/>
              <a:gd name="connsiteY13" fmla="*/ 5437882 h 5638800"/>
              <a:gd name="connsiteX14" fmla="*/ 5126155 w 5829300"/>
              <a:gd name="connsiteY14" fmla="*/ 5422966 h 5638800"/>
              <a:gd name="connsiteX15" fmla="*/ 5602158 w 5829300"/>
              <a:gd name="connsiteY15" fmla="*/ 2948038 h 5638800"/>
              <a:gd name="connsiteX16" fmla="*/ 5829310 w 5829300"/>
              <a:gd name="connsiteY16" fmla="*/ 2560189 h 5638800"/>
              <a:gd name="connsiteX17" fmla="*/ 5829310 w 5829300"/>
              <a:gd name="connsiteY17" fmla="*/ 2384567 h 5638800"/>
              <a:gd name="connsiteX18" fmla="*/ 5382454 w 5829300"/>
              <a:gd name="connsiteY18" fmla="*/ 1944503 h 5638800"/>
              <a:gd name="connsiteX19" fmla="*/ 2922451 w 5829300"/>
              <a:gd name="connsiteY19" fmla="*/ 311737 h 5638800"/>
              <a:gd name="connsiteX20" fmla="*/ 4701683 w 5829300"/>
              <a:gd name="connsiteY20" fmla="*/ 1937730 h 5638800"/>
              <a:gd name="connsiteX21" fmla="*/ 1113377 w 5829300"/>
              <a:gd name="connsiteY21" fmla="*/ 1937730 h 5638800"/>
              <a:gd name="connsiteX22" fmla="*/ 2922451 w 5829300"/>
              <a:gd name="connsiteY22" fmla="*/ 311737 h 5638800"/>
              <a:gd name="connsiteX23" fmla="*/ 271224 w 5829300"/>
              <a:gd name="connsiteY23" fmla="*/ 2391349 h 5638800"/>
              <a:gd name="connsiteX24" fmla="*/ 446846 w 5829300"/>
              <a:gd name="connsiteY24" fmla="*/ 2215727 h 5638800"/>
              <a:gd name="connsiteX25" fmla="*/ 5382464 w 5829300"/>
              <a:gd name="connsiteY25" fmla="*/ 2215727 h 5638800"/>
              <a:gd name="connsiteX26" fmla="*/ 5558085 w 5829300"/>
              <a:gd name="connsiteY26" fmla="*/ 2391349 h 5638800"/>
              <a:gd name="connsiteX27" fmla="*/ 5558085 w 5829300"/>
              <a:gd name="connsiteY27" fmla="*/ 2566971 h 5638800"/>
              <a:gd name="connsiteX28" fmla="*/ 5382464 w 5829300"/>
              <a:gd name="connsiteY28" fmla="*/ 2742593 h 5638800"/>
              <a:gd name="connsiteX29" fmla="*/ 446846 w 5829300"/>
              <a:gd name="connsiteY29" fmla="*/ 2742593 h 5638800"/>
              <a:gd name="connsiteX30" fmla="*/ 271224 w 5829300"/>
              <a:gd name="connsiteY30" fmla="*/ 2566971 h 5638800"/>
              <a:gd name="connsiteX31" fmla="*/ 271224 w 5829300"/>
              <a:gd name="connsiteY31" fmla="*/ 2391349 h 5638800"/>
              <a:gd name="connsiteX32" fmla="*/ 271224 w 5829300"/>
              <a:gd name="connsiteY32" fmla="*/ 2391349 h 5638800"/>
              <a:gd name="connsiteX33" fmla="*/ 4863065 w 5829300"/>
              <a:gd name="connsiteY33" fmla="*/ 5364654 h 5638800"/>
              <a:gd name="connsiteX34" fmla="*/ 4826451 w 5829300"/>
              <a:gd name="connsiteY34" fmla="*/ 5372112 h 5638800"/>
              <a:gd name="connsiteX35" fmla="*/ 1032691 w 5829300"/>
              <a:gd name="connsiteY35" fmla="*/ 5372112 h 5638800"/>
              <a:gd name="connsiteX36" fmla="*/ 966921 w 5829300"/>
              <a:gd name="connsiteY36" fmla="*/ 5335498 h 5638800"/>
              <a:gd name="connsiteX37" fmla="*/ 512616 w 5829300"/>
              <a:gd name="connsiteY37" fmla="*/ 3007026 h 5638800"/>
              <a:gd name="connsiteX38" fmla="*/ 5316684 w 5829300"/>
              <a:gd name="connsiteY38" fmla="*/ 3007026 h 5638800"/>
              <a:gd name="connsiteX39" fmla="*/ 4863065 w 5829300"/>
              <a:gd name="connsiteY39" fmla="*/ 5364654 h 5638800"/>
              <a:gd name="connsiteX40" fmla="*/ 1340530 w 5829300"/>
              <a:gd name="connsiteY40" fmla="*/ 3804431 h 5638800"/>
              <a:gd name="connsiteX41" fmla="*/ 1472070 w 5829300"/>
              <a:gd name="connsiteY41" fmla="*/ 3672890 h 5638800"/>
              <a:gd name="connsiteX42" fmla="*/ 4298918 w 5829300"/>
              <a:gd name="connsiteY42" fmla="*/ 3672890 h 5638800"/>
              <a:gd name="connsiteX43" fmla="*/ 4430459 w 5829300"/>
              <a:gd name="connsiteY43" fmla="*/ 3804431 h 5638800"/>
              <a:gd name="connsiteX44" fmla="*/ 4298918 w 5829300"/>
              <a:gd name="connsiteY44" fmla="*/ 3935971 h 5638800"/>
              <a:gd name="connsiteX45" fmla="*/ 1479528 w 5829300"/>
              <a:gd name="connsiteY45" fmla="*/ 3935971 h 5638800"/>
              <a:gd name="connsiteX46" fmla="*/ 1340530 w 5829300"/>
              <a:gd name="connsiteY46" fmla="*/ 3804431 h 5638800"/>
              <a:gd name="connsiteX47" fmla="*/ 4283993 w 5829300"/>
              <a:gd name="connsiteY47" fmla="*/ 4559115 h 5638800"/>
              <a:gd name="connsiteX48" fmla="*/ 4152452 w 5829300"/>
              <a:gd name="connsiteY48" fmla="*/ 4690656 h 5638800"/>
              <a:gd name="connsiteX49" fmla="*/ 1640910 w 5829300"/>
              <a:gd name="connsiteY49" fmla="*/ 4690656 h 5638800"/>
              <a:gd name="connsiteX50" fmla="*/ 1509370 w 5829300"/>
              <a:gd name="connsiteY50" fmla="*/ 4559115 h 5638800"/>
              <a:gd name="connsiteX51" fmla="*/ 1640910 w 5829300"/>
              <a:gd name="connsiteY51" fmla="*/ 4427575 h 5638800"/>
              <a:gd name="connsiteX52" fmla="*/ 4145671 w 5829300"/>
              <a:gd name="connsiteY52" fmla="*/ 4427575 h 5638800"/>
              <a:gd name="connsiteX53" fmla="*/ 4283993 w 5829300"/>
              <a:gd name="connsiteY53" fmla="*/ 4559115 h 563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829300" h="5638800">
                <a:moveTo>
                  <a:pt x="5382454" y="1944503"/>
                </a:moveTo>
                <a:lnTo>
                  <a:pt x="5104448" y="1944503"/>
                </a:lnTo>
                <a:lnTo>
                  <a:pt x="3017377" y="33054"/>
                </a:lnTo>
                <a:cubicBezTo>
                  <a:pt x="2965847" y="-11018"/>
                  <a:pt x="2885837" y="-11018"/>
                  <a:pt x="2834297" y="33054"/>
                </a:cubicBezTo>
                <a:lnTo>
                  <a:pt x="710613" y="1944503"/>
                </a:lnTo>
                <a:lnTo>
                  <a:pt x="446846" y="1944503"/>
                </a:lnTo>
                <a:cubicBezTo>
                  <a:pt x="197996" y="1944503"/>
                  <a:pt x="0" y="2142499"/>
                  <a:pt x="0" y="2391349"/>
                </a:cubicBezTo>
                <a:lnTo>
                  <a:pt x="0" y="2566971"/>
                </a:lnTo>
                <a:cubicBezTo>
                  <a:pt x="0" y="2735135"/>
                  <a:pt x="94926" y="2881591"/>
                  <a:pt x="227152" y="2954820"/>
                </a:cubicBezTo>
                <a:lnTo>
                  <a:pt x="695697" y="5386352"/>
                </a:lnTo>
                <a:lnTo>
                  <a:pt x="695697" y="5386352"/>
                </a:lnTo>
                <a:cubicBezTo>
                  <a:pt x="710613" y="5474496"/>
                  <a:pt x="798081" y="5642660"/>
                  <a:pt x="1032691" y="5642660"/>
                </a:cubicBezTo>
                <a:lnTo>
                  <a:pt x="4833233" y="5642660"/>
                </a:lnTo>
                <a:cubicBezTo>
                  <a:pt x="4979699" y="5642660"/>
                  <a:pt x="5089541" y="5561974"/>
                  <a:pt x="5126155" y="5437882"/>
                </a:cubicBezTo>
                <a:cubicBezTo>
                  <a:pt x="5126155" y="5430424"/>
                  <a:pt x="5126155" y="5430424"/>
                  <a:pt x="5126155" y="5422966"/>
                </a:cubicBezTo>
                <a:lnTo>
                  <a:pt x="5602158" y="2948038"/>
                </a:lnTo>
                <a:cubicBezTo>
                  <a:pt x="5733698" y="2867351"/>
                  <a:pt x="5829310" y="2728344"/>
                  <a:pt x="5829310" y="2560189"/>
                </a:cubicBezTo>
                <a:lnTo>
                  <a:pt x="5829310" y="2384567"/>
                </a:lnTo>
                <a:cubicBezTo>
                  <a:pt x="5829300" y="2142499"/>
                  <a:pt x="5631980" y="1944503"/>
                  <a:pt x="5382454" y="1944503"/>
                </a:cubicBezTo>
                <a:close/>
                <a:moveTo>
                  <a:pt x="2922451" y="311737"/>
                </a:moveTo>
                <a:lnTo>
                  <a:pt x="4701683" y="1937730"/>
                </a:lnTo>
                <a:lnTo>
                  <a:pt x="1113377" y="1937730"/>
                </a:lnTo>
                <a:lnTo>
                  <a:pt x="2922451" y="311737"/>
                </a:lnTo>
                <a:close/>
                <a:moveTo>
                  <a:pt x="271224" y="2391349"/>
                </a:moveTo>
                <a:cubicBezTo>
                  <a:pt x="271224" y="2296423"/>
                  <a:pt x="351911" y="2215727"/>
                  <a:pt x="446846" y="2215727"/>
                </a:cubicBezTo>
                <a:lnTo>
                  <a:pt x="5382464" y="2215727"/>
                </a:lnTo>
                <a:cubicBezTo>
                  <a:pt x="5477390" y="2215727"/>
                  <a:pt x="5558085" y="2296413"/>
                  <a:pt x="5558085" y="2391349"/>
                </a:cubicBezTo>
                <a:lnTo>
                  <a:pt x="5558085" y="2566971"/>
                </a:lnTo>
                <a:cubicBezTo>
                  <a:pt x="5558085" y="2661897"/>
                  <a:pt x="5477399" y="2742593"/>
                  <a:pt x="5382464" y="2742593"/>
                </a:cubicBezTo>
                <a:lnTo>
                  <a:pt x="446846" y="2742593"/>
                </a:lnTo>
                <a:cubicBezTo>
                  <a:pt x="351920" y="2742593"/>
                  <a:pt x="271224" y="2661907"/>
                  <a:pt x="271224" y="2566971"/>
                </a:cubicBezTo>
                <a:lnTo>
                  <a:pt x="271224" y="2391349"/>
                </a:lnTo>
                <a:lnTo>
                  <a:pt x="271224" y="2391349"/>
                </a:lnTo>
                <a:close/>
                <a:moveTo>
                  <a:pt x="4863065" y="5364654"/>
                </a:moveTo>
                <a:cubicBezTo>
                  <a:pt x="4863065" y="5372112"/>
                  <a:pt x="4855607" y="5372112"/>
                  <a:pt x="4826451" y="5372112"/>
                </a:cubicBezTo>
                <a:lnTo>
                  <a:pt x="1032691" y="5372112"/>
                </a:lnTo>
                <a:cubicBezTo>
                  <a:pt x="1017775" y="5372112"/>
                  <a:pt x="974379" y="5372112"/>
                  <a:pt x="966921" y="5335498"/>
                </a:cubicBezTo>
                <a:lnTo>
                  <a:pt x="512616" y="3007026"/>
                </a:lnTo>
                <a:lnTo>
                  <a:pt x="5316684" y="3007026"/>
                </a:lnTo>
                <a:lnTo>
                  <a:pt x="4863065" y="5364654"/>
                </a:lnTo>
                <a:close/>
                <a:moveTo>
                  <a:pt x="1340530" y="3804431"/>
                </a:moveTo>
                <a:cubicBezTo>
                  <a:pt x="1340530" y="3731202"/>
                  <a:pt x="1398842" y="3672890"/>
                  <a:pt x="1472070" y="3672890"/>
                </a:cubicBezTo>
                <a:lnTo>
                  <a:pt x="4298918" y="3672890"/>
                </a:lnTo>
                <a:cubicBezTo>
                  <a:pt x="4372147" y="3672890"/>
                  <a:pt x="4430459" y="3731202"/>
                  <a:pt x="4430459" y="3804431"/>
                </a:cubicBezTo>
                <a:cubicBezTo>
                  <a:pt x="4430459" y="3877659"/>
                  <a:pt x="4372147" y="3935971"/>
                  <a:pt x="4298918" y="3935971"/>
                </a:cubicBezTo>
                <a:lnTo>
                  <a:pt x="1479528" y="3935971"/>
                </a:lnTo>
                <a:cubicBezTo>
                  <a:pt x="1406300" y="3936656"/>
                  <a:pt x="1340530" y="3877659"/>
                  <a:pt x="1340530" y="3804431"/>
                </a:cubicBezTo>
                <a:close/>
                <a:moveTo>
                  <a:pt x="4283993" y="4559115"/>
                </a:moveTo>
                <a:cubicBezTo>
                  <a:pt x="4283993" y="4632343"/>
                  <a:pt x="4225681" y="4690656"/>
                  <a:pt x="4152452" y="4690656"/>
                </a:cubicBezTo>
                <a:lnTo>
                  <a:pt x="1640910" y="4690656"/>
                </a:lnTo>
                <a:cubicBezTo>
                  <a:pt x="1567682" y="4690656"/>
                  <a:pt x="1509370" y="4632343"/>
                  <a:pt x="1509370" y="4559115"/>
                </a:cubicBezTo>
                <a:cubicBezTo>
                  <a:pt x="1509370" y="4485887"/>
                  <a:pt x="1567682" y="4427575"/>
                  <a:pt x="1640910" y="4427575"/>
                </a:cubicBezTo>
                <a:lnTo>
                  <a:pt x="4145671" y="4427575"/>
                </a:lnTo>
                <a:cubicBezTo>
                  <a:pt x="4218223" y="4426889"/>
                  <a:pt x="4283993" y="4485887"/>
                  <a:pt x="4283993" y="455911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8" name="Forma libre 426">
            <a:extLst>
              <a:ext uri="{FF2B5EF4-FFF2-40B4-BE49-F238E27FC236}">
                <a16:creationId xmlns:a16="http://schemas.microsoft.com/office/drawing/2014/main" xmlns="" id="{2D54638C-91A1-EF4E-A15A-377B0E3316A7}"/>
              </a:ext>
            </a:extLst>
          </p:cNvPr>
          <p:cNvSpPr/>
          <p:nvPr/>
        </p:nvSpPr>
        <p:spPr>
          <a:xfrm>
            <a:off x="1270707" y="3395150"/>
            <a:ext cx="301338" cy="280624"/>
          </a:xfrm>
          <a:custGeom>
            <a:avLst/>
            <a:gdLst>
              <a:gd name="connsiteX0" fmla="*/ 5579212 w 5819775"/>
              <a:gd name="connsiteY0" fmla="*/ 0 h 5419725"/>
              <a:gd name="connsiteX1" fmla="*/ 249479 w 5819775"/>
              <a:gd name="connsiteY1" fmla="*/ 0 h 5419725"/>
              <a:gd name="connsiteX2" fmla="*/ 0 w 5819775"/>
              <a:gd name="connsiteY2" fmla="*/ 249479 h 5419725"/>
              <a:gd name="connsiteX3" fmla="*/ 0 w 5819775"/>
              <a:gd name="connsiteY3" fmla="*/ 808682 h 5419725"/>
              <a:gd name="connsiteX4" fmla="*/ 249479 w 5819775"/>
              <a:gd name="connsiteY4" fmla="*/ 1058161 h 5419725"/>
              <a:gd name="connsiteX5" fmla="*/ 295723 w 5819775"/>
              <a:gd name="connsiteY5" fmla="*/ 1058161 h 5419725"/>
              <a:gd name="connsiteX6" fmla="*/ 295723 w 5819775"/>
              <a:gd name="connsiteY6" fmla="*/ 1695850 h 5419725"/>
              <a:gd name="connsiteX7" fmla="*/ 295723 w 5819775"/>
              <a:gd name="connsiteY7" fmla="*/ 1695850 h 5419725"/>
              <a:gd name="connsiteX8" fmla="*/ 295723 w 5819775"/>
              <a:gd name="connsiteY8" fmla="*/ 5113106 h 5419725"/>
              <a:gd name="connsiteX9" fmla="*/ 610914 w 5819775"/>
              <a:gd name="connsiteY9" fmla="*/ 5428298 h 5419725"/>
              <a:gd name="connsiteX10" fmla="*/ 2300069 w 5819775"/>
              <a:gd name="connsiteY10" fmla="*/ 5428298 h 5419725"/>
              <a:gd name="connsiteX11" fmla="*/ 3548682 w 5819775"/>
              <a:gd name="connsiteY11" fmla="*/ 5428298 h 5419725"/>
              <a:gd name="connsiteX12" fmla="*/ 5224463 w 5819775"/>
              <a:gd name="connsiteY12" fmla="*/ 5428298 h 5419725"/>
              <a:gd name="connsiteX13" fmla="*/ 5539655 w 5819775"/>
              <a:gd name="connsiteY13" fmla="*/ 5113106 h 5419725"/>
              <a:gd name="connsiteX14" fmla="*/ 5539655 w 5819775"/>
              <a:gd name="connsiteY14" fmla="*/ 1498702 h 5419725"/>
              <a:gd name="connsiteX15" fmla="*/ 5539655 w 5819775"/>
              <a:gd name="connsiteY15" fmla="*/ 1471927 h 5419725"/>
              <a:gd name="connsiteX16" fmla="*/ 5539655 w 5819775"/>
              <a:gd name="connsiteY16" fmla="*/ 1058161 h 5419725"/>
              <a:gd name="connsiteX17" fmla="*/ 5579202 w 5819775"/>
              <a:gd name="connsiteY17" fmla="*/ 1058161 h 5419725"/>
              <a:gd name="connsiteX18" fmla="*/ 5828681 w 5819775"/>
              <a:gd name="connsiteY18" fmla="*/ 808682 h 5419725"/>
              <a:gd name="connsiteX19" fmla="*/ 5828681 w 5819775"/>
              <a:gd name="connsiteY19" fmla="*/ 250088 h 5419725"/>
              <a:gd name="connsiteX20" fmla="*/ 5579212 w 5819775"/>
              <a:gd name="connsiteY20" fmla="*/ 0 h 5419725"/>
              <a:gd name="connsiteX21" fmla="*/ 2175339 w 5819775"/>
              <a:gd name="connsiteY21" fmla="*/ 5184905 h 5419725"/>
              <a:gd name="connsiteX22" fmla="*/ 611534 w 5819775"/>
              <a:gd name="connsiteY22" fmla="*/ 5184905 h 5419725"/>
              <a:gd name="connsiteX23" fmla="*/ 539125 w 5819775"/>
              <a:gd name="connsiteY23" fmla="*/ 5112496 h 5419725"/>
              <a:gd name="connsiteX24" fmla="*/ 539125 w 5819775"/>
              <a:gd name="connsiteY24" fmla="*/ 4337285 h 5419725"/>
              <a:gd name="connsiteX25" fmla="*/ 2175348 w 5819775"/>
              <a:gd name="connsiteY25" fmla="*/ 4337285 h 5419725"/>
              <a:gd name="connsiteX26" fmla="*/ 2175348 w 5819775"/>
              <a:gd name="connsiteY26" fmla="*/ 5184905 h 5419725"/>
              <a:gd name="connsiteX27" fmla="*/ 2175339 w 5819775"/>
              <a:gd name="connsiteY27" fmla="*/ 5184905 h 5419725"/>
              <a:gd name="connsiteX28" fmla="*/ 3423952 w 5819775"/>
              <a:gd name="connsiteY28" fmla="*/ 5184905 h 5419725"/>
              <a:gd name="connsiteX29" fmla="*/ 2418121 w 5819775"/>
              <a:gd name="connsiteY29" fmla="*/ 5184905 h 5419725"/>
              <a:gd name="connsiteX30" fmla="*/ 2418121 w 5819775"/>
              <a:gd name="connsiteY30" fmla="*/ 2983402 h 5419725"/>
              <a:gd name="connsiteX31" fmla="*/ 2437590 w 5819775"/>
              <a:gd name="connsiteY31" fmla="*/ 2963932 h 5419725"/>
              <a:gd name="connsiteX32" fmla="*/ 3397177 w 5819775"/>
              <a:gd name="connsiteY32" fmla="*/ 2963932 h 5419725"/>
              <a:gd name="connsiteX33" fmla="*/ 3416646 w 5819775"/>
              <a:gd name="connsiteY33" fmla="*/ 2983402 h 5419725"/>
              <a:gd name="connsiteX34" fmla="*/ 3416646 w 5819775"/>
              <a:gd name="connsiteY34" fmla="*/ 5184905 h 5419725"/>
              <a:gd name="connsiteX35" fmla="*/ 3423952 w 5819775"/>
              <a:gd name="connsiteY35" fmla="*/ 5184905 h 5419725"/>
              <a:gd name="connsiteX36" fmla="*/ 5290185 w 5819775"/>
              <a:gd name="connsiteY36" fmla="*/ 5113106 h 5419725"/>
              <a:gd name="connsiteX37" fmla="*/ 5217776 w 5819775"/>
              <a:gd name="connsiteY37" fmla="*/ 5185515 h 5419725"/>
              <a:gd name="connsiteX38" fmla="*/ 3666735 w 5819775"/>
              <a:gd name="connsiteY38" fmla="*/ 5185515 h 5419725"/>
              <a:gd name="connsiteX39" fmla="*/ 3666735 w 5819775"/>
              <a:gd name="connsiteY39" fmla="*/ 4416390 h 5419725"/>
              <a:gd name="connsiteX40" fmla="*/ 5296262 w 5819775"/>
              <a:gd name="connsiteY40" fmla="*/ 4416390 h 5419725"/>
              <a:gd name="connsiteX41" fmla="*/ 5296262 w 5819775"/>
              <a:gd name="connsiteY41" fmla="*/ 5113106 h 5419725"/>
              <a:gd name="connsiteX42" fmla="*/ 5290185 w 5819775"/>
              <a:gd name="connsiteY42" fmla="*/ 5113106 h 5419725"/>
              <a:gd name="connsiteX43" fmla="*/ 5290185 w 5819775"/>
              <a:gd name="connsiteY43" fmla="*/ 4172998 h 5419725"/>
              <a:gd name="connsiteX44" fmla="*/ 3666744 w 5819775"/>
              <a:gd name="connsiteY44" fmla="*/ 4172998 h 5419725"/>
              <a:gd name="connsiteX45" fmla="*/ 3666744 w 5819775"/>
              <a:gd name="connsiteY45" fmla="*/ 2983402 h 5419725"/>
              <a:gd name="connsiteX46" fmla="*/ 3403883 w 5819775"/>
              <a:gd name="connsiteY46" fmla="*/ 2720531 h 5419725"/>
              <a:gd name="connsiteX47" fmla="*/ 2438210 w 5819775"/>
              <a:gd name="connsiteY47" fmla="*/ 2720531 h 5419725"/>
              <a:gd name="connsiteX48" fmla="*/ 2175339 w 5819775"/>
              <a:gd name="connsiteY48" fmla="*/ 2983402 h 5419725"/>
              <a:gd name="connsiteX49" fmla="*/ 2175339 w 5819775"/>
              <a:gd name="connsiteY49" fmla="*/ 4094502 h 5419725"/>
              <a:gd name="connsiteX50" fmla="*/ 538515 w 5819775"/>
              <a:gd name="connsiteY50" fmla="*/ 4094502 h 5419725"/>
              <a:gd name="connsiteX51" fmla="*/ 538515 w 5819775"/>
              <a:gd name="connsiteY51" fmla="*/ 2149174 h 5419725"/>
              <a:gd name="connsiteX52" fmla="*/ 545211 w 5819775"/>
              <a:gd name="connsiteY52" fmla="*/ 2155870 h 5419725"/>
              <a:gd name="connsiteX53" fmla="*/ 597541 w 5819775"/>
              <a:gd name="connsiteY53" fmla="*/ 2182035 h 5419725"/>
              <a:gd name="connsiteX54" fmla="*/ 610924 w 5819775"/>
              <a:gd name="connsiteY54" fmla="*/ 2188731 h 5419725"/>
              <a:gd name="connsiteX55" fmla="*/ 676637 w 5819775"/>
              <a:gd name="connsiteY55" fmla="*/ 2214896 h 5419725"/>
              <a:gd name="connsiteX56" fmla="*/ 683333 w 5819775"/>
              <a:gd name="connsiteY56" fmla="*/ 2214896 h 5419725"/>
              <a:gd name="connsiteX57" fmla="*/ 742360 w 5819775"/>
              <a:gd name="connsiteY57" fmla="*/ 2228279 h 5419725"/>
              <a:gd name="connsiteX58" fmla="*/ 761829 w 5819775"/>
              <a:gd name="connsiteY58" fmla="*/ 2228279 h 5419725"/>
              <a:gd name="connsiteX59" fmla="*/ 834238 w 5819775"/>
              <a:gd name="connsiteY59" fmla="*/ 2234975 h 5419725"/>
              <a:gd name="connsiteX60" fmla="*/ 893264 w 5819775"/>
              <a:gd name="connsiteY60" fmla="*/ 2228279 h 5419725"/>
              <a:gd name="connsiteX61" fmla="*/ 1248013 w 5819775"/>
              <a:gd name="connsiteY61" fmla="*/ 2037826 h 5419725"/>
              <a:gd name="connsiteX62" fmla="*/ 1602762 w 5819775"/>
              <a:gd name="connsiteY62" fmla="*/ 2228279 h 5419725"/>
              <a:gd name="connsiteX63" fmla="*/ 1661789 w 5819775"/>
              <a:gd name="connsiteY63" fmla="*/ 2234975 h 5419725"/>
              <a:gd name="connsiteX64" fmla="*/ 1720815 w 5819775"/>
              <a:gd name="connsiteY64" fmla="*/ 2228279 h 5419725"/>
              <a:gd name="connsiteX65" fmla="*/ 2075564 w 5819775"/>
              <a:gd name="connsiteY65" fmla="*/ 2037826 h 5419725"/>
              <a:gd name="connsiteX66" fmla="*/ 2430313 w 5819775"/>
              <a:gd name="connsiteY66" fmla="*/ 2228279 h 5419725"/>
              <a:gd name="connsiteX67" fmla="*/ 2489340 w 5819775"/>
              <a:gd name="connsiteY67" fmla="*/ 2234975 h 5419725"/>
              <a:gd name="connsiteX68" fmla="*/ 2548366 w 5819775"/>
              <a:gd name="connsiteY68" fmla="*/ 2228279 h 5419725"/>
              <a:gd name="connsiteX69" fmla="*/ 2903115 w 5819775"/>
              <a:gd name="connsiteY69" fmla="*/ 2037826 h 5419725"/>
              <a:gd name="connsiteX70" fmla="*/ 3257864 w 5819775"/>
              <a:gd name="connsiteY70" fmla="*/ 2228279 h 5419725"/>
              <a:gd name="connsiteX71" fmla="*/ 3316891 w 5819775"/>
              <a:gd name="connsiteY71" fmla="*/ 2234975 h 5419725"/>
              <a:gd name="connsiteX72" fmla="*/ 3375917 w 5819775"/>
              <a:gd name="connsiteY72" fmla="*/ 2228279 h 5419725"/>
              <a:gd name="connsiteX73" fmla="*/ 3730666 w 5819775"/>
              <a:gd name="connsiteY73" fmla="*/ 2037826 h 5419725"/>
              <a:gd name="connsiteX74" fmla="*/ 4085416 w 5819775"/>
              <a:gd name="connsiteY74" fmla="*/ 2228279 h 5419725"/>
              <a:gd name="connsiteX75" fmla="*/ 4144442 w 5819775"/>
              <a:gd name="connsiteY75" fmla="*/ 2234975 h 5419725"/>
              <a:gd name="connsiteX76" fmla="*/ 4203468 w 5819775"/>
              <a:gd name="connsiteY76" fmla="*/ 2228279 h 5419725"/>
              <a:gd name="connsiteX77" fmla="*/ 4558218 w 5819775"/>
              <a:gd name="connsiteY77" fmla="*/ 2037826 h 5419725"/>
              <a:gd name="connsiteX78" fmla="*/ 4912967 w 5819775"/>
              <a:gd name="connsiteY78" fmla="*/ 2228279 h 5419725"/>
              <a:gd name="connsiteX79" fmla="*/ 4971993 w 5819775"/>
              <a:gd name="connsiteY79" fmla="*/ 2234975 h 5419725"/>
              <a:gd name="connsiteX80" fmla="*/ 5044402 w 5819775"/>
              <a:gd name="connsiteY80" fmla="*/ 2228279 h 5419725"/>
              <a:gd name="connsiteX81" fmla="*/ 5063871 w 5819775"/>
              <a:gd name="connsiteY81" fmla="*/ 2228279 h 5419725"/>
              <a:gd name="connsiteX82" fmla="*/ 5136280 w 5819775"/>
              <a:gd name="connsiteY82" fmla="*/ 2208810 h 5419725"/>
              <a:gd name="connsiteX83" fmla="*/ 5142976 w 5819775"/>
              <a:gd name="connsiteY83" fmla="*/ 2208810 h 5419725"/>
              <a:gd name="connsiteX84" fmla="*/ 5202003 w 5819775"/>
              <a:gd name="connsiteY84" fmla="*/ 2182644 h 5419725"/>
              <a:gd name="connsiteX85" fmla="*/ 5215385 w 5819775"/>
              <a:gd name="connsiteY85" fmla="*/ 2175948 h 5419725"/>
              <a:gd name="connsiteX86" fmla="*/ 5274412 w 5819775"/>
              <a:gd name="connsiteY86" fmla="*/ 2143087 h 5419725"/>
              <a:gd name="connsiteX87" fmla="*/ 5274412 w 5819775"/>
              <a:gd name="connsiteY87" fmla="*/ 2143087 h 5419725"/>
              <a:gd name="connsiteX88" fmla="*/ 5274412 w 5819775"/>
              <a:gd name="connsiteY88" fmla="*/ 4173607 h 5419725"/>
              <a:gd name="connsiteX89" fmla="*/ 5290233 w 5819775"/>
              <a:gd name="connsiteY89" fmla="*/ 4173607 h 5419725"/>
              <a:gd name="connsiteX90" fmla="*/ 5290233 w 5819775"/>
              <a:gd name="connsiteY90" fmla="*/ 4172998 h 5419725"/>
              <a:gd name="connsiteX91" fmla="*/ 538515 w 5819775"/>
              <a:gd name="connsiteY91" fmla="*/ 1695850 h 5419725"/>
              <a:gd name="connsiteX92" fmla="*/ 538515 w 5819775"/>
              <a:gd name="connsiteY92" fmla="*/ 1064847 h 5419725"/>
              <a:gd name="connsiteX93" fmla="*/ 1123274 w 5819775"/>
              <a:gd name="connsiteY93" fmla="*/ 1064847 h 5419725"/>
              <a:gd name="connsiteX94" fmla="*/ 1123274 w 5819775"/>
              <a:gd name="connsiteY94" fmla="*/ 1695850 h 5419725"/>
              <a:gd name="connsiteX95" fmla="*/ 945594 w 5819775"/>
              <a:gd name="connsiteY95" fmla="*/ 1965408 h 5419725"/>
              <a:gd name="connsiteX96" fmla="*/ 833628 w 5819775"/>
              <a:gd name="connsiteY96" fmla="*/ 1991573 h 5419725"/>
              <a:gd name="connsiteX97" fmla="*/ 721662 w 5819775"/>
              <a:gd name="connsiteY97" fmla="*/ 1965408 h 5419725"/>
              <a:gd name="connsiteX98" fmla="*/ 538515 w 5819775"/>
              <a:gd name="connsiteY98" fmla="*/ 1695850 h 5419725"/>
              <a:gd name="connsiteX99" fmla="*/ 1366657 w 5819775"/>
              <a:gd name="connsiteY99" fmla="*/ 1695850 h 5419725"/>
              <a:gd name="connsiteX100" fmla="*/ 1366657 w 5819775"/>
              <a:gd name="connsiteY100" fmla="*/ 1064847 h 5419725"/>
              <a:gd name="connsiteX101" fmla="*/ 1951415 w 5819775"/>
              <a:gd name="connsiteY101" fmla="*/ 1064847 h 5419725"/>
              <a:gd name="connsiteX102" fmla="*/ 1951415 w 5819775"/>
              <a:gd name="connsiteY102" fmla="*/ 1695850 h 5419725"/>
              <a:gd name="connsiteX103" fmla="*/ 1773736 w 5819775"/>
              <a:gd name="connsiteY103" fmla="*/ 1965408 h 5419725"/>
              <a:gd name="connsiteX104" fmla="*/ 1661770 w 5819775"/>
              <a:gd name="connsiteY104" fmla="*/ 1991573 h 5419725"/>
              <a:gd name="connsiteX105" fmla="*/ 1549803 w 5819775"/>
              <a:gd name="connsiteY105" fmla="*/ 1965408 h 5419725"/>
              <a:gd name="connsiteX106" fmla="*/ 1366657 w 5819775"/>
              <a:gd name="connsiteY106" fmla="*/ 1695850 h 5419725"/>
              <a:gd name="connsiteX107" fmla="*/ 2194808 w 5819775"/>
              <a:gd name="connsiteY107" fmla="*/ 1695850 h 5419725"/>
              <a:gd name="connsiteX108" fmla="*/ 2194808 w 5819775"/>
              <a:gd name="connsiteY108" fmla="*/ 1064847 h 5419725"/>
              <a:gd name="connsiteX109" fmla="*/ 2779567 w 5819775"/>
              <a:gd name="connsiteY109" fmla="*/ 1064847 h 5419725"/>
              <a:gd name="connsiteX110" fmla="*/ 2779567 w 5819775"/>
              <a:gd name="connsiteY110" fmla="*/ 1695850 h 5419725"/>
              <a:gd name="connsiteX111" fmla="*/ 2601887 w 5819775"/>
              <a:gd name="connsiteY111" fmla="*/ 1965408 h 5419725"/>
              <a:gd name="connsiteX112" fmla="*/ 2489930 w 5819775"/>
              <a:gd name="connsiteY112" fmla="*/ 1991573 h 5419725"/>
              <a:gd name="connsiteX113" fmla="*/ 2377964 w 5819775"/>
              <a:gd name="connsiteY113" fmla="*/ 1965408 h 5419725"/>
              <a:gd name="connsiteX114" fmla="*/ 2194808 w 5819775"/>
              <a:gd name="connsiteY114" fmla="*/ 1695850 h 5419725"/>
              <a:gd name="connsiteX115" fmla="*/ 3029655 w 5819775"/>
              <a:gd name="connsiteY115" fmla="*/ 1695850 h 5419725"/>
              <a:gd name="connsiteX116" fmla="*/ 3029655 w 5819775"/>
              <a:gd name="connsiteY116" fmla="*/ 1064847 h 5419725"/>
              <a:gd name="connsiteX117" fmla="*/ 3614414 w 5819775"/>
              <a:gd name="connsiteY117" fmla="*/ 1064847 h 5419725"/>
              <a:gd name="connsiteX118" fmla="*/ 3614414 w 5819775"/>
              <a:gd name="connsiteY118" fmla="*/ 1695850 h 5419725"/>
              <a:gd name="connsiteX119" fmla="*/ 3436735 w 5819775"/>
              <a:gd name="connsiteY119" fmla="*/ 1965408 h 5419725"/>
              <a:gd name="connsiteX120" fmla="*/ 3324768 w 5819775"/>
              <a:gd name="connsiteY120" fmla="*/ 1991573 h 5419725"/>
              <a:gd name="connsiteX121" fmla="*/ 3212802 w 5819775"/>
              <a:gd name="connsiteY121" fmla="*/ 1965408 h 5419725"/>
              <a:gd name="connsiteX122" fmla="*/ 3029655 w 5819775"/>
              <a:gd name="connsiteY122" fmla="*/ 1695850 h 5419725"/>
              <a:gd name="connsiteX123" fmla="*/ 3857196 w 5819775"/>
              <a:gd name="connsiteY123" fmla="*/ 1695850 h 5419725"/>
              <a:gd name="connsiteX124" fmla="*/ 3857196 w 5819775"/>
              <a:gd name="connsiteY124" fmla="*/ 1064847 h 5419725"/>
              <a:gd name="connsiteX125" fmla="*/ 4441955 w 5819775"/>
              <a:gd name="connsiteY125" fmla="*/ 1064847 h 5419725"/>
              <a:gd name="connsiteX126" fmla="*/ 4441955 w 5819775"/>
              <a:gd name="connsiteY126" fmla="*/ 1695850 h 5419725"/>
              <a:gd name="connsiteX127" fmla="*/ 4264276 w 5819775"/>
              <a:gd name="connsiteY127" fmla="*/ 1965408 h 5419725"/>
              <a:gd name="connsiteX128" fmla="*/ 4152319 w 5819775"/>
              <a:gd name="connsiteY128" fmla="*/ 1991573 h 5419725"/>
              <a:gd name="connsiteX129" fmla="*/ 4040353 w 5819775"/>
              <a:gd name="connsiteY129" fmla="*/ 1965408 h 5419725"/>
              <a:gd name="connsiteX130" fmla="*/ 3857196 w 5819775"/>
              <a:gd name="connsiteY130" fmla="*/ 1695850 h 5419725"/>
              <a:gd name="connsiteX131" fmla="*/ 4692034 w 5819775"/>
              <a:gd name="connsiteY131" fmla="*/ 1695850 h 5419725"/>
              <a:gd name="connsiteX132" fmla="*/ 4692034 w 5819775"/>
              <a:gd name="connsiteY132" fmla="*/ 1064847 h 5419725"/>
              <a:gd name="connsiteX133" fmla="*/ 5276793 w 5819775"/>
              <a:gd name="connsiteY133" fmla="*/ 1064847 h 5419725"/>
              <a:gd name="connsiteX134" fmla="*/ 5276793 w 5819775"/>
              <a:gd name="connsiteY134" fmla="*/ 1400127 h 5419725"/>
              <a:gd name="connsiteX135" fmla="*/ 5276793 w 5819775"/>
              <a:gd name="connsiteY135" fmla="*/ 1695850 h 5419725"/>
              <a:gd name="connsiteX136" fmla="*/ 5099114 w 5819775"/>
              <a:gd name="connsiteY136" fmla="*/ 1965408 h 5419725"/>
              <a:gd name="connsiteX137" fmla="*/ 4987157 w 5819775"/>
              <a:gd name="connsiteY137" fmla="*/ 1991573 h 5419725"/>
              <a:gd name="connsiteX138" fmla="*/ 4875190 w 5819775"/>
              <a:gd name="connsiteY138" fmla="*/ 1965408 h 5419725"/>
              <a:gd name="connsiteX139" fmla="*/ 4692034 w 5819775"/>
              <a:gd name="connsiteY139" fmla="*/ 1695850 h 5419725"/>
              <a:gd name="connsiteX140" fmla="*/ 5579212 w 5819775"/>
              <a:gd name="connsiteY140" fmla="*/ 808673 h 5419725"/>
              <a:gd name="connsiteX141" fmla="*/ 5579212 w 5819775"/>
              <a:gd name="connsiteY141" fmla="*/ 808673 h 5419725"/>
              <a:gd name="connsiteX142" fmla="*/ 249479 w 5819775"/>
              <a:gd name="connsiteY142" fmla="*/ 808673 h 5419725"/>
              <a:gd name="connsiteX143" fmla="*/ 256175 w 5819775"/>
              <a:gd name="connsiteY143" fmla="*/ 243392 h 5419725"/>
              <a:gd name="connsiteX144" fmla="*/ 5579212 w 5819775"/>
              <a:gd name="connsiteY144" fmla="*/ 250088 h 5419725"/>
              <a:gd name="connsiteX145" fmla="*/ 5579212 w 5819775"/>
              <a:gd name="connsiteY145" fmla="*/ 808673 h 541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819775" h="5419725">
                <a:moveTo>
                  <a:pt x="5579212" y="0"/>
                </a:moveTo>
                <a:lnTo>
                  <a:pt x="249479" y="0"/>
                </a:lnTo>
                <a:cubicBezTo>
                  <a:pt x="111357" y="0"/>
                  <a:pt x="0" y="111957"/>
                  <a:pt x="0" y="249479"/>
                </a:cubicBezTo>
                <a:lnTo>
                  <a:pt x="0" y="808682"/>
                </a:lnTo>
                <a:cubicBezTo>
                  <a:pt x="0" y="946804"/>
                  <a:pt x="111957" y="1058161"/>
                  <a:pt x="249479" y="1058161"/>
                </a:cubicBezTo>
                <a:lnTo>
                  <a:pt x="295723" y="1058161"/>
                </a:lnTo>
                <a:lnTo>
                  <a:pt x="295723" y="1695850"/>
                </a:lnTo>
                <a:lnTo>
                  <a:pt x="295723" y="1695850"/>
                </a:lnTo>
                <a:lnTo>
                  <a:pt x="295723" y="5113106"/>
                </a:lnTo>
                <a:cubicBezTo>
                  <a:pt x="295723" y="5284089"/>
                  <a:pt x="440541" y="5428298"/>
                  <a:pt x="610914" y="5428298"/>
                </a:cubicBezTo>
                <a:lnTo>
                  <a:pt x="2300069" y="5428298"/>
                </a:lnTo>
                <a:lnTo>
                  <a:pt x="3548682" y="5428298"/>
                </a:lnTo>
                <a:lnTo>
                  <a:pt x="5224463" y="5428298"/>
                </a:lnTo>
                <a:cubicBezTo>
                  <a:pt x="5395446" y="5428298"/>
                  <a:pt x="5539655" y="5283480"/>
                  <a:pt x="5539655" y="5113106"/>
                </a:cubicBezTo>
                <a:lnTo>
                  <a:pt x="5539655" y="1498702"/>
                </a:lnTo>
                <a:lnTo>
                  <a:pt x="5539655" y="1471927"/>
                </a:lnTo>
                <a:lnTo>
                  <a:pt x="5539655" y="1058161"/>
                </a:lnTo>
                <a:lnTo>
                  <a:pt x="5579202" y="1058161"/>
                </a:lnTo>
                <a:cubicBezTo>
                  <a:pt x="5717325" y="1058161"/>
                  <a:pt x="5828681" y="946204"/>
                  <a:pt x="5828681" y="808682"/>
                </a:cubicBezTo>
                <a:lnTo>
                  <a:pt x="5828681" y="250088"/>
                </a:lnTo>
                <a:cubicBezTo>
                  <a:pt x="5822604" y="111957"/>
                  <a:pt x="5717334" y="0"/>
                  <a:pt x="5579212" y="0"/>
                </a:cubicBezTo>
                <a:close/>
                <a:moveTo>
                  <a:pt x="2175339" y="5184905"/>
                </a:moveTo>
                <a:lnTo>
                  <a:pt x="611534" y="5184905"/>
                </a:lnTo>
                <a:cubicBezTo>
                  <a:pt x="571986" y="5184905"/>
                  <a:pt x="539125" y="5152044"/>
                  <a:pt x="539125" y="5112496"/>
                </a:cubicBezTo>
                <a:lnTo>
                  <a:pt x="539125" y="4337285"/>
                </a:lnTo>
                <a:lnTo>
                  <a:pt x="2175348" y="4337285"/>
                </a:lnTo>
                <a:lnTo>
                  <a:pt x="2175348" y="5184905"/>
                </a:lnTo>
                <a:lnTo>
                  <a:pt x="2175339" y="5184905"/>
                </a:lnTo>
                <a:close/>
                <a:moveTo>
                  <a:pt x="3423952" y="5184905"/>
                </a:moveTo>
                <a:lnTo>
                  <a:pt x="2418121" y="5184905"/>
                </a:lnTo>
                <a:lnTo>
                  <a:pt x="2418121" y="2983402"/>
                </a:lnTo>
                <a:cubicBezTo>
                  <a:pt x="2418121" y="2970019"/>
                  <a:pt x="2431504" y="2963932"/>
                  <a:pt x="2437590" y="2963932"/>
                </a:cubicBezTo>
                <a:lnTo>
                  <a:pt x="3397177" y="2963932"/>
                </a:lnTo>
                <a:cubicBezTo>
                  <a:pt x="3410560" y="2963932"/>
                  <a:pt x="3416646" y="2977315"/>
                  <a:pt x="3416646" y="2983402"/>
                </a:cubicBezTo>
                <a:lnTo>
                  <a:pt x="3416646" y="5184905"/>
                </a:lnTo>
                <a:lnTo>
                  <a:pt x="3423952" y="5184905"/>
                </a:lnTo>
                <a:close/>
                <a:moveTo>
                  <a:pt x="5290185" y="5113106"/>
                </a:moveTo>
                <a:cubicBezTo>
                  <a:pt x="5290185" y="5152654"/>
                  <a:pt x="5257324" y="5185515"/>
                  <a:pt x="5217776" y="5185515"/>
                </a:cubicBezTo>
                <a:lnTo>
                  <a:pt x="3666735" y="5185515"/>
                </a:lnTo>
                <a:lnTo>
                  <a:pt x="3666735" y="4416390"/>
                </a:lnTo>
                <a:lnTo>
                  <a:pt x="5296262" y="4416390"/>
                </a:lnTo>
                <a:lnTo>
                  <a:pt x="5296262" y="5113106"/>
                </a:lnTo>
                <a:lnTo>
                  <a:pt x="5290185" y="5113106"/>
                </a:lnTo>
                <a:close/>
                <a:moveTo>
                  <a:pt x="5290185" y="4172998"/>
                </a:moveTo>
                <a:lnTo>
                  <a:pt x="3666744" y="4172998"/>
                </a:lnTo>
                <a:lnTo>
                  <a:pt x="3666744" y="2983402"/>
                </a:lnTo>
                <a:cubicBezTo>
                  <a:pt x="3666744" y="2838584"/>
                  <a:pt x="3548701" y="2720531"/>
                  <a:pt x="3403883" y="2720531"/>
                </a:cubicBezTo>
                <a:lnTo>
                  <a:pt x="2438210" y="2720531"/>
                </a:lnTo>
                <a:cubicBezTo>
                  <a:pt x="2293392" y="2720531"/>
                  <a:pt x="2175339" y="2838574"/>
                  <a:pt x="2175339" y="2983402"/>
                </a:cubicBezTo>
                <a:lnTo>
                  <a:pt x="2175339" y="4094502"/>
                </a:lnTo>
                <a:lnTo>
                  <a:pt x="538515" y="4094502"/>
                </a:lnTo>
                <a:lnTo>
                  <a:pt x="538515" y="2149174"/>
                </a:lnTo>
                <a:cubicBezTo>
                  <a:pt x="538515" y="2149174"/>
                  <a:pt x="545211" y="2149174"/>
                  <a:pt x="545211" y="2155870"/>
                </a:cubicBezTo>
                <a:cubicBezTo>
                  <a:pt x="558594" y="2169252"/>
                  <a:pt x="578072" y="2175339"/>
                  <a:pt x="597541" y="2182035"/>
                </a:cubicBezTo>
                <a:cubicBezTo>
                  <a:pt x="604237" y="2182035"/>
                  <a:pt x="610924" y="2188731"/>
                  <a:pt x="610924" y="2188731"/>
                </a:cubicBezTo>
                <a:cubicBezTo>
                  <a:pt x="630393" y="2195427"/>
                  <a:pt x="650472" y="2208200"/>
                  <a:pt x="676637" y="2214896"/>
                </a:cubicBezTo>
                <a:lnTo>
                  <a:pt x="683333" y="2214896"/>
                </a:lnTo>
                <a:cubicBezTo>
                  <a:pt x="702802" y="2221592"/>
                  <a:pt x="722881" y="2228279"/>
                  <a:pt x="742360" y="2228279"/>
                </a:cubicBezTo>
                <a:cubicBezTo>
                  <a:pt x="749056" y="2228279"/>
                  <a:pt x="755742" y="2228279"/>
                  <a:pt x="761829" y="2228279"/>
                </a:cubicBezTo>
                <a:cubicBezTo>
                  <a:pt x="787994" y="2228279"/>
                  <a:pt x="808072" y="2234975"/>
                  <a:pt x="834238" y="2234975"/>
                </a:cubicBezTo>
                <a:cubicBezTo>
                  <a:pt x="853707" y="2234975"/>
                  <a:pt x="873785" y="2234975"/>
                  <a:pt x="893264" y="2228279"/>
                </a:cubicBezTo>
                <a:cubicBezTo>
                  <a:pt x="1038082" y="2214896"/>
                  <a:pt x="1162822" y="2143087"/>
                  <a:pt x="1248013" y="2037826"/>
                </a:cubicBezTo>
                <a:cubicBezTo>
                  <a:pt x="1333205" y="2143097"/>
                  <a:pt x="1458554" y="2215506"/>
                  <a:pt x="1602762" y="2228279"/>
                </a:cubicBezTo>
                <a:cubicBezTo>
                  <a:pt x="1622231" y="2228279"/>
                  <a:pt x="1642310" y="2234975"/>
                  <a:pt x="1661789" y="2234975"/>
                </a:cubicBezTo>
                <a:cubicBezTo>
                  <a:pt x="1681267" y="2234975"/>
                  <a:pt x="1701336" y="2234975"/>
                  <a:pt x="1720815" y="2228279"/>
                </a:cubicBezTo>
                <a:cubicBezTo>
                  <a:pt x="1865633" y="2214896"/>
                  <a:pt x="1990373" y="2143087"/>
                  <a:pt x="2075564" y="2037826"/>
                </a:cubicBezTo>
                <a:cubicBezTo>
                  <a:pt x="2160756" y="2143097"/>
                  <a:pt x="2286105" y="2215506"/>
                  <a:pt x="2430313" y="2228279"/>
                </a:cubicBezTo>
                <a:cubicBezTo>
                  <a:pt x="2449783" y="2228279"/>
                  <a:pt x="2469861" y="2234975"/>
                  <a:pt x="2489340" y="2234975"/>
                </a:cubicBezTo>
                <a:cubicBezTo>
                  <a:pt x="2508809" y="2234975"/>
                  <a:pt x="2528888" y="2234975"/>
                  <a:pt x="2548366" y="2228279"/>
                </a:cubicBezTo>
                <a:cubicBezTo>
                  <a:pt x="2693184" y="2214896"/>
                  <a:pt x="2817924" y="2143087"/>
                  <a:pt x="2903115" y="2037826"/>
                </a:cubicBezTo>
                <a:cubicBezTo>
                  <a:pt x="2988307" y="2143097"/>
                  <a:pt x="3113656" y="2215506"/>
                  <a:pt x="3257864" y="2228279"/>
                </a:cubicBezTo>
                <a:cubicBezTo>
                  <a:pt x="3277334" y="2228279"/>
                  <a:pt x="3297412" y="2234975"/>
                  <a:pt x="3316891" y="2234975"/>
                </a:cubicBezTo>
                <a:cubicBezTo>
                  <a:pt x="3336369" y="2234975"/>
                  <a:pt x="3356439" y="2234975"/>
                  <a:pt x="3375917" y="2228279"/>
                </a:cubicBezTo>
                <a:cubicBezTo>
                  <a:pt x="3520736" y="2214896"/>
                  <a:pt x="3645475" y="2143087"/>
                  <a:pt x="3730666" y="2037826"/>
                </a:cubicBezTo>
                <a:cubicBezTo>
                  <a:pt x="3815858" y="2143097"/>
                  <a:pt x="3941207" y="2215506"/>
                  <a:pt x="4085416" y="2228279"/>
                </a:cubicBezTo>
                <a:cubicBezTo>
                  <a:pt x="4104885" y="2228279"/>
                  <a:pt x="4124963" y="2234975"/>
                  <a:pt x="4144442" y="2234975"/>
                </a:cubicBezTo>
                <a:cubicBezTo>
                  <a:pt x="4163911" y="2234975"/>
                  <a:pt x="4183990" y="2234975"/>
                  <a:pt x="4203468" y="2228279"/>
                </a:cubicBezTo>
                <a:cubicBezTo>
                  <a:pt x="4348287" y="2214896"/>
                  <a:pt x="4473026" y="2143087"/>
                  <a:pt x="4558218" y="2037826"/>
                </a:cubicBezTo>
                <a:cubicBezTo>
                  <a:pt x="4643409" y="2143097"/>
                  <a:pt x="4768758" y="2215506"/>
                  <a:pt x="4912967" y="2228279"/>
                </a:cubicBezTo>
                <a:cubicBezTo>
                  <a:pt x="4932436" y="2228279"/>
                  <a:pt x="4952514" y="2234975"/>
                  <a:pt x="4971993" y="2234975"/>
                </a:cubicBezTo>
                <a:cubicBezTo>
                  <a:pt x="4998159" y="2234975"/>
                  <a:pt x="5024323" y="2234975"/>
                  <a:pt x="5044402" y="2228279"/>
                </a:cubicBezTo>
                <a:cubicBezTo>
                  <a:pt x="5051098" y="2228279"/>
                  <a:pt x="5057785" y="2228279"/>
                  <a:pt x="5063871" y="2228279"/>
                </a:cubicBezTo>
                <a:cubicBezTo>
                  <a:pt x="5090037" y="2221583"/>
                  <a:pt x="5110115" y="2221583"/>
                  <a:pt x="5136280" y="2208810"/>
                </a:cubicBezTo>
                <a:lnTo>
                  <a:pt x="5142976" y="2208810"/>
                </a:lnTo>
                <a:cubicBezTo>
                  <a:pt x="5162446" y="2202113"/>
                  <a:pt x="5182524" y="2195427"/>
                  <a:pt x="5202003" y="2182644"/>
                </a:cubicBezTo>
                <a:cubicBezTo>
                  <a:pt x="5208699" y="2182644"/>
                  <a:pt x="5208699" y="2175948"/>
                  <a:pt x="5215385" y="2175948"/>
                </a:cubicBezTo>
                <a:cubicBezTo>
                  <a:pt x="5234855" y="2162566"/>
                  <a:pt x="5254933" y="2156479"/>
                  <a:pt x="5274412" y="2143087"/>
                </a:cubicBezTo>
                <a:lnTo>
                  <a:pt x="5274412" y="2143087"/>
                </a:lnTo>
                <a:lnTo>
                  <a:pt x="5274412" y="4173607"/>
                </a:lnTo>
                <a:lnTo>
                  <a:pt x="5290233" y="4173607"/>
                </a:lnTo>
                <a:lnTo>
                  <a:pt x="5290233" y="4172998"/>
                </a:lnTo>
                <a:close/>
                <a:moveTo>
                  <a:pt x="538515" y="1695850"/>
                </a:moveTo>
                <a:lnTo>
                  <a:pt x="538515" y="1064847"/>
                </a:lnTo>
                <a:lnTo>
                  <a:pt x="1123274" y="1064847"/>
                </a:lnTo>
                <a:lnTo>
                  <a:pt x="1123274" y="1695850"/>
                </a:lnTo>
                <a:cubicBezTo>
                  <a:pt x="1123274" y="1813893"/>
                  <a:pt x="1050865" y="1919164"/>
                  <a:pt x="945594" y="1965408"/>
                </a:cubicBezTo>
                <a:cubicBezTo>
                  <a:pt x="912733" y="1978790"/>
                  <a:pt x="873185" y="1991573"/>
                  <a:pt x="833628" y="1991573"/>
                </a:cubicBezTo>
                <a:cubicBezTo>
                  <a:pt x="794080" y="1991573"/>
                  <a:pt x="754523" y="1984877"/>
                  <a:pt x="721662" y="1965408"/>
                </a:cubicBezTo>
                <a:cubicBezTo>
                  <a:pt x="610924" y="1925860"/>
                  <a:pt x="538515" y="1820590"/>
                  <a:pt x="538515" y="1695850"/>
                </a:cubicBezTo>
                <a:close/>
                <a:moveTo>
                  <a:pt x="1366657" y="1695850"/>
                </a:moveTo>
                <a:lnTo>
                  <a:pt x="1366657" y="1064847"/>
                </a:lnTo>
                <a:lnTo>
                  <a:pt x="1951415" y="1064847"/>
                </a:lnTo>
                <a:lnTo>
                  <a:pt x="1951415" y="1695850"/>
                </a:lnTo>
                <a:cubicBezTo>
                  <a:pt x="1951415" y="1813893"/>
                  <a:pt x="1879006" y="1919164"/>
                  <a:pt x="1773736" y="1965408"/>
                </a:cubicBezTo>
                <a:cubicBezTo>
                  <a:pt x="1740875" y="1978790"/>
                  <a:pt x="1701327" y="1991573"/>
                  <a:pt x="1661770" y="1991573"/>
                </a:cubicBezTo>
                <a:cubicBezTo>
                  <a:pt x="1622212" y="1991573"/>
                  <a:pt x="1582665" y="1984877"/>
                  <a:pt x="1549803" y="1965408"/>
                </a:cubicBezTo>
                <a:cubicBezTo>
                  <a:pt x="1439075" y="1925860"/>
                  <a:pt x="1366657" y="1820590"/>
                  <a:pt x="1366657" y="1695850"/>
                </a:cubicBezTo>
                <a:close/>
                <a:moveTo>
                  <a:pt x="2194808" y="1695850"/>
                </a:moveTo>
                <a:lnTo>
                  <a:pt x="2194808" y="1064847"/>
                </a:lnTo>
                <a:lnTo>
                  <a:pt x="2779567" y="1064847"/>
                </a:lnTo>
                <a:lnTo>
                  <a:pt x="2779567" y="1695850"/>
                </a:lnTo>
                <a:cubicBezTo>
                  <a:pt x="2779567" y="1813893"/>
                  <a:pt x="2707158" y="1919164"/>
                  <a:pt x="2601887" y="1965408"/>
                </a:cubicBezTo>
                <a:cubicBezTo>
                  <a:pt x="2569026" y="1978790"/>
                  <a:pt x="2529478" y="1991573"/>
                  <a:pt x="2489930" y="1991573"/>
                </a:cubicBezTo>
                <a:cubicBezTo>
                  <a:pt x="2450383" y="1991573"/>
                  <a:pt x="2410825" y="1984877"/>
                  <a:pt x="2377964" y="1965408"/>
                </a:cubicBezTo>
                <a:cubicBezTo>
                  <a:pt x="2273913" y="1925860"/>
                  <a:pt x="2194808" y="1820590"/>
                  <a:pt x="2194808" y="1695850"/>
                </a:cubicBezTo>
                <a:close/>
                <a:moveTo>
                  <a:pt x="3029655" y="1695850"/>
                </a:moveTo>
                <a:lnTo>
                  <a:pt x="3029655" y="1064847"/>
                </a:lnTo>
                <a:lnTo>
                  <a:pt x="3614414" y="1064847"/>
                </a:lnTo>
                <a:lnTo>
                  <a:pt x="3614414" y="1695850"/>
                </a:lnTo>
                <a:cubicBezTo>
                  <a:pt x="3614414" y="1813893"/>
                  <a:pt x="3542005" y="1919164"/>
                  <a:pt x="3436735" y="1965408"/>
                </a:cubicBezTo>
                <a:cubicBezTo>
                  <a:pt x="3403873" y="1978790"/>
                  <a:pt x="3364325" y="1991573"/>
                  <a:pt x="3324768" y="1991573"/>
                </a:cubicBezTo>
                <a:cubicBezTo>
                  <a:pt x="3285211" y="1991573"/>
                  <a:pt x="3245663" y="1984877"/>
                  <a:pt x="3212802" y="1965408"/>
                </a:cubicBezTo>
                <a:cubicBezTo>
                  <a:pt x="3101454" y="1925860"/>
                  <a:pt x="3029655" y="1820590"/>
                  <a:pt x="3029655" y="1695850"/>
                </a:cubicBezTo>
                <a:close/>
                <a:moveTo>
                  <a:pt x="3857196" y="1695850"/>
                </a:moveTo>
                <a:lnTo>
                  <a:pt x="3857196" y="1064847"/>
                </a:lnTo>
                <a:lnTo>
                  <a:pt x="4441955" y="1064847"/>
                </a:lnTo>
                <a:lnTo>
                  <a:pt x="4441955" y="1695850"/>
                </a:lnTo>
                <a:cubicBezTo>
                  <a:pt x="4441955" y="1813893"/>
                  <a:pt x="4369546" y="1919164"/>
                  <a:pt x="4264276" y="1965408"/>
                </a:cubicBezTo>
                <a:cubicBezTo>
                  <a:pt x="4231415" y="1978790"/>
                  <a:pt x="4191867" y="1991573"/>
                  <a:pt x="4152319" y="1991573"/>
                </a:cubicBezTo>
                <a:cubicBezTo>
                  <a:pt x="4112771" y="1991573"/>
                  <a:pt x="4073214" y="1984877"/>
                  <a:pt x="4040353" y="1965408"/>
                </a:cubicBezTo>
                <a:cubicBezTo>
                  <a:pt x="3936302" y="1925860"/>
                  <a:pt x="3857196" y="1820590"/>
                  <a:pt x="3857196" y="1695850"/>
                </a:cubicBezTo>
                <a:close/>
                <a:moveTo>
                  <a:pt x="4692034" y="1695850"/>
                </a:moveTo>
                <a:lnTo>
                  <a:pt x="4692034" y="1064847"/>
                </a:lnTo>
                <a:lnTo>
                  <a:pt x="5276793" y="1064847"/>
                </a:lnTo>
                <a:lnTo>
                  <a:pt x="5276793" y="1400127"/>
                </a:lnTo>
                <a:lnTo>
                  <a:pt x="5276793" y="1695850"/>
                </a:lnTo>
                <a:cubicBezTo>
                  <a:pt x="5276793" y="1813893"/>
                  <a:pt x="5204384" y="1919164"/>
                  <a:pt x="5099114" y="1965408"/>
                </a:cubicBezTo>
                <a:cubicBezTo>
                  <a:pt x="5066253" y="1978790"/>
                  <a:pt x="5026704" y="1991573"/>
                  <a:pt x="4987157" y="1991573"/>
                </a:cubicBezTo>
                <a:cubicBezTo>
                  <a:pt x="4947609" y="1991573"/>
                  <a:pt x="4908052" y="1984877"/>
                  <a:pt x="4875190" y="1965408"/>
                </a:cubicBezTo>
                <a:cubicBezTo>
                  <a:pt x="4764453" y="1925860"/>
                  <a:pt x="4692034" y="1820590"/>
                  <a:pt x="4692034" y="1695850"/>
                </a:cubicBezTo>
                <a:close/>
                <a:moveTo>
                  <a:pt x="5579212" y="808673"/>
                </a:moveTo>
                <a:cubicBezTo>
                  <a:pt x="5579212" y="814759"/>
                  <a:pt x="5579212" y="814759"/>
                  <a:pt x="5579212" y="808673"/>
                </a:cubicBezTo>
                <a:lnTo>
                  <a:pt x="249479" y="808673"/>
                </a:lnTo>
                <a:lnTo>
                  <a:pt x="256175" y="243392"/>
                </a:lnTo>
                <a:lnTo>
                  <a:pt x="5579212" y="250088"/>
                </a:lnTo>
                <a:lnTo>
                  <a:pt x="5579212" y="808673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89" name="Forma libre 428">
            <a:extLst>
              <a:ext uri="{FF2B5EF4-FFF2-40B4-BE49-F238E27FC236}">
                <a16:creationId xmlns:a16="http://schemas.microsoft.com/office/drawing/2014/main" xmlns="" id="{453E9F91-0202-3746-BAA5-31808BCA8703}"/>
              </a:ext>
            </a:extLst>
          </p:cNvPr>
          <p:cNvSpPr/>
          <p:nvPr/>
        </p:nvSpPr>
        <p:spPr>
          <a:xfrm>
            <a:off x="5700413" y="2733003"/>
            <a:ext cx="301339" cy="301339"/>
          </a:xfrm>
          <a:custGeom>
            <a:avLst/>
            <a:gdLst>
              <a:gd name="connsiteX0" fmla="*/ 2910247 w 5819790"/>
              <a:gd name="connsiteY0" fmla="*/ 5827550 h 5819790"/>
              <a:gd name="connsiteX1" fmla="*/ 0 w 5819790"/>
              <a:gd name="connsiteY1" fmla="*/ 2910247 h 5819790"/>
              <a:gd name="connsiteX2" fmla="*/ 2910247 w 5819790"/>
              <a:gd name="connsiteY2" fmla="*/ 0 h 5819790"/>
              <a:gd name="connsiteX3" fmla="*/ 5820495 w 5819790"/>
              <a:gd name="connsiteY3" fmla="*/ 2910247 h 5819790"/>
              <a:gd name="connsiteX4" fmla="*/ 2910247 w 5819790"/>
              <a:gd name="connsiteY4" fmla="*/ 5827550 h 5819790"/>
              <a:gd name="connsiteX5" fmla="*/ 2910247 w 5819790"/>
              <a:gd name="connsiteY5" fmla="*/ 281433 h 5819790"/>
              <a:gd name="connsiteX6" fmla="*/ 282136 w 5819790"/>
              <a:gd name="connsiteY6" fmla="*/ 2909544 h 5819790"/>
              <a:gd name="connsiteX7" fmla="*/ 2910247 w 5819790"/>
              <a:gd name="connsiteY7" fmla="*/ 5537655 h 5819790"/>
              <a:gd name="connsiteX8" fmla="*/ 5538358 w 5819790"/>
              <a:gd name="connsiteY8" fmla="*/ 2909544 h 5819790"/>
              <a:gd name="connsiteX9" fmla="*/ 2910247 w 5819790"/>
              <a:gd name="connsiteY9" fmla="*/ 281433 h 5819790"/>
              <a:gd name="connsiteX10" fmla="*/ 3672022 w 5819790"/>
              <a:gd name="connsiteY10" fmla="*/ 3999299 h 5819790"/>
              <a:gd name="connsiteX11" fmla="*/ 2155529 w 5819790"/>
              <a:gd name="connsiteY11" fmla="*/ 3999299 h 5819790"/>
              <a:gd name="connsiteX12" fmla="*/ 1850817 w 5819790"/>
              <a:gd name="connsiteY12" fmla="*/ 3694588 h 5819790"/>
              <a:gd name="connsiteX13" fmla="*/ 1850817 w 5819790"/>
              <a:gd name="connsiteY13" fmla="*/ 2178808 h 5819790"/>
              <a:gd name="connsiteX14" fmla="*/ 2155529 w 5819790"/>
              <a:gd name="connsiteY14" fmla="*/ 1874096 h 5819790"/>
              <a:gd name="connsiteX15" fmla="*/ 3671309 w 5819790"/>
              <a:gd name="connsiteY15" fmla="*/ 1874096 h 5819790"/>
              <a:gd name="connsiteX16" fmla="*/ 3976020 w 5819790"/>
              <a:gd name="connsiteY16" fmla="*/ 2178808 h 5819790"/>
              <a:gd name="connsiteX17" fmla="*/ 3976020 w 5819790"/>
              <a:gd name="connsiteY17" fmla="*/ 3694588 h 5819790"/>
              <a:gd name="connsiteX18" fmla="*/ 3672022 w 5819790"/>
              <a:gd name="connsiteY18" fmla="*/ 3999299 h 5819790"/>
              <a:gd name="connsiteX19" fmla="*/ 2155529 w 5819790"/>
              <a:gd name="connsiteY19" fmla="*/ 2155529 h 5819790"/>
              <a:gd name="connsiteX20" fmla="*/ 2132953 w 5819790"/>
              <a:gd name="connsiteY20" fmla="*/ 2178104 h 5819790"/>
              <a:gd name="connsiteX21" fmla="*/ 2132953 w 5819790"/>
              <a:gd name="connsiteY21" fmla="*/ 3693884 h 5819790"/>
              <a:gd name="connsiteX22" fmla="*/ 2155529 w 5819790"/>
              <a:gd name="connsiteY22" fmla="*/ 3716459 h 5819790"/>
              <a:gd name="connsiteX23" fmla="*/ 3671309 w 5819790"/>
              <a:gd name="connsiteY23" fmla="*/ 3716459 h 5819790"/>
              <a:gd name="connsiteX24" fmla="*/ 3693884 w 5819790"/>
              <a:gd name="connsiteY24" fmla="*/ 3693884 h 5819790"/>
              <a:gd name="connsiteX25" fmla="*/ 3693884 w 5819790"/>
              <a:gd name="connsiteY25" fmla="*/ 2178808 h 5819790"/>
              <a:gd name="connsiteX26" fmla="*/ 3671309 w 5819790"/>
              <a:gd name="connsiteY26" fmla="*/ 2156233 h 5819790"/>
              <a:gd name="connsiteX27" fmla="*/ 2155529 w 5819790"/>
              <a:gd name="connsiteY27" fmla="*/ 2156233 h 5819790"/>
              <a:gd name="connsiteX28" fmla="*/ 2155529 w 5819790"/>
              <a:gd name="connsiteY28" fmla="*/ 2155529 h 5819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819790" h="5819790">
                <a:moveTo>
                  <a:pt x="2910247" y="5827550"/>
                </a:moveTo>
                <a:cubicBezTo>
                  <a:pt x="1310528" y="5827550"/>
                  <a:pt x="0" y="4517023"/>
                  <a:pt x="0" y="2910247"/>
                </a:cubicBezTo>
                <a:cubicBezTo>
                  <a:pt x="0" y="1303471"/>
                  <a:pt x="1302768" y="0"/>
                  <a:pt x="2910247" y="0"/>
                </a:cubicBezTo>
                <a:cubicBezTo>
                  <a:pt x="4517727" y="0"/>
                  <a:pt x="5820495" y="1302768"/>
                  <a:pt x="5820495" y="2910247"/>
                </a:cubicBezTo>
                <a:cubicBezTo>
                  <a:pt x="5820495" y="4517727"/>
                  <a:pt x="4517023" y="5827550"/>
                  <a:pt x="2910247" y="5827550"/>
                </a:cubicBezTo>
                <a:close/>
                <a:moveTo>
                  <a:pt x="2910247" y="281433"/>
                </a:moveTo>
                <a:cubicBezTo>
                  <a:pt x="1462879" y="281433"/>
                  <a:pt x="282136" y="1462175"/>
                  <a:pt x="282136" y="2909544"/>
                </a:cubicBezTo>
                <a:cubicBezTo>
                  <a:pt x="282136" y="4356912"/>
                  <a:pt x="1462879" y="5537655"/>
                  <a:pt x="2910247" y="5537655"/>
                </a:cubicBezTo>
                <a:cubicBezTo>
                  <a:pt x="4357616" y="5537655"/>
                  <a:pt x="5538358" y="4356912"/>
                  <a:pt x="5538358" y="2909544"/>
                </a:cubicBezTo>
                <a:cubicBezTo>
                  <a:pt x="5538358" y="1462175"/>
                  <a:pt x="4364662" y="281433"/>
                  <a:pt x="2910247" y="281433"/>
                </a:cubicBezTo>
                <a:close/>
                <a:moveTo>
                  <a:pt x="3672022" y="3999299"/>
                </a:moveTo>
                <a:lnTo>
                  <a:pt x="2155529" y="3999299"/>
                </a:lnTo>
                <a:cubicBezTo>
                  <a:pt x="1987658" y="3999299"/>
                  <a:pt x="1850817" y="3862458"/>
                  <a:pt x="1850817" y="3694588"/>
                </a:cubicBezTo>
                <a:lnTo>
                  <a:pt x="1850817" y="2178808"/>
                </a:lnTo>
                <a:cubicBezTo>
                  <a:pt x="1850817" y="2010937"/>
                  <a:pt x="1987658" y="1874096"/>
                  <a:pt x="2155529" y="1874096"/>
                </a:cubicBezTo>
                <a:lnTo>
                  <a:pt x="3671309" y="1874096"/>
                </a:lnTo>
                <a:cubicBezTo>
                  <a:pt x="3839179" y="1874096"/>
                  <a:pt x="3976020" y="2010937"/>
                  <a:pt x="3976020" y="2178808"/>
                </a:cubicBezTo>
                <a:lnTo>
                  <a:pt x="3976020" y="3694588"/>
                </a:lnTo>
                <a:cubicBezTo>
                  <a:pt x="3976724" y="3861755"/>
                  <a:pt x="3839188" y="3999299"/>
                  <a:pt x="3672022" y="3999299"/>
                </a:cubicBezTo>
                <a:close/>
                <a:moveTo>
                  <a:pt x="2155529" y="2155529"/>
                </a:moveTo>
                <a:cubicBezTo>
                  <a:pt x="2140009" y="2155529"/>
                  <a:pt x="2132953" y="2163289"/>
                  <a:pt x="2132953" y="2178104"/>
                </a:cubicBezTo>
                <a:lnTo>
                  <a:pt x="2132953" y="3693884"/>
                </a:lnTo>
                <a:cubicBezTo>
                  <a:pt x="2132953" y="3709403"/>
                  <a:pt x="2140713" y="3716459"/>
                  <a:pt x="2155529" y="3716459"/>
                </a:cubicBezTo>
                <a:lnTo>
                  <a:pt x="3671309" y="3716459"/>
                </a:lnTo>
                <a:cubicBezTo>
                  <a:pt x="3686828" y="3716459"/>
                  <a:pt x="3693884" y="3708700"/>
                  <a:pt x="3693884" y="3693884"/>
                </a:cubicBezTo>
                <a:lnTo>
                  <a:pt x="3693884" y="2178808"/>
                </a:lnTo>
                <a:cubicBezTo>
                  <a:pt x="3693884" y="2163289"/>
                  <a:pt x="3686124" y="2156233"/>
                  <a:pt x="3671309" y="2156233"/>
                </a:cubicBezTo>
                <a:lnTo>
                  <a:pt x="2155529" y="2156233"/>
                </a:lnTo>
                <a:lnTo>
                  <a:pt x="2155529" y="2155529"/>
                </a:lnTo>
                <a:close/>
              </a:path>
            </a:pathLst>
          </a:custGeom>
          <a:solidFill>
            <a:schemeClr val="bg1"/>
          </a:solidFill>
          <a:ln w="950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0" name="Forma libre 430">
            <a:extLst>
              <a:ext uri="{FF2B5EF4-FFF2-40B4-BE49-F238E27FC236}">
                <a16:creationId xmlns:a16="http://schemas.microsoft.com/office/drawing/2014/main" xmlns="" id="{2C42D341-0C34-A546-94C2-8B77A84EF819}"/>
              </a:ext>
            </a:extLst>
          </p:cNvPr>
          <p:cNvSpPr/>
          <p:nvPr/>
        </p:nvSpPr>
        <p:spPr>
          <a:xfrm>
            <a:off x="1271348" y="2051711"/>
            <a:ext cx="301338" cy="259417"/>
          </a:xfrm>
          <a:custGeom>
            <a:avLst/>
            <a:gdLst>
              <a:gd name="connsiteX0" fmla="*/ 5694531 w 5819775"/>
              <a:gd name="connsiteY0" fmla="*/ 1985629 h 5010150"/>
              <a:gd name="connsiteX1" fmla="*/ 4662783 w 5819775"/>
              <a:gd name="connsiteY1" fmla="*/ 1985629 h 5010150"/>
              <a:gd name="connsiteX2" fmla="*/ 4535862 w 5819775"/>
              <a:gd name="connsiteY2" fmla="*/ 2112550 h 5010150"/>
              <a:gd name="connsiteX3" fmla="*/ 4535862 w 5819775"/>
              <a:gd name="connsiteY3" fmla="*/ 4797562 h 5010150"/>
              <a:gd name="connsiteX4" fmla="*/ 4090978 w 5819775"/>
              <a:gd name="connsiteY4" fmla="*/ 4797562 h 5010150"/>
              <a:gd name="connsiteX5" fmla="*/ 4090978 w 5819775"/>
              <a:gd name="connsiteY5" fmla="*/ 664054 h 5010150"/>
              <a:gd name="connsiteX6" fmla="*/ 3964058 w 5819775"/>
              <a:gd name="connsiteY6" fmla="*/ 537134 h 5010150"/>
              <a:gd name="connsiteX7" fmla="*/ 2925118 w 5819775"/>
              <a:gd name="connsiteY7" fmla="*/ 537134 h 5010150"/>
              <a:gd name="connsiteX8" fmla="*/ 2798197 w 5819775"/>
              <a:gd name="connsiteY8" fmla="*/ 664054 h 5010150"/>
              <a:gd name="connsiteX9" fmla="*/ 2798197 w 5819775"/>
              <a:gd name="connsiteY9" fmla="*/ 4804762 h 5010150"/>
              <a:gd name="connsiteX10" fmla="*/ 2353313 w 5819775"/>
              <a:gd name="connsiteY10" fmla="*/ 4804762 h 5010150"/>
              <a:gd name="connsiteX11" fmla="*/ 2353313 w 5819775"/>
              <a:gd name="connsiteY11" fmla="*/ 2805389 h 5010150"/>
              <a:gd name="connsiteX12" fmla="*/ 2226393 w 5819775"/>
              <a:gd name="connsiteY12" fmla="*/ 2678468 h 5010150"/>
              <a:gd name="connsiteX13" fmla="*/ 1186796 w 5819775"/>
              <a:gd name="connsiteY13" fmla="*/ 2678468 h 5010150"/>
              <a:gd name="connsiteX14" fmla="*/ 1059875 w 5819775"/>
              <a:gd name="connsiteY14" fmla="*/ 2805389 h 5010150"/>
              <a:gd name="connsiteX15" fmla="*/ 1059875 w 5819775"/>
              <a:gd name="connsiteY15" fmla="*/ 4804762 h 5010150"/>
              <a:gd name="connsiteX16" fmla="*/ 791632 w 5819775"/>
              <a:gd name="connsiteY16" fmla="*/ 4804762 h 5010150"/>
              <a:gd name="connsiteX17" fmla="*/ 777240 w 5819775"/>
              <a:gd name="connsiteY17" fmla="*/ 4804762 h 5010150"/>
              <a:gd name="connsiteX18" fmla="*/ 699383 w 5819775"/>
              <a:gd name="connsiteY18" fmla="*/ 4776626 h 5010150"/>
              <a:gd name="connsiteX19" fmla="*/ 656854 w 5819775"/>
              <a:gd name="connsiteY19" fmla="*/ 4635313 h 5010150"/>
              <a:gd name="connsiteX20" fmla="*/ 656854 w 5819775"/>
              <a:gd name="connsiteY20" fmla="*/ 126921 h 5010150"/>
              <a:gd name="connsiteX21" fmla="*/ 529933 w 5819775"/>
              <a:gd name="connsiteY21" fmla="*/ 0 h 5010150"/>
              <a:gd name="connsiteX22" fmla="*/ 126921 w 5819775"/>
              <a:gd name="connsiteY22" fmla="*/ 0 h 5010150"/>
              <a:gd name="connsiteX23" fmla="*/ 0 w 5819775"/>
              <a:gd name="connsiteY23" fmla="*/ 126921 h 5010150"/>
              <a:gd name="connsiteX24" fmla="*/ 126921 w 5819775"/>
              <a:gd name="connsiteY24" fmla="*/ 253841 h 5010150"/>
              <a:gd name="connsiteX25" fmla="*/ 402355 w 5819775"/>
              <a:gd name="connsiteY25" fmla="*/ 253841 h 5010150"/>
              <a:gd name="connsiteX26" fmla="*/ 402355 w 5819775"/>
              <a:gd name="connsiteY26" fmla="*/ 826961 h 5010150"/>
              <a:gd name="connsiteX27" fmla="*/ 126921 w 5819775"/>
              <a:gd name="connsiteY27" fmla="*/ 826961 h 5010150"/>
              <a:gd name="connsiteX28" fmla="*/ 0 w 5819775"/>
              <a:gd name="connsiteY28" fmla="*/ 953891 h 5010150"/>
              <a:gd name="connsiteX29" fmla="*/ 126921 w 5819775"/>
              <a:gd name="connsiteY29" fmla="*/ 1080811 h 5010150"/>
              <a:gd name="connsiteX30" fmla="*/ 402355 w 5819775"/>
              <a:gd name="connsiteY30" fmla="*/ 1080811 h 5010150"/>
              <a:gd name="connsiteX31" fmla="*/ 402355 w 5819775"/>
              <a:gd name="connsiteY31" fmla="*/ 1653273 h 5010150"/>
              <a:gd name="connsiteX32" fmla="*/ 126921 w 5819775"/>
              <a:gd name="connsiteY32" fmla="*/ 1653273 h 5010150"/>
              <a:gd name="connsiteX33" fmla="*/ 0 w 5819775"/>
              <a:gd name="connsiteY33" fmla="*/ 1780194 h 5010150"/>
              <a:gd name="connsiteX34" fmla="*/ 126921 w 5819775"/>
              <a:gd name="connsiteY34" fmla="*/ 1907115 h 5010150"/>
              <a:gd name="connsiteX35" fmla="*/ 402355 w 5819775"/>
              <a:gd name="connsiteY35" fmla="*/ 1907115 h 5010150"/>
              <a:gd name="connsiteX36" fmla="*/ 402355 w 5819775"/>
              <a:gd name="connsiteY36" fmla="*/ 2479577 h 5010150"/>
              <a:gd name="connsiteX37" fmla="*/ 126921 w 5819775"/>
              <a:gd name="connsiteY37" fmla="*/ 2479577 h 5010150"/>
              <a:gd name="connsiteX38" fmla="*/ 0 w 5819775"/>
              <a:gd name="connsiteY38" fmla="*/ 2606507 h 5010150"/>
              <a:gd name="connsiteX39" fmla="*/ 126921 w 5819775"/>
              <a:gd name="connsiteY39" fmla="*/ 2733427 h 5010150"/>
              <a:gd name="connsiteX40" fmla="*/ 402355 w 5819775"/>
              <a:gd name="connsiteY40" fmla="*/ 2733427 h 5010150"/>
              <a:gd name="connsiteX41" fmla="*/ 402355 w 5819775"/>
              <a:gd name="connsiteY41" fmla="*/ 3306547 h 5010150"/>
              <a:gd name="connsiteX42" fmla="*/ 126921 w 5819775"/>
              <a:gd name="connsiteY42" fmla="*/ 3306547 h 5010150"/>
              <a:gd name="connsiteX43" fmla="*/ 0 w 5819775"/>
              <a:gd name="connsiteY43" fmla="*/ 3433467 h 5010150"/>
              <a:gd name="connsiteX44" fmla="*/ 126921 w 5819775"/>
              <a:gd name="connsiteY44" fmla="*/ 3560388 h 5010150"/>
              <a:gd name="connsiteX45" fmla="*/ 402355 w 5819775"/>
              <a:gd name="connsiteY45" fmla="*/ 3560388 h 5010150"/>
              <a:gd name="connsiteX46" fmla="*/ 402355 w 5819775"/>
              <a:gd name="connsiteY46" fmla="*/ 4132850 h 5010150"/>
              <a:gd name="connsiteX47" fmla="*/ 126921 w 5819775"/>
              <a:gd name="connsiteY47" fmla="*/ 4132850 h 5010150"/>
              <a:gd name="connsiteX48" fmla="*/ 0 w 5819775"/>
              <a:gd name="connsiteY48" fmla="*/ 4259771 h 5010150"/>
              <a:gd name="connsiteX49" fmla="*/ 126921 w 5819775"/>
              <a:gd name="connsiteY49" fmla="*/ 4386691 h 5010150"/>
              <a:gd name="connsiteX50" fmla="*/ 402355 w 5819775"/>
              <a:gd name="connsiteY50" fmla="*/ 4386691 h 5010150"/>
              <a:gd name="connsiteX51" fmla="*/ 402355 w 5819775"/>
              <a:gd name="connsiteY51" fmla="*/ 4584268 h 5010150"/>
              <a:gd name="connsiteX52" fmla="*/ 529276 w 5819775"/>
              <a:gd name="connsiteY52" fmla="*/ 4923168 h 5010150"/>
              <a:gd name="connsiteX53" fmla="*/ 776583 w 5819775"/>
              <a:gd name="connsiteY53" fmla="*/ 5014760 h 5010150"/>
              <a:gd name="connsiteX54" fmla="*/ 797519 w 5819775"/>
              <a:gd name="connsiteY54" fmla="*/ 5014760 h 5010150"/>
              <a:gd name="connsiteX55" fmla="*/ 1193340 w 5819775"/>
              <a:gd name="connsiteY55" fmla="*/ 5014760 h 5010150"/>
              <a:gd name="connsiteX56" fmla="*/ 2225078 w 5819775"/>
              <a:gd name="connsiteY56" fmla="*/ 5014760 h 5010150"/>
              <a:gd name="connsiteX57" fmla="*/ 2931662 w 5819775"/>
              <a:gd name="connsiteY57" fmla="*/ 5014760 h 5010150"/>
              <a:gd name="connsiteX58" fmla="*/ 3963400 w 5819775"/>
              <a:gd name="connsiteY58" fmla="*/ 5014760 h 5010150"/>
              <a:gd name="connsiteX59" fmla="*/ 4669984 w 5819775"/>
              <a:gd name="connsiteY59" fmla="*/ 5014760 h 5010150"/>
              <a:gd name="connsiteX60" fmla="*/ 5701723 w 5819775"/>
              <a:gd name="connsiteY60" fmla="*/ 5014760 h 5010150"/>
              <a:gd name="connsiteX61" fmla="*/ 5828643 w 5819775"/>
              <a:gd name="connsiteY61" fmla="*/ 4887840 h 5010150"/>
              <a:gd name="connsiteX62" fmla="*/ 5828643 w 5819775"/>
              <a:gd name="connsiteY62" fmla="*/ 2119751 h 5010150"/>
              <a:gd name="connsiteX63" fmla="*/ 5694531 w 5819775"/>
              <a:gd name="connsiteY63" fmla="*/ 1985629 h 5010150"/>
              <a:gd name="connsiteX64" fmla="*/ 1320918 w 5819775"/>
              <a:gd name="connsiteY64" fmla="*/ 4804762 h 5010150"/>
              <a:gd name="connsiteX65" fmla="*/ 1320918 w 5819775"/>
              <a:gd name="connsiteY65" fmla="*/ 2932319 h 5010150"/>
              <a:gd name="connsiteX66" fmla="*/ 2090957 w 5819775"/>
              <a:gd name="connsiteY66" fmla="*/ 2932319 h 5010150"/>
              <a:gd name="connsiteX67" fmla="*/ 2090957 w 5819775"/>
              <a:gd name="connsiteY67" fmla="*/ 4797562 h 5010150"/>
              <a:gd name="connsiteX68" fmla="*/ 1320918 w 5819775"/>
              <a:gd name="connsiteY68" fmla="*/ 4797562 h 5010150"/>
              <a:gd name="connsiteX69" fmla="*/ 1320918 w 5819775"/>
              <a:gd name="connsiteY69" fmla="*/ 4804762 h 5010150"/>
              <a:gd name="connsiteX70" fmla="*/ 3059240 w 5819775"/>
              <a:gd name="connsiteY70" fmla="*/ 4804762 h 5010150"/>
              <a:gd name="connsiteX71" fmla="*/ 3059240 w 5819775"/>
              <a:gd name="connsiteY71" fmla="*/ 791632 h 5010150"/>
              <a:gd name="connsiteX72" fmla="*/ 3829279 w 5819775"/>
              <a:gd name="connsiteY72" fmla="*/ 791632 h 5010150"/>
              <a:gd name="connsiteX73" fmla="*/ 3829279 w 5819775"/>
              <a:gd name="connsiteY73" fmla="*/ 4798209 h 5010150"/>
              <a:gd name="connsiteX74" fmla="*/ 3059240 w 5819775"/>
              <a:gd name="connsiteY74" fmla="*/ 4798209 h 5010150"/>
              <a:gd name="connsiteX75" fmla="*/ 3059240 w 5819775"/>
              <a:gd name="connsiteY75" fmla="*/ 4804762 h 5010150"/>
              <a:gd name="connsiteX76" fmla="*/ 4797562 w 5819775"/>
              <a:gd name="connsiteY76" fmla="*/ 4804762 h 5010150"/>
              <a:gd name="connsiteX77" fmla="*/ 4797562 w 5819775"/>
              <a:gd name="connsiteY77" fmla="*/ 2246671 h 5010150"/>
              <a:gd name="connsiteX78" fmla="*/ 5567601 w 5819775"/>
              <a:gd name="connsiteY78" fmla="*/ 2246671 h 5010150"/>
              <a:gd name="connsiteX79" fmla="*/ 5567601 w 5819775"/>
              <a:gd name="connsiteY79" fmla="*/ 4804762 h 5010150"/>
              <a:gd name="connsiteX80" fmla="*/ 4797562 w 5819775"/>
              <a:gd name="connsiteY80" fmla="*/ 4804762 h 501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5819775" h="5010150">
                <a:moveTo>
                  <a:pt x="5694531" y="1985629"/>
                </a:moveTo>
                <a:lnTo>
                  <a:pt x="4662783" y="1985629"/>
                </a:lnTo>
                <a:cubicBezTo>
                  <a:pt x="4592127" y="1985629"/>
                  <a:pt x="4535862" y="2041893"/>
                  <a:pt x="4535862" y="2112550"/>
                </a:cubicBezTo>
                <a:lnTo>
                  <a:pt x="4535862" y="4797562"/>
                </a:lnTo>
                <a:lnTo>
                  <a:pt x="4090978" y="4797562"/>
                </a:lnTo>
                <a:lnTo>
                  <a:pt x="4090978" y="664054"/>
                </a:lnTo>
                <a:cubicBezTo>
                  <a:pt x="4090978" y="593398"/>
                  <a:pt x="4034714" y="537134"/>
                  <a:pt x="3964058" y="537134"/>
                </a:cubicBezTo>
                <a:lnTo>
                  <a:pt x="2925118" y="537134"/>
                </a:lnTo>
                <a:cubicBezTo>
                  <a:pt x="2854462" y="537134"/>
                  <a:pt x="2798197" y="593398"/>
                  <a:pt x="2798197" y="664054"/>
                </a:cubicBezTo>
                <a:lnTo>
                  <a:pt x="2798197" y="4804762"/>
                </a:lnTo>
                <a:lnTo>
                  <a:pt x="2353313" y="4804762"/>
                </a:lnTo>
                <a:lnTo>
                  <a:pt x="2353313" y="2805389"/>
                </a:lnTo>
                <a:cubicBezTo>
                  <a:pt x="2353313" y="2734733"/>
                  <a:pt x="2297049" y="2678468"/>
                  <a:pt x="2226393" y="2678468"/>
                </a:cubicBezTo>
                <a:lnTo>
                  <a:pt x="1186796" y="2678468"/>
                </a:lnTo>
                <a:cubicBezTo>
                  <a:pt x="1116140" y="2678468"/>
                  <a:pt x="1059875" y="2734733"/>
                  <a:pt x="1059875" y="2805389"/>
                </a:cubicBezTo>
                <a:lnTo>
                  <a:pt x="1059875" y="4804762"/>
                </a:lnTo>
                <a:lnTo>
                  <a:pt x="791632" y="4804762"/>
                </a:lnTo>
                <a:cubicBezTo>
                  <a:pt x="784431" y="4804762"/>
                  <a:pt x="784431" y="4804762"/>
                  <a:pt x="777240" y="4804762"/>
                </a:cubicBezTo>
                <a:cubicBezTo>
                  <a:pt x="777240" y="4804762"/>
                  <a:pt x="727520" y="4804762"/>
                  <a:pt x="699383" y="4776626"/>
                </a:cubicBezTo>
                <a:cubicBezTo>
                  <a:pt x="664054" y="4748498"/>
                  <a:pt x="656854" y="4685034"/>
                  <a:pt x="656854" y="4635313"/>
                </a:cubicBezTo>
                <a:lnTo>
                  <a:pt x="656854" y="126921"/>
                </a:lnTo>
                <a:cubicBezTo>
                  <a:pt x="656854" y="56264"/>
                  <a:pt x="600589" y="0"/>
                  <a:pt x="529933" y="0"/>
                </a:cubicBezTo>
                <a:lnTo>
                  <a:pt x="126921" y="0"/>
                </a:lnTo>
                <a:cubicBezTo>
                  <a:pt x="56264" y="0"/>
                  <a:pt x="0" y="56264"/>
                  <a:pt x="0" y="126921"/>
                </a:cubicBezTo>
                <a:cubicBezTo>
                  <a:pt x="0" y="197577"/>
                  <a:pt x="56264" y="253841"/>
                  <a:pt x="126921" y="253841"/>
                </a:cubicBezTo>
                <a:lnTo>
                  <a:pt x="402355" y="253841"/>
                </a:lnTo>
                <a:lnTo>
                  <a:pt x="402355" y="826961"/>
                </a:lnTo>
                <a:lnTo>
                  <a:pt x="126921" y="826961"/>
                </a:lnTo>
                <a:cubicBezTo>
                  <a:pt x="56264" y="826961"/>
                  <a:pt x="0" y="883225"/>
                  <a:pt x="0" y="953891"/>
                </a:cubicBezTo>
                <a:cubicBezTo>
                  <a:pt x="0" y="1024547"/>
                  <a:pt x="56264" y="1080811"/>
                  <a:pt x="126921" y="1080811"/>
                </a:cubicBezTo>
                <a:lnTo>
                  <a:pt x="402355" y="1080811"/>
                </a:lnTo>
                <a:lnTo>
                  <a:pt x="402355" y="1653273"/>
                </a:lnTo>
                <a:lnTo>
                  <a:pt x="126921" y="1653273"/>
                </a:lnTo>
                <a:cubicBezTo>
                  <a:pt x="56264" y="1653273"/>
                  <a:pt x="0" y="1709538"/>
                  <a:pt x="0" y="1780194"/>
                </a:cubicBezTo>
                <a:cubicBezTo>
                  <a:pt x="0" y="1850850"/>
                  <a:pt x="56264" y="1907115"/>
                  <a:pt x="126921" y="1907115"/>
                </a:cubicBezTo>
                <a:lnTo>
                  <a:pt x="402355" y="1907115"/>
                </a:lnTo>
                <a:lnTo>
                  <a:pt x="402355" y="2479577"/>
                </a:lnTo>
                <a:lnTo>
                  <a:pt x="126921" y="2479577"/>
                </a:lnTo>
                <a:cubicBezTo>
                  <a:pt x="56264" y="2479577"/>
                  <a:pt x="0" y="2535841"/>
                  <a:pt x="0" y="2606507"/>
                </a:cubicBezTo>
                <a:cubicBezTo>
                  <a:pt x="0" y="2677163"/>
                  <a:pt x="56264" y="2733427"/>
                  <a:pt x="126921" y="2733427"/>
                </a:cubicBezTo>
                <a:lnTo>
                  <a:pt x="402355" y="2733427"/>
                </a:lnTo>
                <a:lnTo>
                  <a:pt x="402355" y="3306547"/>
                </a:lnTo>
                <a:lnTo>
                  <a:pt x="126921" y="3306547"/>
                </a:lnTo>
                <a:cubicBezTo>
                  <a:pt x="56264" y="3306547"/>
                  <a:pt x="0" y="3362811"/>
                  <a:pt x="0" y="3433467"/>
                </a:cubicBezTo>
                <a:cubicBezTo>
                  <a:pt x="0" y="3504124"/>
                  <a:pt x="56264" y="3560388"/>
                  <a:pt x="126921" y="3560388"/>
                </a:cubicBezTo>
                <a:lnTo>
                  <a:pt x="402355" y="3560388"/>
                </a:lnTo>
                <a:lnTo>
                  <a:pt x="402355" y="4132850"/>
                </a:lnTo>
                <a:lnTo>
                  <a:pt x="126921" y="4132850"/>
                </a:lnTo>
                <a:cubicBezTo>
                  <a:pt x="56264" y="4132850"/>
                  <a:pt x="0" y="4189114"/>
                  <a:pt x="0" y="4259771"/>
                </a:cubicBezTo>
                <a:cubicBezTo>
                  <a:pt x="0" y="4330427"/>
                  <a:pt x="56264" y="4386691"/>
                  <a:pt x="126921" y="4386691"/>
                </a:cubicBezTo>
                <a:lnTo>
                  <a:pt x="402355" y="4386691"/>
                </a:lnTo>
                <a:lnTo>
                  <a:pt x="402355" y="4584268"/>
                </a:lnTo>
                <a:cubicBezTo>
                  <a:pt x="402355" y="4732783"/>
                  <a:pt x="444884" y="4845968"/>
                  <a:pt x="529276" y="4923168"/>
                </a:cubicBezTo>
                <a:cubicBezTo>
                  <a:pt x="620868" y="5001025"/>
                  <a:pt x="726853" y="5014760"/>
                  <a:pt x="776583" y="5014760"/>
                </a:cubicBezTo>
                <a:cubicBezTo>
                  <a:pt x="783784" y="5014760"/>
                  <a:pt x="797519" y="5014760"/>
                  <a:pt x="797519" y="5014760"/>
                </a:cubicBezTo>
                <a:lnTo>
                  <a:pt x="1193340" y="5014760"/>
                </a:lnTo>
                <a:lnTo>
                  <a:pt x="2225078" y="5014760"/>
                </a:lnTo>
                <a:lnTo>
                  <a:pt x="2931662" y="5014760"/>
                </a:lnTo>
                <a:lnTo>
                  <a:pt x="3963400" y="5014760"/>
                </a:lnTo>
                <a:lnTo>
                  <a:pt x="4669984" y="5014760"/>
                </a:lnTo>
                <a:lnTo>
                  <a:pt x="5701723" y="5014760"/>
                </a:lnTo>
                <a:cubicBezTo>
                  <a:pt x="5772379" y="5014760"/>
                  <a:pt x="5828643" y="4958496"/>
                  <a:pt x="5828643" y="4887840"/>
                </a:cubicBezTo>
                <a:lnTo>
                  <a:pt x="5828643" y="2119751"/>
                </a:lnTo>
                <a:cubicBezTo>
                  <a:pt x="5822109" y="2041893"/>
                  <a:pt x="5765187" y="1985629"/>
                  <a:pt x="5694531" y="1985629"/>
                </a:cubicBezTo>
                <a:close/>
                <a:moveTo>
                  <a:pt x="1320918" y="4804762"/>
                </a:moveTo>
                <a:lnTo>
                  <a:pt x="1320918" y="2932319"/>
                </a:lnTo>
                <a:lnTo>
                  <a:pt x="2090957" y="2932319"/>
                </a:lnTo>
                <a:lnTo>
                  <a:pt x="2090957" y="4797562"/>
                </a:lnTo>
                <a:lnTo>
                  <a:pt x="1320918" y="4797562"/>
                </a:lnTo>
                <a:lnTo>
                  <a:pt x="1320918" y="4804762"/>
                </a:lnTo>
                <a:close/>
                <a:moveTo>
                  <a:pt x="3059240" y="4804762"/>
                </a:moveTo>
                <a:lnTo>
                  <a:pt x="3059240" y="791632"/>
                </a:lnTo>
                <a:lnTo>
                  <a:pt x="3829279" y="791632"/>
                </a:lnTo>
                <a:lnTo>
                  <a:pt x="3829279" y="4798209"/>
                </a:lnTo>
                <a:lnTo>
                  <a:pt x="3059240" y="4798209"/>
                </a:lnTo>
                <a:lnTo>
                  <a:pt x="3059240" y="4804762"/>
                </a:lnTo>
                <a:close/>
                <a:moveTo>
                  <a:pt x="4797562" y="4804762"/>
                </a:moveTo>
                <a:lnTo>
                  <a:pt x="4797562" y="2246671"/>
                </a:lnTo>
                <a:lnTo>
                  <a:pt x="5567601" y="2246671"/>
                </a:lnTo>
                <a:lnTo>
                  <a:pt x="5567601" y="4804762"/>
                </a:lnTo>
                <a:lnTo>
                  <a:pt x="4797562" y="4804762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1" name="Forma libre 432">
            <a:extLst>
              <a:ext uri="{FF2B5EF4-FFF2-40B4-BE49-F238E27FC236}">
                <a16:creationId xmlns:a16="http://schemas.microsoft.com/office/drawing/2014/main" xmlns="" id="{DBBFB989-36C8-B54C-965B-055DF5E0746A}"/>
              </a:ext>
            </a:extLst>
          </p:cNvPr>
          <p:cNvSpPr/>
          <p:nvPr/>
        </p:nvSpPr>
        <p:spPr>
          <a:xfrm>
            <a:off x="482275" y="2745593"/>
            <a:ext cx="301338" cy="241169"/>
          </a:xfrm>
          <a:custGeom>
            <a:avLst/>
            <a:gdLst>
              <a:gd name="connsiteX0" fmla="*/ 5293491 w 5819775"/>
              <a:gd name="connsiteY0" fmla="*/ 867346 h 4657725"/>
              <a:gd name="connsiteX1" fmla="*/ 4828166 w 5819775"/>
              <a:gd name="connsiteY1" fmla="*/ 867346 h 4657725"/>
              <a:gd name="connsiteX2" fmla="*/ 4158568 w 5819775"/>
              <a:gd name="connsiteY2" fmla="*/ 867346 h 4657725"/>
              <a:gd name="connsiteX3" fmla="*/ 3968649 w 5819775"/>
              <a:gd name="connsiteY3" fmla="*/ 867346 h 4657725"/>
              <a:gd name="connsiteX4" fmla="*/ 3968649 w 5819775"/>
              <a:gd name="connsiteY4" fmla="*/ 359597 h 4657725"/>
              <a:gd name="connsiteX5" fmla="*/ 3609051 w 5819775"/>
              <a:gd name="connsiteY5" fmla="*/ 0 h 4657725"/>
              <a:gd name="connsiteX6" fmla="*/ 2220906 w 5819775"/>
              <a:gd name="connsiteY6" fmla="*/ 0 h 4657725"/>
              <a:gd name="connsiteX7" fmla="*/ 1861309 w 5819775"/>
              <a:gd name="connsiteY7" fmla="*/ 359597 h 4657725"/>
              <a:gd name="connsiteX8" fmla="*/ 1861309 w 5819775"/>
              <a:gd name="connsiteY8" fmla="*/ 867346 h 4657725"/>
              <a:gd name="connsiteX9" fmla="*/ 1670742 w 5819775"/>
              <a:gd name="connsiteY9" fmla="*/ 867346 h 4657725"/>
              <a:gd name="connsiteX10" fmla="*/ 1001144 w 5819775"/>
              <a:gd name="connsiteY10" fmla="*/ 867346 h 4657725"/>
              <a:gd name="connsiteX11" fmla="*/ 535810 w 5819775"/>
              <a:gd name="connsiteY11" fmla="*/ 867346 h 4657725"/>
              <a:gd name="connsiteX12" fmla="*/ 0 w 5819775"/>
              <a:gd name="connsiteY12" fmla="*/ 1403156 h 4657725"/>
              <a:gd name="connsiteX13" fmla="*/ 0 w 5819775"/>
              <a:gd name="connsiteY13" fmla="*/ 4123325 h 4657725"/>
              <a:gd name="connsiteX14" fmla="*/ 535810 w 5819775"/>
              <a:gd name="connsiteY14" fmla="*/ 4659135 h 4657725"/>
              <a:gd name="connsiteX15" fmla="*/ 1001135 w 5819775"/>
              <a:gd name="connsiteY15" fmla="*/ 4659135 h 4657725"/>
              <a:gd name="connsiteX16" fmla="*/ 1670733 w 5819775"/>
              <a:gd name="connsiteY16" fmla="*/ 4659135 h 4657725"/>
              <a:gd name="connsiteX17" fmla="*/ 4158558 w 5819775"/>
              <a:gd name="connsiteY17" fmla="*/ 4659135 h 4657725"/>
              <a:gd name="connsiteX18" fmla="*/ 4828156 w 5819775"/>
              <a:gd name="connsiteY18" fmla="*/ 4659135 h 4657725"/>
              <a:gd name="connsiteX19" fmla="*/ 5293481 w 5819775"/>
              <a:gd name="connsiteY19" fmla="*/ 4659135 h 4657725"/>
              <a:gd name="connsiteX20" fmla="*/ 5829291 w 5819775"/>
              <a:gd name="connsiteY20" fmla="*/ 4123325 h 4657725"/>
              <a:gd name="connsiteX21" fmla="*/ 5829291 w 5819775"/>
              <a:gd name="connsiteY21" fmla="*/ 1395327 h 4657725"/>
              <a:gd name="connsiteX22" fmla="*/ 5293491 w 5819775"/>
              <a:gd name="connsiteY22" fmla="*/ 867346 h 4657725"/>
              <a:gd name="connsiteX23" fmla="*/ 874528 w 5819775"/>
              <a:gd name="connsiteY23" fmla="*/ 4398731 h 4657725"/>
              <a:gd name="connsiteX24" fmla="*/ 535810 w 5819775"/>
              <a:gd name="connsiteY24" fmla="*/ 4398731 h 4657725"/>
              <a:gd name="connsiteX25" fmla="*/ 261052 w 5819775"/>
              <a:gd name="connsiteY25" fmla="*/ 4123973 h 4657725"/>
              <a:gd name="connsiteX26" fmla="*/ 261052 w 5819775"/>
              <a:gd name="connsiteY26" fmla="*/ 1395975 h 4657725"/>
              <a:gd name="connsiteX27" fmla="*/ 535810 w 5819775"/>
              <a:gd name="connsiteY27" fmla="*/ 1121216 h 4657725"/>
              <a:gd name="connsiteX28" fmla="*/ 873871 w 5819775"/>
              <a:gd name="connsiteY28" fmla="*/ 1121216 h 4657725"/>
              <a:gd name="connsiteX29" fmla="*/ 873871 w 5819775"/>
              <a:gd name="connsiteY29" fmla="*/ 4398731 h 4657725"/>
              <a:gd name="connsiteX30" fmla="*/ 874528 w 5819775"/>
              <a:gd name="connsiteY30" fmla="*/ 4398731 h 4657725"/>
              <a:gd name="connsiteX31" fmla="*/ 1536944 w 5819775"/>
              <a:gd name="connsiteY31" fmla="*/ 4398731 h 4657725"/>
              <a:gd name="connsiteX32" fmla="*/ 1128398 w 5819775"/>
              <a:gd name="connsiteY32" fmla="*/ 4398731 h 4657725"/>
              <a:gd name="connsiteX33" fmla="*/ 1128398 w 5819775"/>
              <a:gd name="connsiteY33" fmla="*/ 1127751 h 4657725"/>
              <a:gd name="connsiteX34" fmla="*/ 1536944 w 5819775"/>
              <a:gd name="connsiteY34" fmla="*/ 1127751 h 4657725"/>
              <a:gd name="connsiteX35" fmla="*/ 1536944 w 5819775"/>
              <a:gd name="connsiteY35" fmla="*/ 4398731 h 4657725"/>
              <a:gd name="connsiteX36" fmla="*/ 2115179 w 5819775"/>
              <a:gd name="connsiteY36" fmla="*/ 359597 h 4657725"/>
              <a:gd name="connsiteX37" fmla="*/ 2213724 w 5819775"/>
              <a:gd name="connsiteY37" fmla="*/ 261052 h 4657725"/>
              <a:gd name="connsiteX38" fmla="*/ 3602526 w 5819775"/>
              <a:gd name="connsiteY38" fmla="*/ 261052 h 4657725"/>
              <a:gd name="connsiteX39" fmla="*/ 3701072 w 5819775"/>
              <a:gd name="connsiteY39" fmla="*/ 359597 h 4657725"/>
              <a:gd name="connsiteX40" fmla="*/ 3701072 w 5819775"/>
              <a:gd name="connsiteY40" fmla="*/ 867346 h 4657725"/>
              <a:gd name="connsiteX41" fmla="*/ 2115179 w 5819775"/>
              <a:gd name="connsiteY41" fmla="*/ 867346 h 4657725"/>
              <a:gd name="connsiteX42" fmla="*/ 2115179 w 5819775"/>
              <a:gd name="connsiteY42" fmla="*/ 359597 h 4657725"/>
              <a:gd name="connsiteX43" fmla="*/ 4024779 w 5819775"/>
              <a:gd name="connsiteY43" fmla="*/ 4398731 h 4657725"/>
              <a:gd name="connsiteX44" fmla="*/ 1797996 w 5819775"/>
              <a:gd name="connsiteY44" fmla="*/ 4398731 h 4657725"/>
              <a:gd name="connsiteX45" fmla="*/ 1797996 w 5819775"/>
              <a:gd name="connsiteY45" fmla="*/ 1127751 h 4657725"/>
              <a:gd name="connsiteX46" fmla="*/ 1988563 w 5819775"/>
              <a:gd name="connsiteY46" fmla="*/ 1127751 h 4657725"/>
              <a:gd name="connsiteX47" fmla="*/ 3835508 w 5819775"/>
              <a:gd name="connsiteY47" fmla="*/ 1127751 h 4657725"/>
              <a:gd name="connsiteX48" fmla="*/ 4026075 w 5819775"/>
              <a:gd name="connsiteY48" fmla="*/ 1127751 h 4657725"/>
              <a:gd name="connsiteX49" fmla="*/ 4026075 w 5819775"/>
              <a:gd name="connsiteY49" fmla="*/ 4398741 h 4657725"/>
              <a:gd name="connsiteX50" fmla="*/ 4024779 w 5819775"/>
              <a:gd name="connsiteY50" fmla="*/ 4398741 h 4657725"/>
              <a:gd name="connsiteX51" fmla="*/ 4694377 w 5819775"/>
              <a:gd name="connsiteY51" fmla="*/ 4398731 h 4657725"/>
              <a:gd name="connsiteX52" fmla="*/ 4285831 w 5819775"/>
              <a:gd name="connsiteY52" fmla="*/ 4398731 h 4657725"/>
              <a:gd name="connsiteX53" fmla="*/ 4285831 w 5819775"/>
              <a:gd name="connsiteY53" fmla="*/ 1127751 h 4657725"/>
              <a:gd name="connsiteX54" fmla="*/ 4694377 w 5819775"/>
              <a:gd name="connsiteY54" fmla="*/ 1127751 h 4657725"/>
              <a:gd name="connsiteX55" fmla="*/ 4694377 w 5819775"/>
              <a:gd name="connsiteY55" fmla="*/ 4398731 h 4657725"/>
              <a:gd name="connsiteX56" fmla="*/ 5561724 w 5819775"/>
              <a:gd name="connsiteY56" fmla="*/ 4123325 h 4657725"/>
              <a:gd name="connsiteX57" fmla="*/ 5286966 w 5819775"/>
              <a:gd name="connsiteY57" fmla="*/ 4398083 h 4657725"/>
              <a:gd name="connsiteX58" fmla="*/ 4955429 w 5819775"/>
              <a:gd name="connsiteY58" fmla="*/ 4398083 h 4657725"/>
              <a:gd name="connsiteX59" fmla="*/ 4955429 w 5819775"/>
              <a:gd name="connsiteY59" fmla="*/ 1127751 h 4657725"/>
              <a:gd name="connsiteX60" fmla="*/ 5293491 w 5819775"/>
              <a:gd name="connsiteY60" fmla="*/ 1127751 h 4657725"/>
              <a:gd name="connsiteX61" fmla="*/ 5568249 w 5819775"/>
              <a:gd name="connsiteY61" fmla="*/ 1402509 h 4657725"/>
              <a:gd name="connsiteX62" fmla="*/ 5568249 w 5819775"/>
              <a:gd name="connsiteY62" fmla="*/ 4123325 h 4657725"/>
              <a:gd name="connsiteX63" fmla="*/ 5561724 w 5819775"/>
              <a:gd name="connsiteY63" fmla="*/ 4123325 h 4657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819775" h="4657725">
                <a:moveTo>
                  <a:pt x="5293491" y="867346"/>
                </a:moveTo>
                <a:lnTo>
                  <a:pt x="4828166" y="867346"/>
                </a:lnTo>
                <a:lnTo>
                  <a:pt x="4158568" y="867346"/>
                </a:lnTo>
                <a:lnTo>
                  <a:pt x="3968649" y="867346"/>
                </a:lnTo>
                <a:lnTo>
                  <a:pt x="3968649" y="359597"/>
                </a:lnTo>
                <a:cubicBezTo>
                  <a:pt x="3968649" y="162506"/>
                  <a:pt x="3806800" y="0"/>
                  <a:pt x="3609051" y="0"/>
                </a:cubicBezTo>
                <a:lnTo>
                  <a:pt x="2220906" y="0"/>
                </a:lnTo>
                <a:cubicBezTo>
                  <a:pt x="2023815" y="0"/>
                  <a:pt x="1861309" y="161849"/>
                  <a:pt x="1861309" y="359597"/>
                </a:cubicBezTo>
                <a:lnTo>
                  <a:pt x="1861309" y="867346"/>
                </a:lnTo>
                <a:lnTo>
                  <a:pt x="1670742" y="867346"/>
                </a:lnTo>
                <a:lnTo>
                  <a:pt x="1001144" y="867346"/>
                </a:lnTo>
                <a:lnTo>
                  <a:pt x="535810" y="867346"/>
                </a:lnTo>
                <a:cubicBezTo>
                  <a:pt x="239516" y="867346"/>
                  <a:pt x="0" y="1106862"/>
                  <a:pt x="0" y="1403156"/>
                </a:cubicBezTo>
                <a:lnTo>
                  <a:pt x="0" y="4123325"/>
                </a:lnTo>
                <a:cubicBezTo>
                  <a:pt x="0" y="4419619"/>
                  <a:pt x="239516" y="4659135"/>
                  <a:pt x="535810" y="4659135"/>
                </a:cubicBezTo>
                <a:lnTo>
                  <a:pt x="1001135" y="4659135"/>
                </a:lnTo>
                <a:lnTo>
                  <a:pt x="1670733" y="4659135"/>
                </a:lnTo>
                <a:lnTo>
                  <a:pt x="4158558" y="4659135"/>
                </a:lnTo>
                <a:lnTo>
                  <a:pt x="4828156" y="4659135"/>
                </a:lnTo>
                <a:lnTo>
                  <a:pt x="5293481" y="4659135"/>
                </a:lnTo>
                <a:cubicBezTo>
                  <a:pt x="5589775" y="4659135"/>
                  <a:pt x="5829291" y="4419619"/>
                  <a:pt x="5829291" y="4123325"/>
                </a:cubicBezTo>
                <a:lnTo>
                  <a:pt x="5829291" y="1395327"/>
                </a:lnTo>
                <a:cubicBezTo>
                  <a:pt x="5822118" y="1106862"/>
                  <a:pt x="5582603" y="867346"/>
                  <a:pt x="5293491" y="867346"/>
                </a:cubicBezTo>
                <a:close/>
                <a:moveTo>
                  <a:pt x="874528" y="4398731"/>
                </a:moveTo>
                <a:lnTo>
                  <a:pt x="535810" y="4398731"/>
                </a:lnTo>
                <a:cubicBezTo>
                  <a:pt x="387658" y="4398731"/>
                  <a:pt x="261052" y="4278649"/>
                  <a:pt x="261052" y="4123973"/>
                </a:cubicBezTo>
                <a:lnTo>
                  <a:pt x="261052" y="1395975"/>
                </a:lnTo>
                <a:cubicBezTo>
                  <a:pt x="261052" y="1247823"/>
                  <a:pt x="381133" y="1121216"/>
                  <a:pt x="535810" y="1121216"/>
                </a:cubicBezTo>
                <a:lnTo>
                  <a:pt x="873871" y="1121216"/>
                </a:lnTo>
                <a:lnTo>
                  <a:pt x="873871" y="4398731"/>
                </a:lnTo>
                <a:lnTo>
                  <a:pt x="874528" y="4398731"/>
                </a:lnTo>
                <a:close/>
                <a:moveTo>
                  <a:pt x="1536944" y="4398731"/>
                </a:moveTo>
                <a:lnTo>
                  <a:pt x="1128398" y="4398731"/>
                </a:lnTo>
                <a:lnTo>
                  <a:pt x="1128398" y="1127751"/>
                </a:lnTo>
                <a:lnTo>
                  <a:pt x="1536944" y="1127751"/>
                </a:lnTo>
                <a:lnTo>
                  <a:pt x="1536944" y="4398731"/>
                </a:lnTo>
                <a:close/>
                <a:moveTo>
                  <a:pt x="2115179" y="359597"/>
                </a:moveTo>
                <a:cubicBezTo>
                  <a:pt x="2115179" y="303467"/>
                  <a:pt x="2157603" y="261052"/>
                  <a:pt x="2213724" y="261052"/>
                </a:cubicBezTo>
                <a:lnTo>
                  <a:pt x="3602526" y="261052"/>
                </a:lnTo>
                <a:cubicBezTo>
                  <a:pt x="3658657" y="261052"/>
                  <a:pt x="3701072" y="303476"/>
                  <a:pt x="3701072" y="359597"/>
                </a:cubicBezTo>
                <a:lnTo>
                  <a:pt x="3701072" y="867346"/>
                </a:lnTo>
                <a:lnTo>
                  <a:pt x="2115179" y="867346"/>
                </a:lnTo>
                <a:lnTo>
                  <a:pt x="2115179" y="359597"/>
                </a:lnTo>
                <a:close/>
                <a:moveTo>
                  <a:pt x="4024779" y="4398731"/>
                </a:moveTo>
                <a:lnTo>
                  <a:pt x="1797996" y="4398731"/>
                </a:lnTo>
                <a:lnTo>
                  <a:pt x="1797996" y="1127751"/>
                </a:lnTo>
                <a:lnTo>
                  <a:pt x="1988563" y="1127751"/>
                </a:lnTo>
                <a:lnTo>
                  <a:pt x="3835508" y="1127751"/>
                </a:lnTo>
                <a:lnTo>
                  <a:pt x="4026075" y="1127751"/>
                </a:lnTo>
                <a:lnTo>
                  <a:pt x="4026075" y="4398741"/>
                </a:lnTo>
                <a:lnTo>
                  <a:pt x="4024779" y="4398741"/>
                </a:lnTo>
                <a:close/>
                <a:moveTo>
                  <a:pt x="4694377" y="4398731"/>
                </a:moveTo>
                <a:lnTo>
                  <a:pt x="4285831" y="4398731"/>
                </a:lnTo>
                <a:lnTo>
                  <a:pt x="4285831" y="1127751"/>
                </a:lnTo>
                <a:lnTo>
                  <a:pt x="4694377" y="1127751"/>
                </a:lnTo>
                <a:lnTo>
                  <a:pt x="4694377" y="4398731"/>
                </a:lnTo>
                <a:close/>
                <a:moveTo>
                  <a:pt x="5561724" y="4123325"/>
                </a:moveTo>
                <a:cubicBezTo>
                  <a:pt x="5561724" y="4271477"/>
                  <a:pt x="5441643" y="4398083"/>
                  <a:pt x="5286966" y="4398083"/>
                </a:cubicBezTo>
                <a:lnTo>
                  <a:pt x="4955429" y="4398083"/>
                </a:lnTo>
                <a:lnTo>
                  <a:pt x="4955429" y="1127751"/>
                </a:lnTo>
                <a:lnTo>
                  <a:pt x="5293491" y="1127751"/>
                </a:lnTo>
                <a:cubicBezTo>
                  <a:pt x="5441643" y="1127751"/>
                  <a:pt x="5568249" y="1247832"/>
                  <a:pt x="5568249" y="1402509"/>
                </a:cubicBezTo>
                <a:lnTo>
                  <a:pt x="5568249" y="4123325"/>
                </a:lnTo>
                <a:lnTo>
                  <a:pt x="5561724" y="4123325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2" name="Forma libre 434">
            <a:extLst>
              <a:ext uri="{FF2B5EF4-FFF2-40B4-BE49-F238E27FC236}">
                <a16:creationId xmlns:a16="http://schemas.microsoft.com/office/drawing/2014/main" xmlns="" id="{09A1568C-42D1-FE40-A3CF-DE373EEE9AA9}"/>
              </a:ext>
            </a:extLst>
          </p:cNvPr>
          <p:cNvSpPr/>
          <p:nvPr/>
        </p:nvSpPr>
        <p:spPr>
          <a:xfrm>
            <a:off x="5709090" y="2048742"/>
            <a:ext cx="301338" cy="300845"/>
          </a:xfrm>
          <a:custGeom>
            <a:avLst/>
            <a:gdLst>
              <a:gd name="connsiteX0" fmla="*/ 5531520 w 5819775"/>
              <a:gd name="connsiteY0" fmla="*/ 0 h 5810250"/>
              <a:gd name="connsiteX1" fmla="*/ 3424628 w 5819775"/>
              <a:gd name="connsiteY1" fmla="*/ 0 h 5810250"/>
              <a:gd name="connsiteX2" fmla="*/ 3199791 w 5819775"/>
              <a:gd name="connsiteY2" fmla="*/ 120606 h 5810250"/>
              <a:gd name="connsiteX3" fmla="*/ 3263818 w 5819775"/>
              <a:gd name="connsiteY3" fmla="*/ 370008 h 5810250"/>
              <a:gd name="connsiteX4" fmla="*/ 3762623 w 5819775"/>
              <a:gd name="connsiteY4" fmla="*/ 884444 h 5810250"/>
              <a:gd name="connsiteX5" fmla="*/ 3545234 w 5819775"/>
              <a:gd name="connsiteY5" fmla="*/ 1101833 h 5810250"/>
              <a:gd name="connsiteX6" fmla="*/ 2934015 w 5819775"/>
              <a:gd name="connsiteY6" fmla="*/ 1713052 h 5810250"/>
              <a:gd name="connsiteX7" fmla="*/ 2925823 w 5819775"/>
              <a:gd name="connsiteY7" fmla="*/ 2227488 h 5810250"/>
              <a:gd name="connsiteX8" fmla="*/ 3432067 w 5819775"/>
              <a:gd name="connsiteY8" fmla="*/ 2741924 h 5810250"/>
              <a:gd name="connsiteX9" fmla="*/ 3584686 w 5819775"/>
              <a:gd name="connsiteY9" fmla="*/ 2886351 h 5810250"/>
              <a:gd name="connsiteX10" fmla="*/ 3673278 w 5819775"/>
              <a:gd name="connsiteY10" fmla="*/ 2966752 h 5810250"/>
              <a:gd name="connsiteX11" fmla="*/ 3857911 w 5819775"/>
              <a:gd name="connsiteY11" fmla="*/ 3030779 h 5810250"/>
              <a:gd name="connsiteX12" fmla="*/ 4035095 w 5819775"/>
              <a:gd name="connsiteY12" fmla="*/ 2966752 h 5810250"/>
              <a:gd name="connsiteX13" fmla="*/ 4131878 w 5819775"/>
              <a:gd name="connsiteY13" fmla="*/ 2878160 h 5810250"/>
              <a:gd name="connsiteX14" fmla="*/ 4952295 w 5819775"/>
              <a:gd name="connsiteY14" fmla="*/ 2057743 h 5810250"/>
              <a:gd name="connsiteX15" fmla="*/ 5451101 w 5819775"/>
              <a:gd name="connsiteY15" fmla="*/ 2548357 h 5810250"/>
              <a:gd name="connsiteX16" fmla="*/ 5635733 w 5819775"/>
              <a:gd name="connsiteY16" fmla="*/ 2628757 h 5810250"/>
              <a:gd name="connsiteX17" fmla="*/ 5828557 w 5819775"/>
              <a:gd name="connsiteY17" fmla="*/ 2387546 h 5810250"/>
              <a:gd name="connsiteX18" fmla="*/ 5828557 w 5819775"/>
              <a:gd name="connsiteY18" fmla="*/ 305981 h 5810250"/>
              <a:gd name="connsiteX19" fmla="*/ 5531520 w 5819775"/>
              <a:gd name="connsiteY19" fmla="*/ 0 h 5810250"/>
              <a:gd name="connsiteX20" fmla="*/ 5538959 w 5819775"/>
              <a:gd name="connsiteY20" fmla="*/ 2211115 h 5810250"/>
              <a:gd name="connsiteX21" fmla="*/ 5064729 w 5819775"/>
              <a:gd name="connsiteY21" fmla="*/ 1745066 h 5810250"/>
              <a:gd name="connsiteX22" fmla="*/ 4855531 w 5819775"/>
              <a:gd name="connsiteY22" fmla="*/ 1745066 h 5810250"/>
              <a:gd name="connsiteX23" fmla="*/ 4831709 w 5819775"/>
              <a:gd name="connsiteY23" fmla="*/ 1768888 h 5810250"/>
              <a:gd name="connsiteX24" fmla="*/ 4791504 w 5819775"/>
              <a:gd name="connsiteY24" fmla="*/ 1809093 h 5810250"/>
              <a:gd name="connsiteX25" fmla="*/ 3930882 w 5819775"/>
              <a:gd name="connsiteY25" fmla="*/ 2669715 h 5810250"/>
              <a:gd name="connsiteX26" fmla="*/ 3858663 w 5819775"/>
              <a:gd name="connsiteY26" fmla="*/ 2733742 h 5810250"/>
              <a:gd name="connsiteX27" fmla="*/ 3858663 w 5819775"/>
              <a:gd name="connsiteY27" fmla="*/ 2733742 h 5810250"/>
              <a:gd name="connsiteX28" fmla="*/ 3802085 w 5819775"/>
              <a:gd name="connsiteY28" fmla="*/ 2685355 h 5810250"/>
              <a:gd name="connsiteX29" fmla="*/ 3649466 w 5819775"/>
              <a:gd name="connsiteY29" fmla="*/ 2540918 h 5810250"/>
              <a:gd name="connsiteX30" fmla="*/ 3143222 w 5819775"/>
              <a:gd name="connsiteY30" fmla="*/ 2026482 h 5810250"/>
              <a:gd name="connsiteX31" fmla="*/ 3103016 w 5819775"/>
              <a:gd name="connsiteY31" fmla="*/ 1978095 h 5810250"/>
              <a:gd name="connsiteX32" fmla="*/ 3143222 w 5819775"/>
              <a:gd name="connsiteY32" fmla="*/ 1929708 h 5810250"/>
              <a:gd name="connsiteX33" fmla="*/ 3754441 w 5819775"/>
              <a:gd name="connsiteY33" fmla="*/ 1318489 h 5810250"/>
              <a:gd name="connsiteX34" fmla="*/ 4019474 w 5819775"/>
              <a:gd name="connsiteY34" fmla="*/ 1053456 h 5810250"/>
              <a:gd name="connsiteX35" fmla="*/ 4059679 w 5819775"/>
              <a:gd name="connsiteY35" fmla="*/ 1013250 h 5810250"/>
              <a:gd name="connsiteX36" fmla="*/ 4076062 w 5819775"/>
              <a:gd name="connsiteY36" fmla="*/ 996868 h 5810250"/>
              <a:gd name="connsiteX37" fmla="*/ 4076062 w 5819775"/>
              <a:gd name="connsiteY37" fmla="*/ 787670 h 5810250"/>
              <a:gd name="connsiteX38" fmla="*/ 3610013 w 5819775"/>
              <a:gd name="connsiteY38" fmla="*/ 305248 h 5810250"/>
              <a:gd name="connsiteX39" fmla="*/ 5531520 w 5819775"/>
              <a:gd name="connsiteY39" fmla="*/ 305248 h 5810250"/>
              <a:gd name="connsiteX40" fmla="*/ 5539712 w 5819775"/>
              <a:gd name="connsiteY40" fmla="*/ 305248 h 5810250"/>
              <a:gd name="connsiteX41" fmla="*/ 5539712 w 5819775"/>
              <a:gd name="connsiteY41" fmla="*/ 313439 h 5810250"/>
              <a:gd name="connsiteX42" fmla="*/ 5538959 w 5819775"/>
              <a:gd name="connsiteY42" fmla="*/ 2211115 h 5810250"/>
              <a:gd name="connsiteX43" fmla="*/ 5538959 w 5819775"/>
              <a:gd name="connsiteY43" fmla="*/ 2211115 h 5810250"/>
              <a:gd name="connsiteX44" fmla="*/ 2395757 w 5819775"/>
              <a:gd name="connsiteY44" fmla="*/ 3079928 h 5810250"/>
              <a:gd name="connsiteX45" fmla="*/ 2243138 w 5819775"/>
              <a:gd name="connsiteY45" fmla="*/ 2927309 h 5810250"/>
              <a:gd name="connsiteX46" fmla="*/ 2154546 w 5819775"/>
              <a:gd name="connsiteY46" fmla="*/ 2846908 h 5810250"/>
              <a:gd name="connsiteX47" fmla="*/ 1792729 w 5819775"/>
              <a:gd name="connsiteY47" fmla="*/ 2846908 h 5810250"/>
              <a:gd name="connsiteX48" fmla="*/ 1695945 w 5819775"/>
              <a:gd name="connsiteY48" fmla="*/ 2935500 h 5810250"/>
              <a:gd name="connsiteX49" fmla="*/ 1101100 w 5819775"/>
              <a:gd name="connsiteY49" fmla="*/ 3530346 h 5810250"/>
              <a:gd name="connsiteX50" fmla="*/ 876262 w 5819775"/>
              <a:gd name="connsiteY50" fmla="*/ 3755184 h 5810250"/>
              <a:gd name="connsiteX51" fmla="*/ 377457 w 5819775"/>
              <a:gd name="connsiteY51" fmla="*/ 3264570 h 5810250"/>
              <a:gd name="connsiteX52" fmla="*/ 192824 w 5819775"/>
              <a:gd name="connsiteY52" fmla="*/ 3184169 h 5810250"/>
              <a:gd name="connsiteX53" fmla="*/ 0 w 5819775"/>
              <a:gd name="connsiteY53" fmla="*/ 3425381 h 5810250"/>
              <a:gd name="connsiteX54" fmla="*/ 0 w 5819775"/>
              <a:gd name="connsiteY54" fmla="*/ 5507698 h 5810250"/>
              <a:gd name="connsiteX55" fmla="*/ 305238 w 5819775"/>
              <a:gd name="connsiteY55" fmla="*/ 5812936 h 5810250"/>
              <a:gd name="connsiteX56" fmla="*/ 305238 w 5819775"/>
              <a:gd name="connsiteY56" fmla="*/ 5812936 h 5810250"/>
              <a:gd name="connsiteX57" fmla="*/ 2412121 w 5819775"/>
              <a:gd name="connsiteY57" fmla="*/ 5812936 h 5810250"/>
              <a:gd name="connsiteX58" fmla="*/ 2636958 w 5819775"/>
              <a:gd name="connsiteY58" fmla="*/ 5692330 h 5810250"/>
              <a:gd name="connsiteX59" fmla="*/ 2572931 w 5819775"/>
              <a:gd name="connsiteY59" fmla="*/ 5442928 h 5810250"/>
              <a:gd name="connsiteX60" fmla="*/ 2074126 w 5819775"/>
              <a:gd name="connsiteY60" fmla="*/ 4928492 h 5810250"/>
              <a:gd name="connsiteX61" fmla="*/ 2307146 w 5819775"/>
              <a:gd name="connsiteY61" fmla="*/ 4695473 h 5810250"/>
              <a:gd name="connsiteX62" fmla="*/ 2901992 w 5819775"/>
              <a:gd name="connsiteY62" fmla="*/ 4100627 h 5810250"/>
              <a:gd name="connsiteX63" fmla="*/ 2910183 w 5819775"/>
              <a:gd name="connsiteY63" fmla="*/ 3586191 h 5810250"/>
              <a:gd name="connsiteX64" fmla="*/ 2395757 w 5819775"/>
              <a:gd name="connsiteY64" fmla="*/ 3079928 h 5810250"/>
              <a:gd name="connsiteX65" fmla="*/ 2684612 w 5819775"/>
              <a:gd name="connsiteY65" fmla="*/ 3899602 h 5810250"/>
              <a:gd name="connsiteX66" fmla="*/ 2089766 w 5819775"/>
              <a:gd name="connsiteY66" fmla="*/ 4494448 h 5810250"/>
              <a:gd name="connsiteX67" fmla="*/ 1800158 w 5819775"/>
              <a:gd name="connsiteY67" fmla="*/ 4784055 h 5810250"/>
              <a:gd name="connsiteX68" fmla="*/ 1759953 w 5819775"/>
              <a:gd name="connsiteY68" fmla="*/ 4824260 h 5810250"/>
              <a:gd name="connsiteX69" fmla="*/ 1743570 w 5819775"/>
              <a:gd name="connsiteY69" fmla="*/ 4840643 h 5810250"/>
              <a:gd name="connsiteX70" fmla="*/ 1743570 w 5819775"/>
              <a:gd name="connsiteY70" fmla="*/ 5049841 h 5810250"/>
              <a:gd name="connsiteX71" fmla="*/ 2209619 w 5819775"/>
              <a:gd name="connsiteY71" fmla="*/ 5532263 h 5810250"/>
              <a:gd name="connsiteX72" fmla="*/ 288865 w 5819775"/>
              <a:gd name="connsiteY72" fmla="*/ 5532263 h 5810250"/>
              <a:gd name="connsiteX73" fmla="*/ 280673 w 5819775"/>
              <a:gd name="connsiteY73" fmla="*/ 5532263 h 5810250"/>
              <a:gd name="connsiteX74" fmla="*/ 280673 w 5819775"/>
              <a:gd name="connsiteY74" fmla="*/ 5524072 h 5810250"/>
              <a:gd name="connsiteX75" fmla="*/ 280673 w 5819775"/>
              <a:gd name="connsiteY75" fmla="*/ 3610747 h 5810250"/>
              <a:gd name="connsiteX76" fmla="*/ 754913 w 5819775"/>
              <a:gd name="connsiteY76" fmla="*/ 4076795 h 5810250"/>
              <a:gd name="connsiteX77" fmla="*/ 964111 w 5819775"/>
              <a:gd name="connsiteY77" fmla="*/ 4076795 h 5810250"/>
              <a:gd name="connsiteX78" fmla="*/ 987933 w 5819775"/>
              <a:gd name="connsiteY78" fmla="*/ 4060413 h 5810250"/>
              <a:gd name="connsiteX79" fmla="*/ 1036320 w 5819775"/>
              <a:gd name="connsiteY79" fmla="*/ 4020207 h 5810250"/>
              <a:gd name="connsiteX80" fmla="*/ 1309545 w 5819775"/>
              <a:gd name="connsiteY80" fmla="*/ 3746983 h 5810250"/>
              <a:gd name="connsiteX81" fmla="*/ 1904390 w 5819775"/>
              <a:gd name="connsiteY81" fmla="*/ 3152137 h 5810250"/>
              <a:gd name="connsiteX82" fmla="*/ 1976609 w 5819775"/>
              <a:gd name="connsiteY82" fmla="*/ 3088110 h 5810250"/>
              <a:gd name="connsiteX83" fmla="*/ 1976609 w 5819775"/>
              <a:gd name="connsiteY83" fmla="*/ 3088110 h 5810250"/>
              <a:gd name="connsiteX84" fmla="*/ 2033188 w 5819775"/>
              <a:gd name="connsiteY84" fmla="*/ 3136497 h 5810250"/>
              <a:gd name="connsiteX85" fmla="*/ 2185807 w 5819775"/>
              <a:gd name="connsiteY85" fmla="*/ 3289116 h 5810250"/>
              <a:gd name="connsiteX86" fmla="*/ 2692051 w 5819775"/>
              <a:gd name="connsiteY86" fmla="*/ 3795360 h 5810250"/>
              <a:gd name="connsiteX87" fmla="*/ 2732256 w 5819775"/>
              <a:gd name="connsiteY87" fmla="*/ 3843747 h 5810250"/>
              <a:gd name="connsiteX88" fmla="*/ 2684612 w 5819775"/>
              <a:gd name="connsiteY88" fmla="*/ 3899602 h 581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819775" h="5810250">
                <a:moveTo>
                  <a:pt x="5531520" y="0"/>
                </a:moveTo>
                <a:lnTo>
                  <a:pt x="3424628" y="0"/>
                </a:lnTo>
                <a:cubicBezTo>
                  <a:pt x="3280201" y="0"/>
                  <a:pt x="3223622" y="64027"/>
                  <a:pt x="3199791" y="120606"/>
                </a:cubicBezTo>
                <a:cubicBezTo>
                  <a:pt x="3151404" y="233020"/>
                  <a:pt x="3239996" y="337995"/>
                  <a:pt x="3263818" y="370008"/>
                </a:cubicBezTo>
                <a:lnTo>
                  <a:pt x="3762623" y="884444"/>
                </a:lnTo>
                <a:lnTo>
                  <a:pt x="3545234" y="1101833"/>
                </a:lnTo>
                <a:cubicBezTo>
                  <a:pt x="3344228" y="1302839"/>
                  <a:pt x="3135021" y="1512046"/>
                  <a:pt x="2934015" y="1713052"/>
                </a:cubicBezTo>
                <a:cubicBezTo>
                  <a:pt x="2756830" y="1890236"/>
                  <a:pt x="2756830" y="2051047"/>
                  <a:pt x="2925823" y="2227488"/>
                </a:cubicBezTo>
                <a:cubicBezTo>
                  <a:pt x="3094825" y="2396490"/>
                  <a:pt x="3263818" y="2572931"/>
                  <a:pt x="3432067" y="2741924"/>
                </a:cubicBezTo>
                <a:lnTo>
                  <a:pt x="3584686" y="2886351"/>
                </a:lnTo>
                <a:cubicBezTo>
                  <a:pt x="3608508" y="2910173"/>
                  <a:pt x="3641265" y="2942930"/>
                  <a:pt x="3673278" y="2966752"/>
                </a:cubicBezTo>
                <a:cubicBezTo>
                  <a:pt x="3729857" y="3006957"/>
                  <a:pt x="3793884" y="3030779"/>
                  <a:pt x="3857911" y="3030779"/>
                </a:cubicBezTo>
                <a:cubicBezTo>
                  <a:pt x="3921938" y="3030779"/>
                  <a:pt x="3986708" y="3006957"/>
                  <a:pt x="4035095" y="2966752"/>
                </a:cubicBezTo>
                <a:cubicBezTo>
                  <a:pt x="4067108" y="2942930"/>
                  <a:pt x="4099122" y="2910173"/>
                  <a:pt x="4131878" y="2878160"/>
                </a:cubicBezTo>
                <a:lnTo>
                  <a:pt x="4952295" y="2057743"/>
                </a:lnTo>
                <a:lnTo>
                  <a:pt x="5451101" y="2548357"/>
                </a:lnTo>
                <a:cubicBezTo>
                  <a:pt x="5474923" y="2572179"/>
                  <a:pt x="5547884" y="2628757"/>
                  <a:pt x="5635733" y="2628757"/>
                </a:cubicBezTo>
                <a:cubicBezTo>
                  <a:pt x="5707951" y="2628757"/>
                  <a:pt x="5828557" y="2580370"/>
                  <a:pt x="5828557" y="2387546"/>
                </a:cubicBezTo>
                <a:lnTo>
                  <a:pt x="5828557" y="305981"/>
                </a:lnTo>
                <a:cubicBezTo>
                  <a:pt x="5836758" y="104975"/>
                  <a:pt x="5684139" y="0"/>
                  <a:pt x="5531520" y="0"/>
                </a:cubicBezTo>
                <a:close/>
                <a:moveTo>
                  <a:pt x="5538959" y="2211115"/>
                </a:moveTo>
                <a:lnTo>
                  <a:pt x="5064729" y="1745066"/>
                </a:lnTo>
                <a:cubicBezTo>
                  <a:pt x="5008150" y="1688487"/>
                  <a:pt x="4912109" y="1688487"/>
                  <a:pt x="4855531" y="1745066"/>
                </a:cubicBezTo>
                <a:lnTo>
                  <a:pt x="4831709" y="1768888"/>
                </a:lnTo>
                <a:cubicBezTo>
                  <a:pt x="4815326" y="1785271"/>
                  <a:pt x="4799695" y="1792710"/>
                  <a:pt x="4791504" y="1809093"/>
                </a:cubicBezTo>
                <a:lnTo>
                  <a:pt x="3930882" y="2669715"/>
                </a:lnTo>
                <a:cubicBezTo>
                  <a:pt x="3907060" y="2693537"/>
                  <a:pt x="3882495" y="2709920"/>
                  <a:pt x="3858663" y="2733742"/>
                </a:cubicBezTo>
                <a:lnTo>
                  <a:pt x="3858663" y="2733742"/>
                </a:lnTo>
                <a:cubicBezTo>
                  <a:pt x="3834841" y="2717359"/>
                  <a:pt x="3818458" y="2701728"/>
                  <a:pt x="3802085" y="2685355"/>
                </a:cubicBezTo>
                <a:lnTo>
                  <a:pt x="3649466" y="2540918"/>
                </a:lnTo>
                <a:cubicBezTo>
                  <a:pt x="3480473" y="2363734"/>
                  <a:pt x="3304023" y="2195474"/>
                  <a:pt x="3143222" y="2026482"/>
                </a:cubicBezTo>
                <a:cubicBezTo>
                  <a:pt x="3119399" y="2002660"/>
                  <a:pt x="3111208" y="1986277"/>
                  <a:pt x="3103016" y="1978095"/>
                </a:cubicBezTo>
                <a:cubicBezTo>
                  <a:pt x="3111208" y="1969903"/>
                  <a:pt x="3119399" y="1954273"/>
                  <a:pt x="3143222" y="1929708"/>
                </a:cubicBezTo>
                <a:cubicBezTo>
                  <a:pt x="3344228" y="1728702"/>
                  <a:pt x="3553435" y="1519495"/>
                  <a:pt x="3754441" y="1318489"/>
                </a:cubicBezTo>
                <a:lnTo>
                  <a:pt x="4019474" y="1053456"/>
                </a:lnTo>
                <a:cubicBezTo>
                  <a:pt x="4035857" y="1037073"/>
                  <a:pt x="4043296" y="1021442"/>
                  <a:pt x="4059679" y="1013250"/>
                </a:cubicBezTo>
                <a:lnTo>
                  <a:pt x="4076062" y="996868"/>
                </a:lnTo>
                <a:cubicBezTo>
                  <a:pt x="4132641" y="940289"/>
                  <a:pt x="4132641" y="844248"/>
                  <a:pt x="4076062" y="787670"/>
                </a:cubicBezTo>
                <a:lnTo>
                  <a:pt x="3610013" y="305248"/>
                </a:lnTo>
                <a:lnTo>
                  <a:pt x="5531520" y="305248"/>
                </a:lnTo>
                <a:lnTo>
                  <a:pt x="5539712" y="305248"/>
                </a:lnTo>
                <a:cubicBezTo>
                  <a:pt x="5539712" y="305248"/>
                  <a:pt x="5539712" y="305248"/>
                  <a:pt x="5539712" y="313439"/>
                </a:cubicBezTo>
                <a:lnTo>
                  <a:pt x="5538959" y="2211115"/>
                </a:lnTo>
                <a:lnTo>
                  <a:pt x="5538959" y="2211115"/>
                </a:lnTo>
                <a:close/>
                <a:moveTo>
                  <a:pt x="2395757" y="3079928"/>
                </a:moveTo>
                <a:lnTo>
                  <a:pt x="2243138" y="2927309"/>
                </a:lnTo>
                <a:cubicBezTo>
                  <a:pt x="2219316" y="2903487"/>
                  <a:pt x="2186559" y="2870730"/>
                  <a:pt x="2154546" y="2846908"/>
                </a:cubicBezTo>
                <a:cubicBezTo>
                  <a:pt x="2042131" y="2766508"/>
                  <a:pt x="1905143" y="2766508"/>
                  <a:pt x="1792729" y="2846908"/>
                </a:cubicBezTo>
                <a:cubicBezTo>
                  <a:pt x="1760715" y="2870730"/>
                  <a:pt x="1728702" y="2903487"/>
                  <a:pt x="1695945" y="2935500"/>
                </a:cubicBezTo>
                <a:cubicBezTo>
                  <a:pt x="1494939" y="3136506"/>
                  <a:pt x="1302115" y="3329330"/>
                  <a:pt x="1101100" y="3530346"/>
                </a:cubicBezTo>
                <a:lnTo>
                  <a:pt x="876262" y="3755184"/>
                </a:lnTo>
                <a:lnTo>
                  <a:pt x="377457" y="3264570"/>
                </a:lnTo>
                <a:cubicBezTo>
                  <a:pt x="353635" y="3240748"/>
                  <a:pt x="280673" y="3184169"/>
                  <a:pt x="192824" y="3184169"/>
                </a:cubicBezTo>
                <a:cubicBezTo>
                  <a:pt x="120606" y="3184169"/>
                  <a:pt x="0" y="3232557"/>
                  <a:pt x="0" y="3425381"/>
                </a:cubicBezTo>
                <a:lnTo>
                  <a:pt x="0" y="5507698"/>
                </a:lnTo>
                <a:cubicBezTo>
                  <a:pt x="0" y="5708704"/>
                  <a:pt x="152619" y="5812936"/>
                  <a:pt x="305238" y="5812936"/>
                </a:cubicBezTo>
                <a:lnTo>
                  <a:pt x="305238" y="5812936"/>
                </a:lnTo>
                <a:lnTo>
                  <a:pt x="2412121" y="5812936"/>
                </a:lnTo>
                <a:cubicBezTo>
                  <a:pt x="2556548" y="5812936"/>
                  <a:pt x="2613127" y="5748909"/>
                  <a:pt x="2636958" y="5692330"/>
                </a:cubicBezTo>
                <a:cubicBezTo>
                  <a:pt x="2685345" y="5579917"/>
                  <a:pt x="2596753" y="5474941"/>
                  <a:pt x="2572931" y="5442928"/>
                </a:cubicBezTo>
                <a:lnTo>
                  <a:pt x="2074126" y="4928492"/>
                </a:lnTo>
                <a:lnTo>
                  <a:pt x="2307146" y="4695473"/>
                </a:lnTo>
                <a:cubicBezTo>
                  <a:pt x="2508152" y="4494467"/>
                  <a:pt x="2700976" y="4301643"/>
                  <a:pt x="2901992" y="4100627"/>
                </a:cubicBezTo>
                <a:cubicBezTo>
                  <a:pt x="3079175" y="3923443"/>
                  <a:pt x="3079175" y="3762632"/>
                  <a:pt x="2910183" y="3586191"/>
                </a:cubicBezTo>
                <a:cubicBezTo>
                  <a:pt x="2733008" y="3417180"/>
                  <a:pt x="2564006" y="3248930"/>
                  <a:pt x="2395757" y="3079928"/>
                </a:cubicBezTo>
                <a:close/>
                <a:moveTo>
                  <a:pt x="2684612" y="3899602"/>
                </a:moveTo>
                <a:cubicBezTo>
                  <a:pt x="2491788" y="4100608"/>
                  <a:pt x="2290782" y="4293432"/>
                  <a:pt x="2089766" y="4494448"/>
                </a:cubicBezTo>
                <a:lnTo>
                  <a:pt x="1800158" y="4784055"/>
                </a:lnTo>
                <a:cubicBezTo>
                  <a:pt x="1783775" y="4800438"/>
                  <a:pt x="1768145" y="4816069"/>
                  <a:pt x="1759953" y="4824260"/>
                </a:cubicBezTo>
                <a:lnTo>
                  <a:pt x="1743570" y="4840643"/>
                </a:lnTo>
                <a:cubicBezTo>
                  <a:pt x="1686992" y="4897222"/>
                  <a:pt x="1686992" y="4993263"/>
                  <a:pt x="1743570" y="5049841"/>
                </a:cubicBezTo>
                <a:lnTo>
                  <a:pt x="2209619" y="5532263"/>
                </a:lnTo>
                <a:lnTo>
                  <a:pt x="288865" y="5532263"/>
                </a:lnTo>
                <a:lnTo>
                  <a:pt x="280673" y="5532263"/>
                </a:lnTo>
                <a:cubicBezTo>
                  <a:pt x="280673" y="5532263"/>
                  <a:pt x="280673" y="5532263"/>
                  <a:pt x="280673" y="5524072"/>
                </a:cubicBezTo>
                <a:lnTo>
                  <a:pt x="280673" y="3610747"/>
                </a:lnTo>
                <a:lnTo>
                  <a:pt x="754913" y="4076795"/>
                </a:lnTo>
                <a:cubicBezTo>
                  <a:pt x="811492" y="4133374"/>
                  <a:pt x="899341" y="4133374"/>
                  <a:pt x="964111" y="4076795"/>
                </a:cubicBezTo>
                <a:lnTo>
                  <a:pt x="987933" y="4060413"/>
                </a:lnTo>
                <a:cubicBezTo>
                  <a:pt x="1004316" y="4044029"/>
                  <a:pt x="1019947" y="4028399"/>
                  <a:pt x="1036320" y="4020207"/>
                </a:cubicBezTo>
                <a:lnTo>
                  <a:pt x="1309545" y="3746983"/>
                </a:lnTo>
                <a:cubicBezTo>
                  <a:pt x="1510551" y="3545977"/>
                  <a:pt x="1703375" y="3353152"/>
                  <a:pt x="1904390" y="3152137"/>
                </a:cubicBezTo>
                <a:cubicBezTo>
                  <a:pt x="1928213" y="3128315"/>
                  <a:pt x="1952777" y="3111932"/>
                  <a:pt x="1976609" y="3088110"/>
                </a:cubicBezTo>
                <a:lnTo>
                  <a:pt x="1976609" y="3088110"/>
                </a:lnTo>
                <a:cubicBezTo>
                  <a:pt x="2000431" y="3104493"/>
                  <a:pt x="2016814" y="3120123"/>
                  <a:pt x="2033188" y="3136497"/>
                </a:cubicBezTo>
                <a:lnTo>
                  <a:pt x="2185807" y="3289116"/>
                </a:lnTo>
                <a:cubicBezTo>
                  <a:pt x="2354809" y="3458118"/>
                  <a:pt x="2523801" y="3627110"/>
                  <a:pt x="2692051" y="3795360"/>
                </a:cubicBezTo>
                <a:cubicBezTo>
                  <a:pt x="2715873" y="3819182"/>
                  <a:pt x="2724064" y="3835565"/>
                  <a:pt x="2732256" y="3843747"/>
                </a:cubicBezTo>
                <a:cubicBezTo>
                  <a:pt x="2724817" y="3851958"/>
                  <a:pt x="2709186" y="3867588"/>
                  <a:pt x="2684612" y="389960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3" name="Forma libre 436">
            <a:extLst>
              <a:ext uri="{FF2B5EF4-FFF2-40B4-BE49-F238E27FC236}">
                <a16:creationId xmlns:a16="http://schemas.microsoft.com/office/drawing/2014/main" xmlns="" id="{E172F9F7-6602-5E42-9D07-F83880571EBE}"/>
              </a:ext>
            </a:extLst>
          </p:cNvPr>
          <p:cNvSpPr/>
          <p:nvPr/>
        </p:nvSpPr>
        <p:spPr>
          <a:xfrm>
            <a:off x="2060906" y="2759239"/>
            <a:ext cx="301338" cy="254485"/>
          </a:xfrm>
          <a:custGeom>
            <a:avLst/>
            <a:gdLst>
              <a:gd name="connsiteX0" fmla="*/ 5324637 w 5819775"/>
              <a:gd name="connsiteY0" fmla="*/ 1550365 h 4914900"/>
              <a:gd name="connsiteX1" fmla="*/ 4026922 w 5819775"/>
              <a:gd name="connsiteY1" fmla="*/ 1550365 h 4914900"/>
              <a:gd name="connsiteX2" fmla="*/ 4026922 w 5819775"/>
              <a:gd name="connsiteY2" fmla="*/ 498167 h 4914900"/>
              <a:gd name="connsiteX3" fmla="*/ 3528755 w 5819775"/>
              <a:gd name="connsiteY3" fmla="*/ 0 h 4914900"/>
              <a:gd name="connsiteX4" fmla="*/ 498167 w 5819775"/>
              <a:gd name="connsiteY4" fmla="*/ 0 h 4914900"/>
              <a:gd name="connsiteX5" fmla="*/ 0 w 5819775"/>
              <a:gd name="connsiteY5" fmla="*/ 498167 h 4914900"/>
              <a:gd name="connsiteX6" fmla="*/ 0 w 5819775"/>
              <a:gd name="connsiteY6" fmla="*/ 2321976 h 4914900"/>
              <a:gd name="connsiteX7" fmla="*/ 498167 w 5819775"/>
              <a:gd name="connsiteY7" fmla="*/ 2820143 h 4914900"/>
              <a:gd name="connsiteX8" fmla="*/ 793042 w 5819775"/>
              <a:gd name="connsiteY8" fmla="*/ 2820143 h 4914900"/>
              <a:gd name="connsiteX9" fmla="*/ 1164555 w 5819775"/>
              <a:gd name="connsiteY9" fmla="*/ 3318310 h 4914900"/>
              <a:gd name="connsiteX10" fmla="*/ 1269778 w 5819775"/>
              <a:gd name="connsiteY10" fmla="*/ 3367669 h 4914900"/>
              <a:gd name="connsiteX11" fmla="*/ 1375000 w 5819775"/>
              <a:gd name="connsiteY11" fmla="*/ 3318310 h 4914900"/>
              <a:gd name="connsiteX12" fmla="*/ 1746514 w 5819775"/>
              <a:gd name="connsiteY12" fmla="*/ 2820143 h 4914900"/>
              <a:gd name="connsiteX13" fmla="*/ 1802368 w 5819775"/>
              <a:gd name="connsiteY13" fmla="*/ 2820143 h 4914900"/>
              <a:gd name="connsiteX14" fmla="*/ 1802368 w 5819775"/>
              <a:gd name="connsiteY14" fmla="*/ 3872341 h 4914900"/>
              <a:gd name="connsiteX15" fmla="*/ 2300535 w 5819775"/>
              <a:gd name="connsiteY15" fmla="*/ 4370508 h 4914900"/>
              <a:gd name="connsiteX16" fmla="*/ 4082129 w 5819775"/>
              <a:gd name="connsiteY16" fmla="*/ 4370508 h 4914900"/>
              <a:gd name="connsiteX17" fmla="*/ 4453643 w 5819775"/>
              <a:gd name="connsiteY17" fmla="*/ 4868675 h 4914900"/>
              <a:gd name="connsiteX18" fmla="*/ 4558865 w 5819775"/>
              <a:gd name="connsiteY18" fmla="*/ 4918034 h 4914900"/>
              <a:gd name="connsiteX19" fmla="*/ 4664088 w 5819775"/>
              <a:gd name="connsiteY19" fmla="*/ 4868675 h 4914900"/>
              <a:gd name="connsiteX20" fmla="*/ 5035601 w 5819775"/>
              <a:gd name="connsiteY20" fmla="*/ 4370508 h 4914900"/>
              <a:gd name="connsiteX21" fmla="*/ 5330476 w 5819775"/>
              <a:gd name="connsiteY21" fmla="*/ 4370508 h 4914900"/>
              <a:gd name="connsiteX22" fmla="*/ 5828643 w 5819775"/>
              <a:gd name="connsiteY22" fmla="*/ 3872341 h 4914900"/>
              <a:gd name="connsiteX23" fmla="*/ 5828643 w 5819775"/>
              <a:gd name="connsiteY23" fmla="*/ 2048532 h 4914900"/>
              <a:gd name="connsiteX24" fmla="*/ 5324637 w 5819775"/>
              <a:gd name="connsiteY24" fmla="*/ 1550365 h 4914900"/>
              <a:gd name="connsiteX25" fmla="*/ 1677019 w 5819775"/>
              <a:gd name="connsiteY25" fmla="*/ 2560339 h 4914900"/>
              <a:gd name="connsiteX26" fmla="*/ 1571797 w 5819775"/>
              <a:gd name="connsiteY26" fmla="*/ 2609698 h 4914900"/>
              <a:gd name="connsiteX27" fmla="*/ 1263282 w 5819775"/>
              <a:gd name="connsiteY27" fmla="*/ 3016291 h 4914900"/>
              <a:gd name="connsiteX28" fmla="*/ 954767 w 5819775"/>
              <a:gd name="connsiteY28" fmla="*/ 2609698 h 4914900"/>
              <a:gd name="connsiteX29" fmla="*/ 849544 w 5819775"/>
              <a:gd name="connsiteY29" fmla="*/ 2560339 h 4914900"/>
              <a:gd name="connsiteX30" fmla="*/ 484527 w 5819775"/>
              <a:gd name="connsiteY30" fmla="*/ 2560339 h 4914900"/>
              <a:gd name="connsiteX31" fmla="*/ 246155 w 5819775"/>
              <a:gd name="connsiteY31" fmla="*/ 2321966 h 4914900"/>
              <a:gd name="connsiteX32" fmla="*/ 246155 w 5819775"/>
              <a:gd name="connsiteY32" fmla="*/ 498167 h 4914900"/>
              <a:gd name="connsiteX33" fmla="*/ 484527 w 5819775"/>
              <a:gd name="connsiteY33" fmla="*/ 259794 h 4914900"/>
              <a:gd name="connsiteX34" fmla="*/ 3515116 w 5819775"/>
              <a:gd name="connsiteY34" fmla="*/ 259794 h 4914900"/>
              <a:gd name="connsiteX35" fmla="*/ 3753479 w 5819775"/>
              <a:gd name="connsiteY35" fmla="*/ 498167 h 4914900"/>
              <a:gd name="connsiteX36" fmla="*/ 3753479 w 5819775"/>
              <a:gd name="connsiteY36" fmla="*/ 1683515 h 4914900"/>
              <a:gd name="connsiteX37" fmla="*/ 3753479 w 5819775"/>
              <a:gd name="connsiteY37" fmla="*/ 2321976 h 4914900"/>
              <a:gd name="connsiteX38" fmla="*/ 3515116 w 5819775"/>
              <a:gd name="connsiteY38" fmla="*/ 2560349 h 4914900"/>
              <a:gd name="connsiteX39" fmla="*/ 1929032 w 5819775"/>
              <a:gd name="connsiteY39" fmla="*/ 2560349 h 4914900"/>
              <a:gd name="connsiteX40" fmla="*/ 1677019 w 5819775"/>
              <a:gd name="connsiteY40" fmla="*/ 2560339 h 4914900"/>
              <a:gd name="connsiteX41" fmla="*/ 1677019 w 5819775"/>
              <a:gd name="connsiteY41" fmla="*/ 2560339 h 4914900"/>
              <a:gd name="connsiteX42" fmla="*/ 5570144 w 5819775"/>
              <a:gd name="connsiteY42" fmla="*/ 3872341 h 4914900"/>
              <a:gd name="connsiteX43" fmla="*/ 5331781 w 5819775"/>
              <a:gd name="connsiteY43" fmla="*/ 4110714 h 4914900"/>
              <a:gd name="connsiteX44" fmla="*/ 4966764 w 5819775"/>
              <a:gd name="connsiteY44" fmla="*/ 4110714 h 4914900"/>
              <a:gd name="connsiteX45" fmla="*/ 4861541 w 5819775"/>
              <a:gd name="connsiteY45" fmla="*/ 4160072 h 4914900"/>
              <a:gd name="connsiteX46" fmla="*/ 4553026 w 5819775"/>
              <a:gd name="connsiteY46" fmla="*/ 4566667 h 4914900"/>
              <a:gd name="connsiteX47" fmla="*/ 4244512 w 5819775"/>
              <a:gd name="connsiteY47" fmla="*/ 4160072 h 4914900"/>
              <a:gd name="connsiteX48" fmla="*/ 4139289 w 5819775"/>
              <a:gd name="connsiteY48" fmla="*/ 4110714 h 4914900"/>
              <a:gd name="connsiteX49" fmla="*/ 2301193 w 5819775"/>
              <a:gd name="connsiteY49" fmla="*/ 4110714 h 4914900"/>
              <a:gd name="connsiteX50" fmla="*/ 2062820 w 5819775"/>
              <a:gd name="connsiteY50" fmla="*/ 3872341 h 4914900"/>
              <a:gd name="connsiteX51" fmla="*/ 2062820 w 5819775"/>
              <a:gd name="connsiteY51" fmla="*/ 2820143 h 4914900"/>
              <a:gd name="connsiteX52" fmla="*/ 3528755 w 5819775"/>
              <a:gd name="connsiteY52" fmla="*/ 2820143 h 4914900"/>
              <a:gd name="connsiteX53" fmla="*/ 3795055 w 5819775"/>
              <a:gd name="connsiteY53" fmla="*/ 2742848 h 4914900"/>
              <a:gd name="connsiteX54" fmla="*/ 4777102 w 5819775"/>
              <a:gd name="connsiteY54" fmla="*/ 2742848 h 4914900"/>
              <a:gd name="connsiteX55" fmla="*/ 4903109 w 5819775"/>
              <a:gd name="connsiteY55" fmla="*/ 2616842 h 4914900"/>
              <a:gd name="connsiteX56" fmla="*/ 4777102 w 5819775"/>
              <a:gd name="connsiteY56" fmla="*/ 2490835 h 4914900"/>
              <a:gd name="connsiteX57" fmla="*/ 4005491 w 5819775"/>
              <a:gd name="connsiteY57" fmla="*/ 2490835 h 4914900"/>
              <a:gd name="connsiteX58" fmla="*/ 4033418 w 5819775"/>
              <a:gd name="connsiteY58" fmla="*/ 2322614 h 4914900"/>
              <a:gd name="connsiteX59" fmla="*/ 4033418 w 5819775"/>
              <a:gd name="connsiteY59" fmla="*/ 1817303 h 4914900"/>
              <a:gd name="connsiteX60" fmla="*/ 5331124 w 5819775"/>
              <a:gd name="connsiteY60" fmla="*/ 1817303 h 4914900"/>
              <a:gd name="connsiteX61" fmla="*/ 5569496 w 5819775"/>
              <a:gd name="connsiteY61" fmla="*/ 2055676 h 4914900"/>
              <a:gd name="connsiteX62" fmla="*/ 5569496 w 5819775"/>
              <a:gd name="connsiteY62" fmla="*/ 3872341 h 4914900"/>
              <a:gd name="connsiteX63" fmla="*/ 5570144 w 5819775"/>
              <a:gd name="connsiteY63" fmla="*/ 3872341 h 4914900"/>
              <a:gd name="connsiteX64" fmla="*/ 4896612 w 5819775"/>
              <a:gd name="connsiteY64" fmla="*/ 3339103 h 4914900"/>
              <a:gd name="connsiteX65" fmla="*/ 4770606 w 5819775"/>
              <a:gd name="connsiteY65" fmla="*/ 3465110 h 4914900"/>
              <a:gd name="connsiteX66" fmla="*/ 2862367 w 5819775"/>
              <a:gd name="connsiteY66" fmla="*/ 3465110 h 4914900"/>
              <a:gd name="connsiteX67" fmla="*/ 2736361 w 5819775"/>
              <a:gd name="connsiteY67" fmla="*/ 3339103 h 4914900"/>
              <a:gd name="connsiteX68" fmla="*/ 2862367 w 5819775"/>
              <a:gd name="connsiteY68" fmla="*/ 3213097 h 4914900"/>
              <a:gd name="connsiteX69" fmla="*/ 4770606 w 5819775"/>
              <a:gd name="connsiteY69" fmla="*/ 3213097 h 4914900"/>
              <a:gd name="connsiteX70" fmla="*/ 4896612 w 5819775"/>
              <a:gd name="connsiteY70" fmla="*/ 3339103 h 4914900"/>
              <a:gd name="connsiteX71" fmla="*/ 2953293 w 5819775"/>
              <a:gd name="connsiteY71" fmla="*/ 1914735 h 4914900"/>
              <a:gd name="connsiteX72" fmla="*/ 1052198 w 5819775"/>
              <a:gd name="connsiteY72" fmla="*/ 1914735 h 4914900"/>
              <a:gd name="connsiteX73" fmla="*/ 926192 w 5819775"/>
              <a:gd name="connsiteY73" fmla="*/ 1788728 h 4914900"/>
              <a:gd name="connsiteX74" fmla="*/ 1052198 w 5819775"/>
              <a:gd name="connsiteY74" fmla="*/ 1662722 h 4914900"/>
              <a:gd name="connsiteX75" fmla="*/ 2953293 w 5819775"/>
              <a:gd name="connsiteY75" fmla="*/ 1662722 h 4914900"/>
              <a:gd name="connsiteX76" fmla="*/ 3079299 w 5819775"/>
              <a:gd name="connsiteY76" fmla="*/ 1788728 h 4914900"/>
              <a:gd name="connsiteX77" fmla="*/ 2953293 w 5819775"/>
              <a:gd name="connsiteY77" fmla="*/ 1914735 h 4914900"/>
              <a:gd name="connsiteX78" fmla="*/ 926192 w 5819775"/>
              <a:gd name="connsiteY78" fmla="*/ 1059342 h 4914900"/>
              <a:gd name="connsiteX79" fmla="*/ 1052198 w 5819775"/>
              <a:gd name="connsiteY79" fmla="*/ 933336 h 4914900"/>
              <a:gd name="connsiteX80" fmla="*/ 2195322 w 5819775"/>
              <a:gd name="connsiteY80" fmla="*/ 933336 h 4914900"/>
              <a:gd name="connsiteX81" fmla="*/ 2321328 w 5819775"/>
              <a:gd name="connsiteY81" fmla="*/ 1059342 h 4914900"/>
              <a:gd name="connsiteX82" fmla="*/ 2195322 w 5819775"/>
              <a:gd name="connsiteY82" fmla="*/ 1185348 h 4914900"/>
              <a:gd name="connsiteX83" fmla="*/ 1052198 w 5819775"/>
              <a:gd name="connsiteY83" fmla="*/ 1185348 h 4914900"/>
              <a:gd name="connsiteX84" fmla="*/ 926192 w 5819775"/>
              <a:gd name="connsiteY84" fmla="*/ 1059342 h 491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5819775" h="4914900">
                <a:moveTo>
                  <a:pt x="5324637" y="1550365"/>
                </a:moveTo>
                <a:lnTo>
                  <a:pt x="4026922" y="1550365"/>
                </a:lnTo>
                <a:lnTo>
                  <a:pt x="4026922" y="498167"/>
                </a:lnTo>
                <a:cubicBezTo>
                  <a:pt x="4026922" y="224723"/>
                  <a:pt x="3802190" y="0"/>
                  <a:pt x="3528755" y="0"/>
                </a:cubicBezTo>
                <a:lnTo>
                  <a:pt x="498167" y="0"/>
                </a:lnTo>
                <a:cubicBezTo>
                  <a:pt x="224733" y="0"/>
                  <a:pt x="0" y="224723"/>
                  <a:pt x="0" y="498167"/>
                </a:cubicBezTo>
                <a:lnTo>
                  <a:pt x="0" y="2321976"/>
                </a:lnTo>
                <a:cubicBezTo>
                  <a:pt x="0" y="2595420"/>
                  <a:pt x="224733" y="2820143"/>
                  <a:pt x="498167" y="2820143"/>
                </a:cubicBezTo>
                <a:lnTo>
                  <a:pt x="793042" y="2820143"/>
                </a:lnTo>
                <a:lnTo>
                  <a:pt x="1164555" y="3318310"/>
                </a:lnTo>
                <a:cubicBezTo>
                  <a:pt x="1185339" y="3353381"/>
                  <a:pt x="1227553" y="3367669"/>
                  <a:pt x="1269778" y="3367669"/>
                </a:cubicBezTo>
                <a:cubicBezTo>
                  <a:pt x="1312002" y="3367669"/>
                  <a:pt x="1347073" y="3346885"/>
                  <a:pt x="1375000" y="3318310"/>
                </a:cubicBezTo>
                <a:lnTo>
                  <a:pt x="1746514" y="2820143"/>
                </a:lnTo>
                <a:lnTo>
                  <a:pt x="1802368" y="2820143"/>
                </a:lnTo>
                <a:lnTo>
                  <a:pt x="1802368" y="3872341"/>
                </a:lnTo>
                <a:cubicBezTo>
                  <a:pt x="1802368" y="4145785"/>
                  <a:pt x="2027101" y="4370508"/>
                  <a:pt x="2300535" y="4370508"/>
                </a:cubicBezTo>
                <a:lnTo>
                  <a:pt x="4082129" y="4370508"/>
                </a:lnTo>
                <a:lnTo>
                  <a:pt x="4453643" y="4868675"/>
                </a:lnTo>
                <a:cubicBezTo>
                  <a:pt x="4474426" y="4903747"/>
                  <a:pt x="4516641" y="4918034"/>
                  <a:pt x="4558865" y="4918034"/>
                </a:cubicBezTo>
                <a:cubicBezTo>
                  <a:pt x="4601089" y="4918034"/>
                  <a:pt x="4636161" y="4897250"/>
                  <a:pt x="4664088" y="4868675"/>
                </a:cubicBezTo>
                <a:lnTo>
                  <a:pt x="5035601" y="4370508"/>
                </a:lnTo>
                <a:lnTo>
                  <a:pt x="5330476" y="4370508"/>
                </a:lnTo>
                <a:cubicBezTo>
                  <a:pt x="5603920" y="4370508"/>
                  <a:pt x="5828643" y="4145776"/>
                  <a:pt x="5828643" y="3872341"/>
                </a:cubicBezTo>
                <a:lnTo>
                  <a:pt x="5828643" y="2048532"/>
                </a:lnTo>
                <a:cubicBezTo>
                  <a:pt x="5829300" y="1774441"/>
                  <a:pt x="5605224" y="1550365"/>
                  <a:pt x="5324637" y="1550365"/>
                </a:cubicBezTo>
                <a:close/>
                <a:moveTo>
                  <a:pt x="1677019" y="2560339"/>
                </a:moveTo>
                <a:cubicBezTo>
                  <a:pt x="1634804" y="2560339"/>
                  <a:pt x="1599724" y="2581123"/>
                  <a:pt x="1571797" y="2609698"/>
                </a:cubicBezTo>
                <a:lnTo>
                  <a:pt x="1263282" y="3016291"/>
                </a:lnTo>
                <a:lnTo>
                  <a:pt x="954767" y="2609698"/>
                </a:lnTo>
                <a:cubicBezTo>
                  <a:pt x="933983" y="2574627"/>
                  <a:pt x="891769" y="2560339"/>
                  <a:pt x="849544" y="2560339"/>
                </a:cubicBezTo>
                <a:lnTo>
                  <a:pt x="484527" y="2560339"/>
                </a:lnTo>
                <a:cubicBezTo>
                  <a:pt x="351377" y="2560339"/>
                  <a:pt x="246155" y="2455117"/>
                  <a:pt x="246155" y="2321966"/>
                </a:cubicBezTo>
                <a:lnTo>
                  <a:pt x="246155" y="498167"/>
                </a:lnTo>
                <a:cubicBezTo>
                  <a:pt x="246155" y="365017"/>
                  <a:pt x="351377" y="259794"/>
                  <a:pt x="484527" y="259794"/>
                </a:cubicBezTo>
                <a:lnTo>
                  <a:pt x="3515116" y="259794"/>
                </a:lnTo>
                <a:cubicBezTo>
                  <a:pt x="3648266" y="259794"/>
                  <a:pt x="3753479" y="365017"/>
                  <a:pt x="3753479" y="498167"/>
                </a:cubicBezTo>
                <a:lnTo>
                  <a:pt x="3753479" y="1683515"/>
                </a:lnTo>
                <a:lnTo>
                  <a:pt x="3753479" y="2321976"/>
                </a:lnTo>
                <a:cubicBezTo>
                  <a:pt x="3753479" y="2455126"/>
                  <a:pt x="3648256" y="2560349"/>
                  <a:pt x="3515116" y="2560349"/>
                </a:cubicBezTo>
                <a:lnTo>
                  <a:pt x="1929032" y="2560349"/>
                </a:lnTo>
                <a:lnTo>
                  <a:pt x="1677019" y="2560339"/>
                </a:lnTo>
                <a:lnTo>
                  <a:pt x="1677019" y="2560339"/>
                </a:lnTo>
                <a:close/>
                <a:moveTo>
                  <a:pt x="5570144" y="3872341"/>
                </a:moveTo>
                <a:cubicBezTo>
                  <a:pt x="5570144" y="4005491"/>
                  <a:pt x="5464921" y="4110714"/>
                  <a:pt x="5331781" y="4110714"/>
                </a:cubicBezTo>
                <a:lnTo>
                  <a:pt x="4966764" y="4110714"/>
                </a:lnTo>
                <a:cubicBezTo>
                  <a:pt x="4924549" y="4110714"/>
                  <a:pt x="4889469" y="4131497"/>
                  <a:pt x="4861541" y="4160072"/>
                </a:cubicBezTo>
                <a:lnTo>
                  <a:pt x="4553026" y="4566667"/>
                </a:lnTo>
                <a:lnTo>
                  <a:pt x="4244512" y="4160072"/>
                </a:lnTo>
                <a:cubicBezTo>
                  <a:pt x="4223728" y="4125002"/>
                  <a:pt x="4181513" y="4110714"/>
                  <a:pt x="4139289" y="4110714"/>
                </a:cubicBezTo>
                <a:lnTo>
                  <a:pt x="2301193" y="4110714"/>
                </a:lnTo>
                <a:cubicBezTo>
                  <a:pt x="2168042" y="4110714"/>
                  <a:pt x="2062820" y="4005491"/>
                  <a:pt x="2062820" y="3872341"/>
                </a:cubicBezTo>
                <a:lnTo>
                  <a:pt x="2062820" y="2820143"/>
                </a:lnTo>
                <a:lnTo>
                  <a:pt x="3528755" y="2820143"/>
                </a:lnTo>
                <a:cubicBezTo>
                  <a:pt x="3626834" y="2820143"/>
                  <a:pt x="3718408" y="2792216"/>
                  <a:pt x="3795055" y="2742848"/>
                </a:cubicBezTo>
                <a:lnTo>
                  <a:pt x="4777102" y="2742848"/>
                </a:lnTo>
                <a:cubicBezTo>
                  <a:pt x="4847244" y="2742848"/>
                  <a:pt x="4903109" y="2686993"/>
                  <a:pt x="4903109" y="2616842"/>
                </a:cubicBezTo>
                <a:cubicBezTo>
                  <a:pt x="4903109" y="2546690"/>
                  <a:pt x="4847254" y="2490835"/>
                  <a:pt x="4777102" y="2490835"/>
                </a:cubicBezTo>
                <a:lnTo>
                  <a:pt x="4005491" y="2490835"/>
                </a:lnTo>
                <a:cubicBezTo>
                  <a:pt x="4026275" y="2441477"/>
                  <a:pt x="4033418" y="2385613"/>
                  <a:pt x="4033418" y="2322614"/>
                </a:cubicBezTo>
                <a:lnTo>
                  <a:pt x="4033418" y="1817303"/>
                </a:lnTo>
                <a:lnTo>
                  <a:pt x="5331124" y="1817303"/>
                </a:lnTo>
                <a:cubicBezTo>
                  <a:pt x="5464274" y="1817303"/>
                  <a:pt x="5569496" y="1922526"/>
                  <a:pt x="5569496" y="2055676"/>
                </a:cubicBezTo>
                <a:lnTo>
                  <a:pt x="5569496" y="3872341"/>
                </a:lnTo>
                <a:lnTo>
                  <a:pt x="5570144" y="3872341"/>
                </a:lnTo>
                <a:close/>
                <a:moveTo>
                  <a:pt x="4896612" y="3339103"/>
                </a:moveTo>
                <a:cubicBezTo>
                  <a:pt x="4896612" y="3409245"/>
                  <a:pt x="4840758" y="3465110"/>
                  <a:pt x="4770606" y="3465110"/>
                </a:cubicBezTo>
                <a:lnTo>
                  <a:pt x="2862367" y="3465110"/>
                </a:lnTo>
                <a:cubicBezTo>
                  <a:pt x="2792225" y="3465110"/>
                  <a:pt x="2736361" y="3409255"/>
                  <a:pt x="2736361" y="3339103"/>
                </a:cubicBezTo>
                <a:cubicBezTo>
                  <a:pt x="2736361" y="3268951"/>
                  <a:pt x="2792216" y="3213097"/>
                  <a:pt x="2862367" y="3213097"/>
                </a:cubicBezTo>
                <a:lnTo>
                  <a:pt x="4770606" y="3213097"/>
                </a:lnTo>
                <a:cubicBezTo>
                  <a:pt x="4840110" y="3212449"/>
                  <a:pt x="4896612" y="3268951"/>
                  <a:pt x="4896612" y="3339103"/>
                </a:cubicBezTo>
                <a:close/>
                <a:moveTo>
                  <a:pt x="2953293" y="1914735"/>
                </a:moveTo>
                <a:lnTo>
                  <a:pt x="1052198" y="1914735"/>
                </a:lnTo>
                <a:cubicBezTo>
                  <a:pt x="982056" y="1914735"/>
                  <a:pt x="926192" y="1858880"/>
                  <a:pt x="926192" y="1788728"/>
                </a:cubicBezTo>
                <a:cubicBezTo>
                  <a:pt x="926192" y="1718577"/>
                  <a:pt x="982047" y="1662722"/>
                  <a:pt x="1052198" y="1662722"/>
                </a:cubicBezTo>
                <a:lnTo>
                  <a:pt x="2953293" y="1662722"/>
                </a:lnTo>
                <a:cubicBezTo>
                  <a:pt x="3023435" y="1662722"/>
                  <a:pt x="3079299" y="1718577"/>
                  <a:pt x="3079299" y="1788728"/>
                </a:cubicBezTo>
                <a:cubicBezTo>
                  <a:pt x="3086443" y="1858880"/>
                  <a:pt x="3023445" y="1914735"/>
                  <a:pt x="2953293" y="1914735"/>
                </a:cubicBezTo>
                <a:close/>
                <a:moveTo>
                  <a:pt x="926192" y="1059342"/>
                </a:moveTo>
                <a:cubicBezTo>
                  <a:pt x="926192" y="989200"/>
                  <a:pt x="982047" y="933336"/>
                  <a:pt x="1052198" y="933336"/>
                </a:cubicBezTo>
                <a:lnTo>
                  <a:pt x="2195322" y="933336"/>
                </a:lnTo>
                <a:cubicBezTo>
                  <a:pt x="2265464" y="933336"/>
                  <a:pt x="2321328" y="989190"/>
                  <a:pt x="2321328" y="1059342"/>
                </a:cubicBezTo>
                <a:cubicBezTo>
                  <a:pt x="2321328" y="1129484"/>
                  <a:pt x="2265474" y="1185348"/>
                  <a:pt x="2195322" y="1185348"/>
                </a:cubicBezTo>
                <a:lnTo>
                  <a:pt x="1052198" y="1185348"/>
                </a:lnTo>
                <a:cubicBezTo>
                  <a:pt x="982047" y="1185339"/>
                  <a:pt x="926192" y="1129484"/>
                  <a:pt x="926192" y="105934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4" name="Forma libre 438">
            <a:extLst>
              <a:ext uri="{FF2B5EF4-FFF2-40B4-BE49-F238E27FC236}">
                <a16:creationId xmlns:a16="http://schemas.microsoft.com/office/drawing/2014/main" xmlns="" id="{E8C3B254-6D05-194F-BBCF-FD6EF14AD6AF}"/>
              </a:ext>
            </a:extLst>
          </p:cNvPr>
          <p:cNvSpPr/>
          <p:nvPr/>
        </p:nvSpPr>
        <p:spPr>
          <a:xfrm>
            <a:off x="7262125" y="2047669"/>
            <a:ext cx="271701" cy="354647"/>
          </a:xfrm>
          <a:custGeom>
            <a:avLst/>
            <a:gdLst>
              <a:gd name="connsiteX0" fmla="*/ 5249990 w 5247409"/>
              <a:gd name="connsiteY0" fmla="*/ 3266694 h 6849340"/>
              <a:gd name="connsiteX1" fmla="*/ 3719565 w 5247409"/>
              <a:gd name="connsiteY1" fmla="*/ 2394204 h 6849340"/>
              <a:gd name="connsiteX2" fmla="*/ 3069553 w 5247409"/>
              <a:gd name="connsiteY2" fmla="*/ 2479713 h 6849340"/>
              <a:gd name="connsiteX3" fmla="*/ 3069553 w 5247409"/>
              <a:gd name="connsiteY3" fmla="*/ 1813075 h 6849340"/>
              <a:gd name="connsiteX4" fmla="*/ 3069553 w 5247409"/>
              <a:gd name="connsiteY4" fmla="*/ 1787739 h 6849340"/>
              <a:gd name="connsiteX5" fmla="*/ 3069553 w 5247409"/>
              <a:gd name="connsiteY5" fmla="*/ 1762402 h 6849340"/>
              <a:gd name="connsiteX6" fmla="*/ 3069553 w 5247409"/>
              <a:gd name="connsiteY6" fmla="*/ 872490 h 6849340"/>
              <a:gd name="connsiteX7" fmla="*/ 1539136 w 5247409"/>
              <a:gd name="connsiteY7" fmla="*/ 0 h 6849340"/>
              <a:gd name="connsiteX8" fmla="*/ 0 w 5247409"/>
              <a:gd name="connsiteY8" fmla="*/ 872490 h 6849340"/>
              <a:gd name="connsiteX9" fmla="*/ 0 w 5247409"/>
              <a:gd name="connsiteY9" fmla="*/ 1744980 h 6849340"/>
              <a:gd name="connsiteX10" fmla="*/ 0 w 5247409"/>
              <a:gd name="connsiteY10" fmla="*/ 1770317 h 6849340"/>
              <a:gd name="connsiteX11" fmla="*/ 0 w 5247409"/>
              <a:gd name="connsiteY11" fmla="*/ 1795653 h 6849340"/>
              <a:gd name="connsiteX12" fmla="*/ 0 w 5247409"/>
              <a:gd name="connsiteY12" fmla="*/ 2668143 h 6849340"/>
              <a:gd name="connsiteX13" fmla="*/ 0 w 5247409"/>
              <a:gd name="connsiteY13" fmla="*/ 2693480 h 6849340"/>
              <a:gd name="connsiteX14" fmla="*/ 0 w 5247409"/>
              <a:gd name="connsiteY14" fmla="*/ 2718816 h 6849340"/>
              <a:gd name="connsiteX15" fmla="*/ 0 w 5247409"/>
              <a:gd name="connsiteY15" fmla="*/ 3591306 h 6849340"/>
              <a:gd name="connsiteX16" fmla="*/ 0 w 5247409"/>
              <a:gd name="connsiteY16" fmla="*/ 3616643 h 6849340"/>
              <a:gd name="connsiteX17" fmla="*/ 0 w 5247409"/>
              <a:gd name="connsiteY17" fmla="*/ 3641979 h 6849340"/>
              <a:gd name="connsiteX18" fmla="*/ 0 w 5247409"/>
              <a:gd name="connsiteY18" fmla="*/ 4522384 h 6849340"/>
              <a:gd name="connsiteX19" fmla="*/ 1530425 w 5247409"/>
              <a:gd name="connsiteY19" fmla="*/ 5394874 h 6849340"/>
              <a:gd name="connsiteX20" fmla="*/ 2180437 w 5247409"/>
              <a:gd name="connsiteY20" fmla="*/ 5318076 h 6849340"/>
              <a:gd name="connsiteX21" fmla="*/ 2180437 w 5247409"/>
              <a:gd name="connsiteY21" fmla="*/ 5984714 h 6849340"/>
              <a:gd name="connsiteX22" fmla="*/ 3710862 w 5247409"/>
              <a:gd name="connsiteY22" fmla="*/ 6857204 h 6849340"/>
              <a:gd name="connsiteX23" fmla="*/ 5241288 w 5247409"/>
              <a:gd name="connsiteY23" fmla="*/ 5984714 h 6849340"/>
              <a:gd name="connsiteX24" fmla="*/ 5241288 w 5247409"/>
              <a:gd name="connsiteY24" fmla="*/ 5113808 h 6849340"/>
              <a:gd name="connsiteX25" fmla="*/ 5241288 w 5247409"/>
              <a:gd name="connsiteY25" fmla="*/ 5088472 h 6849340"/>
              <a:gd name="connsiteX26" fmla="*/ 5241288 w 5247409"/>
              <a:gd name="connsiteY26" fmla="*/ 5063135 h 6849340"/>
              <a:gd name="connsiteX27" fmla="*/ 5241288 w 5247409"/>
              <a:gd name="connsiteY27" fmla="*/ 4190645 h 6849340"/>
              <a:gd name="connsiteX28" fmla="*/ 5241288 w 5247409"/>
              <a:gd name="connsiteY28" fmla="*/ 4165309 h 6849340"/>
              <a:gd name="connsiteX29" fmla="*/ 5241288 w 5247409"/>
              <a:gd name="connsiteY29" fmla="*/ 4139972 h 6849340"/>
              <a:gd name="connsiteX30" fmla="*/ 5241288 w 5247409"/>
              <a:gd name="connsiteY30" fmla="*/ 3266694 h 6849340"/>
              <a:gd name="connsiteX31" fmla="*/ 5249990 w 5247409"/>
              <a:gd name="connsiteY31" fmla="*/ 3266694 h 6849340"/>
              <a:gd name="connsiteX32" fmla="*/ 402206 w 5247409"/>
              <a:gd name="connsiteY32" fmla="*/ 1471041 h 6849340"/>
              <a:gd name="connsiteX33" fmla="*/ 436254 w 5247409"/>
              <a:gd name="connsiteY33" fmla="*/ 1488463 h 6849340"/>
              <a:gd name="connsiteX34" fmla="*/ 555801 w 5247409"/>
              <a:gd name="connsiteY34" fmla="*/ 1548635 h 6849340"/>
              <a:gd name="connsiteX35" fmla="*/ 555801 w 5247409"/>
              <a:gd name="connsiteY35" fmla="*/ 1548635 h 6849340"/>
              <a:gd name="connsiteX36" fmla="*/ 684060 w 5247409"/>
              <a:gd name="connsiteY36" fmla="*/ 1600096 h 6849340"/>
              <a:gd name="connsiteX37" fmla="*/ 726809 w 5247409"/>
              <a:gd name="connsiteY37" fmla="*/ 1617518 h 6849340"/>
              <a:gd name="connsiteX38" fmla="*/ 821029 w 5247409"/>
              <a:gd name="connsiteY38" fmla="*/ 1651566 h 6849340"/>
              <a:gd name="connsiteX39" fmla="*/ 881201 w 5247409"/>
              <a:gd name="connsiteY39" fmla="*/ 1668988 h 6849340"/>
              <a:gd name="connsiteX40" fmla="*/ 975421 w 5247409"/>
              <a:gd name="connsiteY40" fmla="*/ 1694324 h 6849340"/>
              <a:gd name="connsiteX41" fmla="*/ 1035593 w 5247409"/>
              <a:gd name="connsiteY41" fmla="*/ 1703035 h 6849340"/>
              <a:gd name="connsiteX42" fmla="*/ 1138515 w 5247409"/>
              <a:gd name="connsiteY42" fmla="*/ 1720458 h 6849340"/>
              <a:gd name="connsiteX43" fmla="*/ 1198687 w 5247409"/>
              <a:gd name="connsiteY43" fmla="*/ 1729169 h 6849340"/>
              <a:gd name="connsiteX44" fmla="*/ 1309532 w 5247409"/>
              <a:gd name="connsiteY44" fmla="*/ 1737880 h 6849340"/>
              <a:gd name="connsiteX45" fmla="*/ 1360993 w 5247409"/>
              <a:gd name="connsiteY45" fmla="*/ 1746591 h 6849340"/>
              <a:gd name="connsiteX46" fmla="*/ 1532010 w 5247409"/>
              <a:gd name="connsiteY46" fmla="*/ 1755302 h 6849340"/>
              <a:gd name="connsiteX47" fmla="*/ 1703027 w 5247409"/>
              <a:gd name="connsiteY47" fmla="*/ 1746591 h 6849340"/>
              <a:gd name="connsiteX48" fmla="*/ 1754488 w 5247409"/>
              <a:gd name="connsiteY48" fmla="*/ 1737880 h 6849340"/>
              <a:gd name="connsiteX49" fmla="*/ 1865333 w 5247409"/>
              <a:gd name="connsiteY49" fmla="*/ 1729169 h 6849340"/>
              <a:gd name="connsiteX50" fmla="*/ 1925505 w 5247409"/>
              <a:gd name="connsiteY50" fmla="*/ 1720458 h 6849340"/>
              <a:gd name="connsiteX51" fmla="*/ 2028427 w 5247409"/>
              <a:gd name="connsiteY51" fmla="*/ 1703035 h 6849340"/>
              <a:gd name="connsiteX52" fmla="*/ 2088599 w 5247409"/>
              <a:gd name="connsiteY52" fmla="*/ 1694324 h 6849340"/>
              <a:gd name="connsiteX53" fmla="*/ 2182818 w 5247409"/>
              <a:gd name="connsiteY53" fmla="*/ 1668988 h 6849340"/>
              <a:gd name="connsiteX54" fmla="*/ 2242991 w 5247409"/>
              <a:gd name="connsiteY54" fmla="*/ 1651566 h 6849340"/>
              <a:gd name="connsiteX55" fmla="*/ 2337210 w 5247409"/>
              <a:gd name="connsiteY55" fmla="*/ 1617518 h 6849340"/>
              <a:gd name="connsiteX56" fmla="*/ 2379960 w 5247409"/>
              <a:gd name="connsiteY56" fmla="*/ 1600096 h 6849340"/>
              <a:gd name="connsiteX57" fmla="*/ 2508218 w 5247409"/>
              <a:gd name="connsiteY57" fmla="*/ 1548635 h 6849340"/>
              <a:gd name="connsiteX58" fmla="*/ 2508218 w 5247409"/>
              <a:gd name="connsiteY58" fmla="*/ 1548635 h 6849340"/>
              <a:gd name="connsiteX59" fmla="*/ 2627766 w 5247409"/>
              <a:gd name="connsiteY59" fmla="*/ 1488463 h 6849340"/>
              <a:gd name="connsiteX60" fmla="*/ 2661813 w 5247409"/>
              <a:gd name="connsiteY60" fmla="*/ 1471041 h 6849340"/>
              <a:gd name="connsiteX61" fmla="*/ 2738611 w 5247409"/>
              <a:gd name="connsiteY61" fmla="*/ 1419580 h 6849340"/>
              <a:gd name="connsiteX62" fmla="*/ 2756033 w 5247409"/>
              <a:gd name="connsiteY62" fmla="*/ 1410869 h 6849340"/>
              <a:gd name="connsiteX63" fmla="*/ 2756033 w 5247409"/>
              <a:gd name="connsiteY63" fmla="*/ 1744192 h 6849340"/>
              <a:gd name="connsiteX64" fmla="*/ 1541509 w 5247409"/>
              <a:gd name="connsiteY64" fmla="*/ 2299993 h 6849340"/>
              <a:gd name="connsiteX65" fmla="*/ 326985 w 5247409"/>
              <a:gd name="connsiteY65" fmla="*/ 1744192 h 6849340"/>
              <a:gd name="connsiteX66" fmla="*/ 326985 w 5247409"/>
              <a:gd name="connsiteY66" fmla="*/ 1410869 h 6849340"/>
              <a:gd name="connsiteX67" fmla="*/ 344407 w 5247409"/>
              <a:gd name="connsiteY67" fmla="*/ 1419580 h 6849340"/>
              <a:gd name="connsiteX68" fmla="*/ 402206 w 5247409"/>
              <a:gd name="connsiteY68" fmla="*/ 1471041 h 6849340"/>
              <a:gd name="connsiteX69" fmla="*/ 3010177 w 5247409"/>
              <a:gd name="connsiteY69" fmla="*/ 4036262 h 6849340"/>
              <a:gd name="connsiteX70" fmla="*/ 3070349 w 5247409"/>
              <a:gd name="connsiteY70" fmla="*/ 4053684 h 6849340"/>
              <a:gd name="connsiteX71" fmla="*/ 3164569 w 5247409"/>
              <a:gd name="connsiteY71" fmla="*/ 4079021 h 6849340"/>
              <a:gd name="connsiteX72" fmla="*/ 3224741 w 5247409"/>
              <a:gd name="connsiteY72" fmla="*/ 4087732 h 6849340"/>
              <a:gd name="connsiteX73" fmla="*/ 3327663 w 5247409"/>
              <a:gd name="connsiteY73" fmla="*/ 4105154 h 6849340"/>
              <a:gd name="connsiteX74" fmla="*/ 3387835 w 5247409"/>
              <a:gd name="connsiteY74" fmla="*/ 4113865 h 6849340"/>
              <a:gd name="connsiteX75" fmla="*/ 3498680 w 5247409"/>
              <a:gd name="connsiteY75" fmla="*/ 4122576 h 6849340"/>
              <a:gd name="connsiteX76" fmla="*/ 3550141 w 5247409"/>
              <a:gd name="connsiteY76" fmla="*/ 4131287 h 6849340"/>
              <a:gd name="connsiteX77" fmla="*/ 3721158 w 5247409"/>
              <a:gd name="connsiteY77" fmla="*/ 4139998 h 6849340"/>
              <a:gd name="connsiteX78" fmla="*/ 3892175 w 5247409"/>
              <a:gd name="connsiteY78" fmla="*/ 4131287 h 6849340"/>
              <a:gd name="connsiteX79" fmla="*/ 3943636 w 5247409"/>
              <a:gd name="connsiteY79" fmla="*/ 4122576 h 6849340"/>
              <a:gd name="connsiteX80" fmla="*/ 4054481 w 5247409"/>
              <a:gd name="connsiteY80" fmla="*/ 4113865 h 6849340"/>
              <a:gd name="connsiteX81" fmla="*/ 4114653 w 5247409"/>
              <a:gd name="connsiteY81" fmla="*/ 4105154 h 6849340"/>
              <a:gd name="connsiteX82" fmla="*/ 4217575 w 5247409"/>
              <a:gd name="connsiteY82" fmla="*/ 4087732 h 6849340"/>
              <a:gd name="connsiteX83" fmla="*/ 4277747 w 5247409"/>
              <a:gd name="connsiteY83" fmla="*/ 4079021 h 6849340"/>
              <a:gd name="connsiteX84" fmla="*/ 4371966 w 5247409"/>
              <a:gd name="connsiteY84" fmla="*/ 4053684 h 6849340"/>
              <a:gd name="connsiteX85" fmla="*/ 4432139 w 5247409"/>
              <a:gd name="connsiteY85" fmla="*/ 4036262 h 6849340"/>
              <a:gd name="connsiteX86" fmla="*/ 4526358 w 5247409"/>
              <a:gd name="connsiteY86" fmla="*/ 4002215 h 6849340"/>
              <a:gd name="connsiteX87" fmla="*/ 4569117 w 5247409"/>
              <a:gd name="connsiteY87" fmla="*/ 3984793 h 6849340"/>
              <a:gd name="connsiteX88" fmla="*/ 4697375 w 5247409"/>
              <a:gd name="connsiteY88" fmla="*/ 3933332 h 6849340"/>
              <a:gd name="connsiteX89" fmla="*/ 4697375 w 5247409"/>
              <a:gd name="connsiteY89" fmla="*/ 3933332 h 6849340"/>
              <a:gd name="connsiteX90" fmla="*/ 4816931 w 5247409"/>
              <a:gd name="connsiteY90" fmla="*/ 3873160 h 6849340"/>
              <a:gd name="connsiteX91" fmla="*/ 4850979 w 5247409"/>
              <a:gd name="connsiteY91" fmla="*/ 3855738 h 6849340"/>
              <a:gd name="connsiteX92" fmla="*/ 4927777 w 5247409"/>
              <a:gd name="connsiteY92" fmla="*/ 3804276 h 6849340"/>
              <a:gd name="connsiteX93" fmla="*/ 4945198 w 5247409"/>
              <a:gd name="connsiteY93" fmla="*/ 3795565 h 6849340"/>
              <a:gd name="connsiteX94" fmla="*/ 4945198 w 5247409"/>
              <a:gd name="connsiteY94" fmla="*/ 4128888 h 6849340"/>
              <a:gd name="connsiteX95" fmla="*/ 3730674 w 5247409"/>
              <a:gd name="connsiteY95" fmla="*/ 4684689 h 6849340"/>
              <a:gd name="connsiteX96" fmla="*/ 2943693 w 5247409"/>
              <a:gd name="connsiteY96" fmla="*/ 4547720 h 6849340"/>
              <a:gd name="connsiteX97" fmla="*/ 2934982 w 5247409"/>
              <a:gd name="connsiteY97" fmla="*/ 4539009 h 6849340"/>
              <a:gd name="connsiteX98" fmla="*/ 2516150 w 5247409"/>
              <a:gd name="connsiteY98" fmla="*/ 4179561 h 6849340"/>
              <a:gd name="connsiteX99" fmla="*/ 2516150 w 5247409"/>
              <a:gd name="connsiteY99" fmla="*/ 4170850 h 6849340"/>
              <a:gd name="connsiteX100" fmla="*/ 2516150 w 5247409"/>
              <a:gd name="connsiteY100" fmla="*/ 4145514 h 6849340"/>
              <a:gd name="connsiteX101" fmla="*/ 2516150 w 5247409"/>
              <a:gd name="connsiteY101" fmla="*/ 4145514 h 6849340"/>
              <a:gd name="connsiteX102" fmla="*/ 2516150 w 5247409"/>
              <a:gd name="connsiteY102" fmla="*/ 3786066 h 6849340"/>
              <a:gd name="connsiteX103" fmla="*/ 2558900 w 5247409"/>
              <a:gd name="connsiteY103" fmla="*/ 3820114 h 6849340"/>
              <a:gd name="connsiteX104" fmla="*/ 2558900 w 5247409"/>
              <a:gd name="connsiteY104" fmla="*/ 3820114 h 6849340"/>
              <a:gd name="connsiteX105" fmla="*/ 2567611 w 5247409"/>
              <a:gd name="connsiteY105" fmla="*/ 3820114 h 6849340"/>
              <a:gd name="connsiteX106" fmla="*/ 2585033 w 5247409"/>
              <a:gd name="connsiteY106" fmla="*/ 3828825 h 6849340"/>
              <a:gd name="connsiteX107" fmla="*/ 2585033 w 5247409"/>
              <a:gd name="connsiteY107" fmla="*/ 3828825 h 6849340"/>
              <a:gd name="connsiteX108" fmla="*/ 2627783 w 5247409"/>
              <a:gd name="connsiteY108" fmla="*/ 3854162 h 6849340"/>
              <a:gd name="connsiteX109" fmla="*/ 2627783 w 5247409"/>
              <a:gd name="connsiteY109" fmla="*/ 3854162 h 6849340"/>
              <a:gd name="connsiteX110" fmla="*/ 2670533 w 5247409"/>
              <a:gd name="connsiteY110" fmla="*/ 3879498 h 6849340"/>
              <a:gd name="connsiteX111" fmla="*/ 2679244 w 5247409"/>
              <a:gd name="connsiteY111" fmla="*/ 3879498 h 6849340"/>
              <a:gd name="connsiteX112" fmla="*/ 2696666 w 5247409"/>
              <a:gd name="connsiteY112" fmla="*/ 3888209 h 6849340"/>
              <a:gd name="connsiteX113" fmla="*/ 2807511 w 5247409"/>
              <a:gd name="connsiteY113" fmla="*/ 3939670 h 6849340"/>
              <a:gd name="connsiteX114" fmla="*/ 2807511 w 5247409"/>
              <a:gd name="connsiteY114" fmla="*/ 3939670 h 6849340"/>
              <a:gd name="connsiteX115" fmla="*/ 2832848 w 5247409"/>
              <a:gd name="connsiteY115" fmla="*/ 3948381 h 6849340"/>
              <a:gd name="connsiteX116" fmla="*/ 2893020 w 5247409"/>
              <a:gd name="connsiteY116" fmla="*/ 3973718 h 6849340"/>
              <a:gd name="connsiteX117" fmla="*/ 2935770 w 5247409"/>
              <a:gd name="connsiteY117" fmla="*/ 3991140 h 6849340"/>
              <a:gd name="connsiteX118" fmla="*/ 3010177 w 5247409"/>
              <a:gd name="connsiteY118" fmla="*/ 4036262 h 6849340"/>
              <a:gd name="connsiteX119" fmla="*/ 2189148 w 5247409"/>
              <a:gd name="connsiteY119" fmla="*/ 4062387 h 6849340"/>
              <a:gd name="connsiteX120" fmla="*/ 1539136 w 5247409"/>
              <a:gd name="connsiteY120" fmla="*/ 4156606 h 6849340"/>
              <a:gd name="connsiteX121" fmla="*/ 324621 w 5247409"/>
              <a:gd name="connsiteY121" fmla="*/ 3600805 h 6849340"/>
              <a:gd name="connsiteX122" fmla="*/ 324621 w 5247409"/>
              <a:gd name="connsiteY122" fmla="*/ 3267482 h 6849340"/>
              <a:gd name="connsiteX123" fmla="*/ 1539145 w 5247409"/>
              <a:gd name="connsiteY123" fmla="*/ 3600805 h 6849340"/>
              <a:gd name="connsiteX124" fmla="*/ 2189157 w 5247409"/>
              <a:gd name="connsiteY124" fmla="*/ 3524008 h 6849340"/>
              <a:gd name="connsiteX125" fmla="*/ 2189148 w 5247409"/>
              <a:gd name="connsiteY125" fmla="*/ 4062387 h 6849340"/>
              <a:gd name="connsiteX126" fmla="*/ 2189148 w 5247409"/>
              <a:gd name="connsiteY126" fmla="*/ 4062387 h 6849340"/>
              <a:gd name="connsiteX127" fmla="*/ 4934089 w 5247409"/>
              <a:gd name="connsiteY127" fmla="*/ 5062347 h 6849340"/>
              <a:gd name="connsiteX128" fmla="*/ 3719565 w 5247409"/>
              <a:gd name="connsiteY128" fmla="*/ 5618148 h 6849340"/>
              <a:gd name="connsiteX129" fmla="*/ 2505041 w 5247409"/>
              <a:gd name="connsiteY129" fmla="*/ 5087684 h 6849340"/>
              <a:gd name="connsiteX130" fmla="*/ 2505041 w 5247409"/>
              <a:gd name="connsiteY130" fmla="*/ 5087684 h 6849340"/>
              <a:gd name="connsiteX131" fmla="*/ 2505041 w 5247409"/>
              <a:gd name="connsiteY131" fmla="*/ 4728236 h 6849340"/>
              <a:gd name="connsiteX132" fmla="*/ 2736229 w 5247409"/>
              <a:gd name="connsiteY132" fmla="*/ 4865206 h 6849340"/>
              <a:gd name="connsiteX133" fmla="*/ 2736229 w 5247409"/>
              <a:gd name="connsiteY133" fmla="*/ 4865206 h 6849340"/>
              <a:gd name="connsiteX134" fmla="*/ 2778979 w 5247409"/>
              <a:gd name="connsiteY134" fmla="*/ 4882628 h 6849340"/>
              <a:gd name="connsiteX135" fmla="*/ 2804316 w 5247409"/>
              <a:gd name="connsiteY135" fmla="*/ 4891339 h 6849340"/>
              <a:gd name="connsiteX136" fmla="*/ 3719565 w 5247409"/>
              <a:gd name="connsiteY136" fmla="*/ 5062356 h 6849340"/>
              <a:gd name="connsiteX137" fmla="*/ 4934089 w 5247409"/>
              <a:gd name="connsiteY137" fmla="*/ 4729033 h 6849340"/>
              <a:gd name="connsiteX138" fmla="*/ 4934089 w 5247409"/>
              <a:gd name="connsiteY138" fmla="*/ 5062347 h 6849340"/>
              <a:gd name="connsiteX139" fmla="*/ 2299993 w 5247409"/>
              <a:gd name="connsiteY139" fmla="*/ 2924669 h 6849340"/>
              <a:gd name="connsiteX140" fmla="*/ 2257243 w 5247409"/>
              <a:gd name="connsiteY140" fmla="*/ 2984841 h 6849340"/>
              <a:gd name="connsiteX141" fmla="*/ 2239821 w 5247409"/>
              <a:gd name="connsiteY141" fmla="*/ 3018888 h 6849340"/>
              <a:gd name="connsiteX142" fmla="*/ 2222399 w 5247409"/>
              <a:gd name="connsiteY142" fmla="*/ 3061638 h 6849340"/>
              <a:gd name="connsiteX143" fmla="*/ 2204977 w 5247409"/>
              <a:gd name="connsiteY143" fmla="*/ 3104388 h 6849340"/>
              <a:gd name="connsiteX144" fmla="*/ 2196266 w 5247409"/>
              <a:gd name="connsiteY144" fmla="*/ 3121810 h 6849340"/>
              <a:gd name="connsiteX145" fmla="*/ 1529628 w 5247409"/>
              <a:gd name="connsiteY145" fmla="*/ 3224732 h 6849340"/>
              <a:gd name="connsiteX146" fmla="*/ 315113 w 5247409"/>
              <a:gd name="connsiteY146" fmla="*/ 2668931 h 6849340"/>
              <a:gd name="connsiteX147" fmla="*/ 315113 w 5247409"/>
              <a:gd name="connsiteY147" fmla="*/ 2335617 h 6849340"/>
              <a:gd name="connsiteX148" fmla="*/ 1529637 w 5247409"/>
              <a:gd name="connsiteY148" fmla="*/ 2668940 h 6849340"/>
              <a:gd name="connsiteX149" fmla="*/ 2744161 w 5247409"/>
              <a:gd name="connsiteY149" fmla="*/ 2335617 h 6849340"/>
              <a:gd name="connsiteX150" fmla="*/ 2744161 w 5247409"/>
              <a:gd name="connsiteY150" fmla="*/ 2574720 h 6849340"/>
              <a:gd name="connsiteX151" fmla="*/ 2299205 w 5247409"/>
              <a:gd name="connsiteY151" fmla="*/ 2908043 h 6849340"/>
              <a:gd name="connsiteX152" fmla="*/ 2299993 w 5247409"/>
              <a:gd name="connsiteY152" fmla="*/ 2924669 h 6849340"/>
              <a:gd name="connsiteX153" fmla="*/ 4934089 w 5247409"/>
              <a:gd name="connsiteY153" fmla="*/ 3266694 h 6849340"/>
              <a:gd name="connsiteX154" fmla="*/ 3719565 w 5247409"/>
              <a:gd name="connsiteY154" fmla="*/ 3822495 h 6849340"/>
              <a:gd name="connsiteX155" fmla="*/ 2898536 w 5247409"/>
              <a:gd name="connsiteY155" fmla="*/ 3668900 h 6849340"/>
              <a:gd name="connsiteX156" fmla="*/ 2898536 w 5247409"/>
              <a:gd name="connsiteY156" fmla="*/ 3668900 h 6849340"/>
              <a:gd name="connsiteX157" fmla="*/ 2821738 w 5247409"/>
              <a:gd name="connsiteY157" fmla="*/ 3634853 h 6849340"/>
              <a:gd name="connsiteX158" fmla="*/ 2821738 w 5247409"/>
              <a:gd name="connsiteY158" fmla="*/ 3634853 h 6849340"/>
              <a:gd name="connsiteX159" fmla="*/ 2821738 w 5247409"/>
              <a:gd name="connsiteY159" fmla="*/ 3634853 h 6849340"/>
              <a:gd name="connsiteX160" fmla="*/ 2821738 w 5247409"/>
              <a:gd name="connsiteY160" fmla="*/ 3634853 h 6849340"/>
              <a:gd name="connsiteX161" fmla="*/ 2813027 w 5247409"/>
              <a:gd name="connsiteY161" fmla="*/ 3626142 h 6849340"/>
              <a:gd name="connsiteX162" fmla="*/ 2804316 w 5247409"/>
              <a:gd name="connsiteY162" fmla="*/ 3626142 h 6849340"/>
              <a:gd name="connsiteX163" fmla="*/ 2770268 w 5247409"/>
              <a:gd name="connsiteY163" fmla="*/ 3608720 h 6849340"/>
              <a:gd name="connsiteX164" fmla="*/ 2736221 w 5247409"/>
              <a:gd name="connsiteY164" fmla="*/ 3583383 h 6849340"/>
              <a:gd name="connsiteX165" fmla="*/ 2736221 w 5247409"/>
              <a:gd name="connsiteY165" fmla="*/ 3583383 h 6849340"/>
              <a:gd name="connsiteX166" fmla="*/ 2727510 w 5247409"/>
              <a:gd name="connsiteY166" fmla="*/ 3574672 h 6849340"/>
              <a:gd name="connsiteX167" fmla="*/ 2718799 w 5247409"/>
              <a:gd name="connsiteY167" fmla="*/ 3574672 h 6849340"/>
              <a:gd name="connsiteX168" fmla="*/ 2667338 w 5247409"/>
              <a:gd name="connsiteY168" fmla="*/ 3531922 h 6849340"/>
              <a:gd name="connsiteX169" fmla="*/ 2667338 w 5247409"/>
              <a:gd name="connsiteY169" fmla="*/ 3531922 h 6849340"/>
              <a:gd name="connsiteX170" fmla="*/ 2658627 w 5247409"/>
              <a:gd name="connsiteY170" fmla="*/ 3531922 h 6849340"/>
              <a:gd name="connsiteX171" fmla="*/ 2658627 w 5247409"/>
              <a:gd name="connsiteY171" fmla="*/ 3531922 h 6849340"/>
              <a:gd name="connsiteX172" fmla="*/ 2633290 w 5247409"/>
              <a:gd name="connsiteY172" fmla="*/ 3506586 h 6849340"/>
              <a:gd name="connsiteX173" fmla="*/ 2633290 w 5247409"/>
              <a:gd name="connsiteY173" fmla="*/ 3506586 h 6849340"/>
              <a:gd name="connsiteX174" fmla="*/ 2607954 w 5247409"/>
              <a:gd name="connsiteY174" fmla="*/ 3489163 h 6849340"/>
              <a:gd name="connsiteX175" fmla="*/ 2607954 w 5247409"/>
              <a:gd name="connsiteY175" fmla="*/ 3489163 h 6849340"/>
              <a:gd name="connsiteX176" fmla="*/ 2607954 w 5247409"/>
              <a:gd name="connsiteY176" fmla="*/ 3489163 h 6849340"/>
              <a:gd name="connsiteX177" fmla="*/ 2607954 w 5247409"/>
              <a:gd name="connsiteY177" fmla="*/ 3489163 h 6849340"/>
              <a:gd name="connsiteX178" fmla="*/ 2582617 w 5247409"/>
              <a:gd name="connsiteY178" fmla="*/ 3463827 h 6849340"/>
              <a:gd name="connsiteX179" fmla="*/ 2565195 w 5247409"/>
              <a:gd name="connsiteY179" fmla="*/ 3438491 h 6849340"/>
              <a:gd name="connsiteX180" fmla="*/ 2565195 w 5247409"/>
              <a:gd name="connsiteY180" fmla="*/ 3438491 h 6849340"/>
              <a:gd name="connsiteX181" fmla="*/ 2565195 w 5247409"/>
              <a:gd name="connsiteY181" fmla="*/ 3438491 h 6849340"/>
              <a:gd name="connsiteX182" fmla="*/ 2547773 w 5247409"/>
              <a:gd name="connsiteY182" fmla="*/ 3413154 h 6849340"/>
              <a:gd name="connsiteX183" fmla="*/ 2530351 w 5247409"/>
              <a:gd name="connsiteY183" fmla="*/ 3387817 h 6849340"/>
              <a:gd name="connsiteX184" fmla="*/ 2530351 w 5247409"/>
              <a:gd name="connsiteY184" fmla="*/ 3387817 h 6849340"/>
              <a:gd name="connsiteX185" fmla="*/ 2505014 w 5247409"/>
              <a:gd name="connsiteY185" fmla="*/ 3293598 h 6849340"/>
              <a:gd name="connsiteX186" fmla="*/ 2505014 w 5247409"/>
              <a:gd name="connsiteY186" fmla="*/ 3293598 h 6849340"/>
              <a:gd name="connsiteX187" fmla="*/ 2505014 w 5247409"/>
              <a:gd name="connsiteY187" fmla="*/ 3293598 h 6849340"/>
              <a:gd name="connsiteX188" fmla="*/ 2505014 w 5247409"/>
              <a:gd name="connsiteY188" fmla="*/ 3276176 h 6849340"/>
              <a:gd name="connsiteX189" fmla="*/ 2505014 w 5247409"/>
              <a:gd name="connsiteY189" fmla="*/ 3276176 h 6849340"/>
              <a:gd name="connsiteX190" fmla="*/ 2505014 w 5247409"/>
              <a:gd name="connsiteY190" fmla="*/ 3276176 h 6849340"/>
              <a:gd name="connsiteX191" fmla="*/ 2513726 w 5247409"/>
              <a:gd name="connsiteY191" fmla="*/ 3216004 h 6849340"/>
              <a:gd name="connsiteX192" fmla="*/ 2513726 w 5247409"/>
              <a:gd name="connsiteY192" fmla="*/ 3216004 h 6849340"/>
              <a:gd name="connsiteX193" fmla="*/ 2966596 w 5247409"/>
              <a:gd name="connsiteY193" fmla="*/ 2856556 h 6849340"/>
              <a:gd name="connsiteX194" fmla="*/ 2975307 w 5247409"/>
              <a:gd name="connsiteY194" fmla="*/ 2856556 h 6849340"/>
              <a:gd name="connsiteX195" fmla="*/ 3727453 w 5247409"/>
              <a:gd name="connsiteY195" fmla="*/ 2728298 h 6849340"/>
              <a:gd name="connsiteX196" fmla="*/ 4934089 w 5247409"/>
              <a:gd name="connsiteY196" fmla="*/ 3266694 h 6849340"/>
              <a:gd name="connsiteX197" fmla="*/ 1530425 w 5247409"/>
              <a:gd name="connsiteY197" fmla="*/ 316698 h 6849340"/>
              <a:gd name="connsiteX198" fmla="*/ 2744949 w 5247409"/>
              <a:gd name="connsiteY198" fmla="*/ 872499 h 6849340"/>
              <a:gd name="connsiteX199" fmla="*/ 1530425 w 5247409"/>
              <a:gd name="connsiteY199" fmla="*/ 1428300 h 6849340"/>
              <a:gd name="connsiteX200" fmla="*/ 315901 w 5247409"/>
              <a:gd name="connsiteY200" fmla="*/ 872499 h 6849340"/>
              <a:gd name="connsiteX201" fmla="*/ 1530425 w 5247409"/>
              <a:gd name="connsiteY201" fmla="*/ 316698 h 6849340"/>
              <a:gd name="connsiteX202" fmla="*/ 316698 w 5247409"/>
              <a:gd name="connsiteY202" fmla="*/ 4523968 h 6849340"/>
              <a:gd name="connsiteX203" fmla="*/ 316698 w 5247409"/>
              <a:gd name="connsiteY203" fmla="*/ 4190645 h 6849340"/>
              <a:gd name="connsiteX204" fmla="*/ 1531213 w 5247409"/>
              <a:gd name="connsiteY204" fmla="*/ 4523968 h 6849340"/>
              <a:gd name="connsiteX205" fmla="*/ 2181225 w 5247409"/>
              <a:gd name="connsiteY205" fmla="*/ 4447171 h 6849340"/>
              <a:gd name="connsiteX206" fmla="*/ 2181225 w 5247409"/>
              <a:gd name="connsiteY206" fmla="*/ 4994261 h 6849340"/>
              <a:gd name="connsiteX207" fmla="*/ 1531213 w 5247409"/>
              <a:gd name="connsiteY207" fmla="*/ 5088480 h 6849340"/>
              <a:gd name="connsiteX208" fmla="*/ 316698 w 5247409"/>
              <a:gd name="connsiteY208" fmla="*/ 4523968 h 6849340"/>
              <a:gd name="connsiteX209" fmla="*/ 4934089 w 5247409"/>
              <a:gd name="connsiteY209" fmla="*/ 5986298 h 6849340"/>
              <a:gd name="connsiteX210" fmla="*/ 3719565 w 5247409"/>
              <a:gd name="connsiteY210" fmla="*/ 6542099 h 6849340"/>
              <a:gd name="connsiteX211" fmla="*/ 2505041 w 5247409"/>
              <a:gd name="connsiteY211" fmla="*/ 5986298 h 6849340"/>
              <a:gd name="connsiteX212" fmla="*/ 2505041 w 5247409"/>
              <a:gd name="connsiteY212" fmla="*/ 5652975 h 6849340"/>
              <a:gd name="connsiteX213" fmla="*/ 3719565 w 5247409"/>
              <a:gd name="connsiteY213" fmla="*/ 5986298 h 6849340"/>
              <a:gd name="connsiteX214" fmla="*/ 4934089 w 5247409"/>
              <a:gd name="connsiteY214" fmla="*/ 5652975 h 6849340"/>
              <a:gd name="connsiteX215" fmla="*/ 4934089 w 5247409"/>
              <a:gd name="connsiteY215" fmla="*/ 5986298 h 684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5247409" h="6849340">
                <a:moveTo>
                  <a:pt x="5249990" y="3266694"/>
                </a:moveTo>
                <a:cubicBezTo>
                  <a:pt x="5249990" y="2778988"/>
                  <a:pt x="4574641" y="2394204"/>
                  <a:pt x="3719565" y="2394204"/>
                </a:cubicBezTo>
                <a:cubicBezTo>
                  <a:pt x="3480461" y="2394204"/>
                  <a:pt x="3266694" y="2419541"/>
                  <a:pt x="3069553" y="2479713"/>
                </a:cubicBezTo>
                <a:lnTo>
                  <a:pt x="3069553" y="1813075"/>
                </a:lnTo>
                <a:cubicBezTo>
                  <a:pt x="3069553" y="1804364"/>
                  <a:pt x="3069553" y="1795653"/>
                  <a:pt x="3069553" y="1787739"/>
                </a:cubicBezTo>
                <a:cubicBezTo>
                  <a:pt x="3069553" y="1779028"/>
                  <a:pt x="3069553" y="1770317"/>
                  <a:pt x="3069553" y="1762402"/>
                </a:cubicBezTo>
                <a:lnTo>
                  <a:pt x="3069553" y="872490"/>
                </a:lnTo>
                <a:cubicBezTo>
                  <a:pt x="3069553" y="384784"/>
                  <a:pt x="2394204" y="0"/>
                  <a:pt x="1539136" y="0"/>
                </a:cubicBezTo>
                <a:cubicBezTo>
                  <a:pt x="675349" y="0"/>
                  <a:pt x="0" y="384784"/>
                  <a:pt x="0" y="872490"/>
                </a:cubicBezTo>
                <a:lnTo>
                  <a:pt x="0" y="1744980"/>
                </a:lnTo>
                <a:cubicBezTo>
                  <a:pt x="0" y="1753691"/>
                  <a:pt x="0" y="1762402"/>
                  <a:pt x="0" y="1770317"/>
                </a:cubicBezTo>
                <a:cubicBezTo>
                  <a:pt x="0" y="1779028"/>
                  <a:pt x="0" y="1787739"/>
                  <a:pt x="0" y="1795653"/>
                </a:cubicBezTo>
                <a:lnTo>
                  <a:pt x="0" y="2668143"/>
                </a:lnTo>
                <a:cubicBezTo>
                  <a:pt x="0" y="2676854"/>
                  <a:pt x="0" y="2685565"/>
                  <a:pt x="0" y="2693480"/>
                </a:cubicBezTo>
                <a:cubicBezTo>
                  <a:pt x="0" y="2701394"/>
                  <a:pt x="0" y="2710902"/>
                  <a:pt x="0" y="2718816"/>
                </a:cubicBezTo>
                <a:lnTo>
                  <a:pt x="0" y="3591306"/>
                </a:lnTo>
                <a:cubicBezTo>
                  <a:pt x="0" y="3600017"/>
                  <a:pt x="0" y="3608728"/>
                  <a:pt x="0" y="3616643"/>
                </a:cubicBezTo>
                <a:cubicBezTo>
                  <a:pt x="0" y="3624557"/>
                  <a:pt x="0" y="3634065"/>
                  <a:pt x="0" y="3641979"/>
                </a:cubicBezTo>
                <a:lnTo>
                  <a:pt x="0" y="4522384"/>
                </a:lnTo>
                <a:cubicBezTo>
                  <a:pt x="0" y="5010090"/>
                  <a:pt x="675349" y="5394874"/>
                  <a:pt x="1530425" y="5394874"/>
                </a:cubicBezTo>
                <a:cubicBezTo>
                  <a:pt x="1761614" y="5394874"/>
                  <a:pt x="1983295" y="5369537"/>
                  <a:pt x="2180437" y="5318076"/>
                </a:cubicBezTo>
                <a:lnTo>
                  <a:pt x="2180437" y="5984714"/>
                </a:lnTo>
                <a:cubicBezTo>
                  <a:pt x="2180437" y="6472420"/>
                  <a:pt x="2855786" y="6857204"/>
                  <a:pt x="3710862" y="6857204"/>
                </a:cubicBezTo>
                <a:cubicBezTo>
                  <a:pt x="4565939" y="6857204"/>
                  <a:pt x="5241288" y="6472420"/>
                  <a:pt x="5241288" y="5984714"/>
                </a:cubicBezTo>
                <a:lnTo>
                  <a:pt x="5241288" y="5113808"/>
                </a:lnTo>
                <a:cubicBezTo>
                  <a:pt x="5241288" y="5105097"/>
                  <a:pt x="5241288" y="5096386"/>
                  <a:pt x="5241288" y="5088472"/>
                </a:cubicBezTo>
                <a:cubicBezTo>
                  <a:pt x="5241288" y="5079760"/>
                  <a:pt x="5241288" y="5071050"/>
                  <a:pt x="5241288" y="5063135"/>
                </a:cubicBezTo>
                <a:lnTo>
                  <a:pt x="5241288" y="4190645"/>
                </a:lnTo>
                <a:cubicBezTo>
                  <a:pt x="5241288" y="4181934"/>
                  <a:pt x="5241288" y="4173223"/>
                  <a:pt x="5241288" y="4165309"/>
                </a:cubicBezTo>
                <a:cubicBezTo>
                  <a:pt x="5241288" y="4156598"/>
                  <a:pt x="5241288" y="4147886"/>
                  <a:pt x="5241288" y="4139972"/>
                </a:cubicBezTo>
                <a:lnTo>
                  <a:pt x="5241288" y="3266694"/>
                </a:lnTo>
                <a:lnTo>
                  <a:pt x="5249990" y="3266694"/>
                </a:lnTo>
                <a:close/>
                <a:moveTo>
                  <a:pt x="402206" y="1471041"/>
                </a:moveTo>
                <a:cubicBezTo>
                  <a:pt x="410917" y="1479752"/>
                  <a:pt x="427543" y="1488463"/>
                  <a:pt x="436254" y="1488463"/>
                </a:cubicBezTo>
                <a:cubicBezTo>
                  <a:pt x="470301" y="1513800"/>
                  <a:pt x="513051" y="1531213"/>
                  <a:pt x="555801" y="1548635"/>
                </a:cubicBezTo>
                <a:lnTo>
                  <a:pt x="555801" y="1548635"/>
                </a:lnTo>
                <a:cubicBezTo>
                  <a:pt x="598551" y="1566057"/>
                  <a:pt x="641310" y="1582683"/>
                  <a:pt x="684060" y="1600096"/>
                </a:cubicBezTo>
                <a:cubicBezTo>
                  <a:pt x="701482" y="1608807"/>
                  <a:pt x="718107" y="1608807"/>
                  <a:pt x="726809" y="1617518"/>
                </a:cubicBezTo>
                <a:cubicBezTo>
                  <a:pt x="760857" y="1626229"/>
                  <a:pt x="786982" y="1634940"/>
                  <a:pt x="821029" y="1651566"/>
                </a:cubicBezTo>
                <a:cubicBezTo>
                  <a:pt x="838451" y="1660277"/>
                  <a:pt x="855077" y="1660277"/>
                  <a:pt x="881201" y="1668988"/>
                </a:cubicBezTo>
                <a:cubicBezTo>
                  <a:pt x="915249" y="1677699"/>
                  <a:pt x="941373" y="1686410"/>
                  <a:pt x="975421" y="1694324"/>
                </a:cubicBezTo>
                <a:cubicBezTo>
                  <a:pt x="992843" y="1703035"/>
                  <a:pt x="1018171" y="1703035"/>
                  <a:pt x="1035593" y="1703035"/>
                </a:cubicBezTo>
                <a:cubicBezTo>
                  <a:pt x="1069640" y="1711747"/>
                  <a:pt x="1103679" y="1711747"/>
                  <a:pt x="1138515" y="1720458"/>
                </a:cubicBezTo>
                <a:cubicBezTo>
                  <a:pt x="1155937" y="1720458"/>
                  <a:pt x="1181265" y="1729169"/>
                  <a:pt x="1198687" y="1729169"/>
                </a:cubicBezTo>
                <a:cubicBezTo>
                  <a:pt x="1232734" y="1737880"/>
                  <a:pt x="1275484" y="1737880"/>
                  <a:pt x="1309532" y="1737880"/>
                </a:cubicBezTo>
                <a:cubicBezTo>
                  <a:pt x="1326954" y="1737880"/>
                  <a:pt x="1343579" y="1737880"/>
                  <a:pt x="1360993" y="1746591"/>
                </a:cubicBezTo>
                <a:cubicBezTo>
                  <a:pt x="1421165" y="1746591"/>
                  <a:pt x="1471838" y="1755302"/>
                  <a:pt x="1532010" y="1755302"/>
                </a:cubicBezTo>
                <a:cubicBezTo>
                  <a:pt x="1592182" y="1755302"/>
                  <a:pt x="1651557" y="1755302"/>
                  <a:pt x="1703027" y="1746591"/>
                </a:cubicBezTo>
                <a:cubicBezTo>
                  <a:pt x="1720449" y="1746591"/>
                  <a:pt x="1737074" y="1746591"/>
                  <a:pt x="1754488" y="1737880"/>
                </a:cubicBezTo>
                <a:cubicBezTo>
                  <a:pt x="1788535" y="1737880"/>
                  <a:pt x="1831285" y="1729169"/>
                  <a:pt x="1865333" y="1729169"/>
                </a:cubicBezTo>
                <a:cubicBezTo>
                  <a:pt x="1882755" y="1729169"/>
                  <a:pt x="1908083" y="1720458"/>
                  <a:pt x="1925505" y="1720458"/>
                </a:cubicBezTo>
                <a:cubicBezTo>
                  <a:pt x="1959552" y="1711747"/>
                  <a:pt x="1993591" y="1711747"/>
                  <a:pt x="2028427" y="1703035"/>
                </a:cubicBezTo>
                <a:cubicBezTo>
                  <a:pt x="2045849" y="1703035"/>
                  <a:pt x="2071177" y="1694324"/>
                  <a:pt x="2088599" y="1694324"/>
                </a:cubicBezTo>
                <a:cubicBezTo>
                  <a:pt x="2122646" y="1685613"/>
                  <a:pt x="2148771" y="1676902"/>
                  <a:pt x="2182818" y="1668988"/>
                </a:cubicBezTo>
                <a:cubicBezTo>
                  <a:pt x="2200240" y="1660277"/>
                  <a:pt x="2216866" y="1660277"/>
                  <a:pt x="2242991" y="1651566"/>
                </a:cubicBezTo>
                <a:cubicBezTo>
                  <a:pt x="2277038" y="1642855"/>
                  <a:pt x="2303162" y="1634144"/>
                  <a:pt x="2337210" y="1617518"/>
                </a:cubicBezTo>
                <a:cubicBezTo>
                  <a:pt x="2354632" y="1608807"/>
                  <a:pt x="2371258" y="1608807"/>
                  <a:pt x="2379960" y="1600096"/>
                </a:cubicBezTo>
                <a:cubicBezTo>
                  <a:pt x="2422710" y="1582674"/>
                  <a:pt x="2465468" y="1566049"/>
                  <a:pt x="2508218" y="1548635"/>
                </a:cubicBezTo>
                <a:lnTo>
                  <a:pt x="2508218" y="1548635"/>
                </a:lnTo>
                <a:cubicBezTo>
                  <a:pt x="2550968" y="1531213"/>
                  <a:pt x="2585016" y="1505885"/>
                  <a:pt x="2627766" y="1488463"/>
                </a:cubicBezTo>
                <a:cubicBezTo>
                  <a:pt x="2636477" y="1479752"/>
                  <a:pt x="2653102" y="1471041"/>
                  <a:pt x="2661813" y="1471041"/>
                </a:cubicBezTo>
                <a:cubicBezTo>
                  <a:pt x="2687150" y="1453619"/>
                  <a:pt x="2713274" y="1436993"/>
                  <a:pt x="2738611" y="1419580"/>
                </a:cubicBezTo>
                <a:cubicBezTo>
                  <a:pt x="2738611" y="1419580"/>
                  <a:pt x="2747322" y="1410869"/>
                  <a:pt x="2756033" y="1410869"/>
                </a:cubicBezTo>
                <a:lnTo>
                  <a:pt x="2756033" y="1744192"/>
                </a:lnTo>
                <a:cubicBezTo>
                  <a:pt x="2756033" y="2009420"/>
                  <a:pt x="2260404" y="2299993"/>
                  <a:pt x="1541509" y="2299993"/>
                </a:cubicBezTo>
                <a:cubicBezTo>
                  <a:pt x="822614" y="2299993"/>
                  <a:pt x="326985" y="2009429"/>
                  <a:pt x="326985" y="1744192"/>
                </a:cubicBezTo>
                <a:lnTo>
                  <a:pt x="326985" y="1410869"/>
                </a:lnTo>
                <a:cubicBezTo>
                  <a:pt x="326985" y="1410869"/>
                  <a:pt x="335696" y="1419580"/>
                  <a:pt x="344407" y="1419580"/>
                </a:cubicBezTo>
                <a:cubicBezTo>
                  <a:pt x="350745" y="1436993"/>
                  <a:pt x="376073" y="1454416"/>
                  <a:pt x="402206" y="1471041"/>
                </a:cubicBezTo>
                <a:close/>
                <a:moveTo>
                  <a:pt x="3010177" y="4036262"/>
                </a:moveTo>
                <a:cubicBezTo>
                  <a:pt x="3027599" y="4044973"/>
                  <a:pt x="3044225" y="4044973"/>
                  <a:pt x="3070349" y="4053684"/>
                </a:cubicBezTo>
                <a:cubicBezTo>
                  <a:pt x="3104397" y="4062395"/>
                  <a:pt x="3130521" y="4071106"/>
                  <a:pt x="3164569" y="4079021"/>
                </a:cubicBezTo>
                <a:cubicBezTo>
                  <a:pt x="3181991" y="4087732"/>
                  <a:pt x="3207319" y="4087732"/>
                  <a:pt x="3224741" y="4087732"/>
                </a:cubicBezTo>
                <a:cubicBezTo>
                  <a:pt x="3258788" y="4096443"/>
                  <a:pt x="3292827" y="4096443"/>
                  <a:pt x="3327663" y="4105154"/>
                </a:cubicBezTo>
                <a:cubicBezTo>
                  <a:pt x="3345085" y="4105154"/>
                  <a:pt x="3370413" y="4113865"/>
                  <a:pt x="3387835" y="4113865"/>
                </a:cubicBezTo>
                <a:cubicBezTo>
                  <a:pt x="3421882" y="4122576"/>
                  <a:pt x="3464632" y="4122576"/>
                  <a:pt x="3498680" y="4122576"/>
                </a:cubicBezTo>
                <a:cubicBezTo>
                  <a:pt x="3516093" y="4122576"/>
                  <a:pt x="3532727" y="4122576"/>
                  <a:pt x="3550141" y="4131287"/>
                </a:cubicBezTo>
                <a:cubicBezTo>
                  <a:pt x="3610313" y="4131287"/>
                  <a:pt x="3660986" y="4139998"/>
                  <a:pt x="3721158" y="4139998"/>
                </a:cubicBezTo>
                <a:cubicBezTo>
                  <a:pt x="3781330" y="4139998"/>
                  <a:pt x="3840714" y="4139998"/>
                  <a:pt x="3892175" y="4131287"/>
                </a:cubicBezTo>
                <a:cubicBezTo>
                  <a:pt x="3909589" y="4131287"/>
                  <a:pt x="3926222" y="4131287"/>
                  <a:pt x="3943636" y="4122576"/>
                </a:cubicBezTo>
                <a:cubicBezTo>
                  <a:pt x="3977683" y="4122576"/>
                  <a:pt x="4020433" y="4113865"/>
                  <a:pt x="4054481" y="4113865"/>
                </a:cubicBezTo>
                <a:cubicBezTo>
                  <a:pt x="4071894" y="4113865"/>
                  <a:pt x="4097231" y="4105154"/>
                  <a:pt x="4114653" y="4105154"/>
                </a:cubicBezTo>
                <a:cubicBezTo>
                  <a:pt x="4148700" y="4096443"/>
                  <a:pt x="4182739" y="4096443"/>
                  <a:pt x="4217575" y="4087732"/>
                </a:cubicBezTo>
                <a:cubicBezTo>
                  <a:pt x="4234989" y="4087732"/>
                  <a:pt x="4260325" y="4079021"/>
                  <a:pt x="4277747" y="4079021"/>
                </a:cubicBezTo>
                <a:cubicBezTo>
                  <a:pt x="4311795" y="4070310"/>
                  <a:pt x="4337919" y="4061599"/>
                  <a:pt x="4371966" y="4053684"/>
                </a:cubicBezTo>
                <a:cubicBezTo>
                  <a:pt x="4389389" y="4044973"/>
                  <a:pt x="4406014" y="4044973"/>
                  <a:pt x="4432139" y="4036262"/>
                </a:cubicBezTo>
                <a:cubicBezTo>
                  <a:pt x="4466186" y="4027551"/>
                  <a:pt x="4492311" y="4018840"/>
                  <a:pt x="4526358" y="4002215"/>
                </a:cubicBezTo>
                <a:cubicBezTo>
                  <a:pt x="4543780" y="3993503"/>
                  <a:pt x="4560406" y="3993503"/>
                  <a:pt x="4569117" y="3984793"/>
                </a:cubicBezTo>
                <a:cubicBezTo>
                  <a:pt x="4611867" y="3967371"/>
                  <a:pt x="4654625" y="3950745"/>
                  <a:pt x="4697375" y="3933332"/>
                </a:cubicBezTo>
                <a:lnTo>
                  <a:pt x="4697375" y="3933332"/>
                </a:lnTo>
                <a:cubicBezTo>
                  <a:pt x="4740125" y="3915909"/>
                  <a:pt x="4774173" y="3890582"/>
                  <a:pt x="4816931" y="3873160"/>
                </a:cubicBezTo>
                <a:cubicBezTo>
                  <a:pt x="4825642" y="3864448"/>
                  <a:pt x="4842268" y="3855738"/>
                  <a:pt x="4850979" y="3855738"/>
                </a:cubicBezTo>
                <a:cubicBezTo>
                  <a:pt x="4876315" y="3838315"/>
                  <a:pt x="4902440" y="3821690"/>
                  <a:pt x="4927777" y="3804276"/>
                </a:cubicBezTo>
                <a:cubicBezTo>
                  <a:pt x="4927777" y="3804276"/>
                  <a:pt x="4936487" y="3795565"/>
                  <a:pt x="4945198" y="3795565"/>
                </a:cubicBezTo>
                <a:lnTo>
                  <a:pt x="4945198" y="4128888"/>
                </a:lnTo>
                <a:cubicBezTo>
                  <a:pt x="4945198" y="4394117"/>
                  <a:pt x="4449569" y="4684689"/>
                  <a:pt x="3730674" y="4684689"/>
                </a:cubicBezTo>
                <a:cubicBezTo>
                  <a:pt x="3422688" y="4684689"/>
                  <a:pt x="3149545" y="4633229"/>
                  <a:pt x="2943693" y="4547720"/>
                </a:cubicBezTo>
                <a:cubicBezTo>
                  <a:pt x="2943693" y="4547720"/>
                  <a:pt x="2934982" y="4547720"/>
                  <a:pt x="2934982" y="4539009"/>
                </a:cubicBezTo>
                <a:cubicBezTo>
                  <a:pt x="2703792" y="4444790"/>
                  <a:pt x="2550198" y="4307820"/>
                  <a:pt x="2516150" y="4179561"/>
                </a:cubicBezTo>
                <a:cubicBezTo>
                  <a:pt x="2516150" y="4179561"/>
                  <a:pt x="2516150" y="4179561"/>
                  <a:pt x="2516150" y="4170850"/>
                </a:cubicBezTo>
                <a:cubicBezTo>
                  <a:pt x="2516150" y="4162139"/>
                  <a:pt x="2516150" y="4153428"/>
                  <a:pt x="2516150" y="4145514"/>
                </a:cubicBezTo>
                <a:lnTo>
                  <a:pt x="2516150" y="4145514"/>
                </a:lnTo>
                <a:lnTo>
                  <a:pt x="2516150" y="3786066"/>
                </a:lnTo>
                <a:cubicBezTo>
                  <a:pt x="2533572" y="3794777"/>
                  <a:pt x="2541487" y="3803488"/>
                  <a:pt x="2558900" y="3820114"/>
                </a:cubicBezTo>
                <a:lnTo>
                  <a:pt x="2558900" y="3820114"/>
                </a:lnTo>
                <a:cubicBezTo>
                  <a:pt x="2558900" y="3820114"/>
                  <a:pt x="2558900" y="3820114"/>
                  <a:pt x="2567611" y="3820114"/>
                </a:cubicBezTo>
                <a:cubicBezTo>
                  <a:pt x="2576322" y="3820114"/>
                  <a:pt x="2576322" y="3828825"/>
                  <a:pt x="2585033" y="3828825"/>
                </a:cubicBezTo>
                <a:lnTo>
                  <a:pt x="2585033" y="3828825"/>
                </a:lnTo>
                <a:cubicBezTo>
                  <a:pt x="2602455" y="3837536"/>
                  <a:pt x="2610370" y="3846247"/>
                  <a:pt x="2627783" y="3854162"/>
                </a:cubicBezTo>
                <a:lnTo>
                  <a:pt x="2627783" y="3854162"/>
                </a:lnTo>
                <a:cubicBezTo>
                  <a:pt x="2645205" y="3862872"/>
                  <a:pt x="2653120" y="3871584"/>
                  <a:pt x="2670533" y="3879498"/>
                </a:cubicBezTo>
                <a:lnTo>
                  <a:pt x="2679244" y="3879498"/>
                </a:lnTo>
                <a:cubicBezTo>
                  <a:pt x="2687955" y="3879498"/>
                  <a:pt x="2687955" y="3888209"/>
                  <a:pt x="2696666" y="3888209"/>
                </a:cubicBezTo>
                <a:cubicBezTo>
                  <a:pt x="2730714" y="3905631"/>
                  <a:pt x="2764753" y="3922256"/>
                  <a:pt x="2807511" y="3939670"/>
                </a:cubicBezTo>
                <a:lnTo>
                  <a:pt x="2807511" y="3939670"/>
                </a:lnTo>
                <a:cubicBezTo>
                  <a:pt x="2816222" y="3939670"/>
                  <a:pt x="2824933" y="3948381"/>
                  <a:pt x="2832848" y="3948381"/>
                </a:cubicBezTo>
                <a:cubicBezTo>
                  <a:pt x="2850270" y="3957092"/>
                  <a:pt x="2875598" y="3965803"/>
                  <a:pt x="2893020" y="3973718"/>
                </a:cubicBezTo>
                <a:cubicBezTo>
                  <a:pt x="2910442" y="3982429"/>
                  <a:pt x="2918356" y="3982429"/>
                  <a:pt x="2935770" y="3991140"/>
                </a:cubicBezTo>
                <a:cubicBezTo>
                  <a:pt x="2941294" y="4019637"/>
                  <a:pt x="2975342" y="4028339"/>
                  <a:pt x="3010177" y="4036262"/>
                </a:cubicBezTo>
                <a:close/>
                <a:moveTo>
                  <a:pt x="2189148" y="4062387"/>
                </a:moveTo>
                <a:cubicBezTo>
                  <a:pt x="1992795" y="4122559"/>
                  <a:pt x="1770317" y="4156606"/>
                  <a:pt x="1539136" y="4156606"/>
                </a:cubicBezTo>
                <a:cubicBezTo>
                  <a:pt x="821038" y="4156606"/>
                  <a:pt x="324621" y="3866042"/>
                  <a:pt x="324621" y="3600805"/>
                </a:cubicBezTo>
                <a:lnTo>
                  <a:pt x="324621" y="3267482"/>
                </a:lnTo>
                <a:cubicBezTo>
                  <a:pt x="606474" y="3472538"/>
                  <a:pt x="1042728" y="3600805"/>
                  <a:pt x="1539145" y="3600805"/>
                </a:cubicBezTo>
                <a:cubicBezTo>
                  <a:pt x="1770334" y="3600805"/>
                  <a:pt x="1992015" y="3575469"/>
                  <a:pt x="2189157" y="3524008"/>
                </a:cubicBezTo>
                <a:lnTo>
                  <a:pt x="2189148" y="4062387"/>
                </a:lnTo>
                <a:lnTo>
                  <a:pt x="2189148" y="4062387"/>
                </a:lnTo>
                <a:close/>
                <a:moveTo>
                  <a:pt x="4934089" y="5062347"/>
                </a:moveTo>
                <a:cubicBezTo>
                  <a:pt x="4934089" y="5327575"/>
                  <a:pt x="4438460" y="5618148"/>
                  <a:pt x="3719565" y="5618148"/>
                </a:cubicBezTo>
                <a:cubicBezTo>
                  <a:pt x="3026794" y="5618148"/>
                  <a:pt x="2531174" y="5344209"/>
                  <a:pt x="2505041" y="5087684"/>
                </a:cubicBezTo>
                <a:lnTo>
                  <a:pt x="2505041" y="5087684"/>
                </a:lnTo>
                <a:lnTo>
                  <a:pt x="2505041" y="4728236"/>
                </a:lnTo>
                <a:cubicBezTo>
                  <a:pt x="2573127" y="4779697"/>
                  <a:pt x="2650721" y="4822456"/>
                  <a:pt x="2736229" y="4865206"/>
                </a:cubicBezTo>
                <a:lnTo>
                  <a:pt x="2736229" y="4865206"/>
                </a:lnTo>
                <a:cubicBezTo>
                  <a:pt x="2753652" y="4873917"/>
                  <a:pt x="2761566" y="4882628"/>
                  <a:pt x="2778979" y="4882628"/>
                </a:cubicBezTo>
                <a:cubicBezTo>
                  <a:pt x="2787691" y="4882628"/>
                  <a:pt x="2796402" y="4891339"/>
                  <a:pt x="2804316" y="4891339"/>
                </a:cubicBezTo>
                <a:cubicBezTo>
                  <a:pt x="3060842" y="4994261"/>
                  <a:pt x="3368820" y="5062356"/>
                  <a:pt x="3719565" y="5062356"/>
                </a:cubicBezTo>
                <a:cubicBezTo>
                  <a:pt x="4223896" y="5062356"/>
                  <a:pt x="4660141" y="4934098"/>
                  <a:pt x="4934089" y="4729033"/>
                </a:cubicBezTo>
                <a:lnTo>
                  <a:pt x="4934089" y="5062347"/>
                </a:lnTo>
                <a:close/>
                <a:moveTo>
                  <a:pt x="2299993" y="2924669"/>
                </a:moveTo>
                <a:cubicBezTo>
                  <a:pt x="2282571" y="2942091"/>
                  <a:pt x="2274657" y="2967419"/>
                  <a:pt x="2257243" y="2984841"/>
                </a:cubicBezTo>
                <a:cubicBezTo>
                  <a:pt x="2248532" y="2993552"/>
                  <a:pt x="2248532" y="3002263"/>
                  <a:pt x="2239821" y="3018888"/>
                </a:cubicBezTo>
                <a:cubicBezTo>
                  <a:pt x="2231110" y="3036310"/>
                  <a:pt x="2222399" y="3052936"/>
                  <a:pt x="2222399" y="3061638"/>
                </a:cubicBezTo>
                <a:cubicBezTo>
                  <a:pt x="2213688" y="3079060"/>
                  <a:pt x="2213688" y="3095686"/>
                  <a:pt x="2204977" y="3104388"/>
                </a:cubicBezTo>
                <a:cubicBezTo>
                  <a:pt x="2204977" y="3113099"/>
                  <a:pt x="2196266" y="3113099"/>
                  <a:pt x="2196266" y="3121810"/>
                </a:cubicBezTo>
                <a:cubicBezTo>
                  <a:pt x="1999912" y="3189897"/>
                  <a:pt x="1768732" y="3224732"/>
                  <a:pt x="1529628" y="3224732"/>
                </a:cubicBezTo>
                <a:cubicBezTo>
                  <a:pt x="811521" y="3224732"/>
                  <a:pt x="315113" y="2934168"/>
                  <a:pt x="315113" y="2668931"/>
                </a:cubicBezTo>
                <a:lnTo>
                  <a:pt x="315113" y="2335617"/>
                </a:lnTo>
                <a:cubicBezTo>
                  <a:pt x="596966" y="2540673"/>
                  <a:pt x="1033220" y="2668940"/>
                  <a:pt x="1529637" y="2668940"/>
                </a:cubicBezTo>
                <a:cubicBezTo>
                  <a:pt x="2026054" y="2668940"/>
                  <a:pt x="2470214" y="2540681"/>
                  <a:pt x="2744161" y="2335617"/>
                </a:cubicBezTo>
                <a:lnTo>
                  <a:pt x="2744161" y="2574720"/>
                </a:lnTo>
                <a:cubicBezTo>
                  <a:pt x="2547808" y="2660229"/>
                  <a:pt x="2393425" y="2779776"/>
                  <a:pt x="2299205" y="2908043"/>
                </a:cubicBezTo>
                <a:cubicBezTo>
                  <a:pt x="2308696" y="2924669"/>
                  <a:pt x="2299993" y="2924669"/>
                  <a:pt x="2299993" y="2924669"/>
                </a:cubicBezTo>
                <a:close/>
                <a:moveTo>
                  <a:pt x="4934089" y="3266694"/>
                </a:moveTo>
                <a:cubicBezTo>
                  <a:pt x="4934089" y="3531922"/>
                  <a:pt x="4438460" y="3822495"/>
                  <a:pt x="3719565" y="3822495"/>
                </a:cubicBezTo>
                <a:cubicBezTo>
                  <a:pt x="3386242" y="3822495"/>
                  <a:pt x="3103592" y="3762323"/>
                  <a:pt x="2898536" y="3668900"/>
                </a:cubicBezTo>
                <a:lnTo>
                  <a:pt x="2898536" y="3668900"/>
                </a:lnTo>
                <a:cubicBezTo>
                  <a:pt x="2873199" y="3660189"/>
                  <a:pt x="2847075" y="3643564"/>
                  <a:pt x="2821738" y="3634853"/>
                </a:cubicBezTo>
                <a:lnTo>
                  <a:pt x="2821738" y="3634853"/>
                </a:lnTo>
                <a:lnTo>
                  <a:pt x="2821738" y="3634853"/>
                </a:lnTo>
                <a:lnTo>
                  <a:pt x="2821738" y="3634853"/>
                </a:lnTo>
                <a:cubicBezTo>
                  <a:pt x="2821738" y="3634853"/>
                  <a:pt x="2813027" y="3634853"/>
                  <a:pt x="2813027" y="3626142"/>
                </a:cubicBezTo>
                <a:cubicBezTo>
                  <a:pt x="2813027" y="3626142"/>
                  <a:pt x="2813027" y="3626142"/>
                  <a:pt x="2804316" y="3626142"/>
                </a:cubicBezTo>
                <a:lnTo>
                  <a:pt x="2770268" y="3608720"/>
                </a:lnTo>
                <a:cubicBezTo>
                  <a:pt x="2752846" y="3591298"/>
                  <a:pt x="2744932" y="3583383"/>
                  <a:pt x="2736221" y="3583383"/>
                </a:cubicBezTo>
                <a:lnTo>
                  <a:pt x="2736221" y="3583383"/>
                </a:lnTo>
                <a:cubicBezTo>
                  <a:pt x="2736221" y="3583383"/>
                  <a:pt x="2727510" y="3583383"/>
                  <a:pt x="2727510" y="3574672"/>
                </a:cubicBezTo>
                <a:cubicBezTo>
                  <a:pt x="2727510" y="3574672"/>
                  <a:pt x="2727510" y="3574672"/>
                  <a:pt x="2718799" y="3574672"/>
                </a:cubicBezTo>
                <a:cubicBezTo>
                  <a:pt x="2701377" y="3565961"/>
                  <a:pt x="2684751" y="3549336"/>
                  <a:pt x="2667338" y="3531922"/>
                </a:cubicBezTo>
                <a:lnTo>
                  <a:pt x="2667338" y="3531922"/>
                </a:lnTo>
                <a:cubicBezTo>
                  <a:pt x="2667338" y="3531922"/>
                  <a:pt x="2667338" y="3531922"/>
                  <a:pt x="2658627" y="3531922"/>
                </a:cubicBezTo>
                <a:lnTo>
                  <a:pt x="2658627" y="3531922"/>
                </a:lnTo>
                <a:cubicBezTo>
                  <a:pt x="2649916" y="3523211"/>
                  <a:pt x="2641205" y="3514500"/>
                  <a:pt x="2633290" y="3506586"/>
                </a:cubicBezTo>
                <a:lnTo>
                  <a:pt x="2633290" y="3506586"/>
                </a:lnTo>
                <a:cubicBezTo>
                  <a:pt x="2624579" y="3497875"/>
                  <a:pt x="2615868" y="3489163"/>
                  <a:pt x="2607954" y="3489163"/>
                </a:cubicBezTo>
                <a:lnTo>
                  <a:pt x="2607954" y="3489163"/>
                </a:lnTo>
                <a:lnTo>
                  <a:pt x="2607954" y="3489163"/>
                </a:lnTo>
                <a:lnTo>
                  <a:pt x="2607954" y="3489163"/>
                </a:lnTo>
                <a:cubicBezTo>
                  <a:pt x="2599243" y="3480452"/>
                  <a:pt x="2590532" y="3471741"/>
                  <a:pt x="2582617" y="3463827"/>
                </a:cubicBezTo>
                <a:cubicBezTo>
                  <a:pt x="2573906" y="3455116"/>
                  <a:pt x="2565195" y="3446405"/>
                  <a:pt x="2565195" y="3438491"/>
                </a:cubicBezTo>
                <a:lnTo>
                  <a:pt x="2565195" y="3438491"/>
                </a:lnTo>
                <a:lnTo>
                  <a:pt x="2565195" y="3438491"/>
                </a:lnTo>
                <a:cubicBezTo>
                  <a:pt x="2556484" y="3429779"/>
                  <a:pt x="2556484" y="3421069"/>
                  <a:pt x="2547773" y="3413154"/>
                </a:cubicBezTo>
                <a:cubicBezTo>
                  <a:pt x="2539062" y="3404443"/>
                  <a:pt x="2539062" y="3395732"/>
                  <a:pt x="2530351" y="3387817"/>
                </a:cubicBezTo>
                <a:lnTo>
                  <a:pt x="2530351" y="3387817"/>
                </a:lnTo>
                <a:cubicBezTo>
                  <a:pt x="2512929" y="3353770"/>
                  <a:pt x="2505014" y="3327646"/>
                  <a:pt x="2505014" y="3293598"/>
                </a:cubicBezTo>
                <a:lnTo>
                  <a:pt x="2505014" y="3293598"/>
                </a:lnTo>
                <a:lnTo>
                  <a:pt x="2505014" y="3293598"/>
                </a:lnTo>
                <a:cubicBezTo>
                  <a:pt x="2505014" y="3284887"/>
                  <a:pt x="2505014" y="3276176"/>
                  <a:pt x="2505014" y="3276176"/>
                </a:cubicBezTo>
                <a:lnTo>
                  <a:pt x="2505014" y="3276176"/>
                </a:lnTo>
                <a:lnTo>
                  <a:pt x="2505014" y="3276176"/>
                </a:lnTo>
                <a:cubicBezTo>
                  <a:pt x="2505014" y="3258754"/>
                  <a:pt x="2505014" y="3242128"/>
                  <a:pt x="2513726" y="3216004"/>
                </a:cubicBezTo>
                <a:lnTo>
                  <a:pt x="2513726" y="3216004"/>
                </a:lnTo>
                <a:cubicBezTo>
                  <a:pt x="2556475" y="3079034"/>
                  <a:pt x="2718782" y="2950776"/>
                  <a:pt x="2966596" y="2856556"/>
                </a:cubicBezTo>
                <a:lnTo>
                  <a:pt x="2975307" y="2856556"/>
                </a:lnTo>
                <a:cubicBezTo>
                  <a:pt x="3180363" y="2779759"/>
                  <a:pt x="3428177" y="2728298"/>
                  <a:pt x="3727453" y="2728298"/>
                </a:cubicBezTo>
                <a:cubicBezTo>
                  <a:pt x="4437672" y="2710893"/>
                  <a:pt x="4934089" y="3002254"/>
                  <a:pt x="4934089" y="3266694"/>
                </a:cubicBezTo>
                <a:close/>
                <a:moveTo>
                  <a:pt x="1530425" y="316698"/>
                </a:moveTo>
                <a:cubicBezTo>
                  <a:pt x="2248532" y="316698"/>
                  <a:pt x="2744949" y="607262"/>
                  <a:pt x="2744949" y="872499"/>
                </a:cubicBezTo>
                <a:cubicBezTo>
                  <a:pt x="2744949" y="1137735"/>
                  <a:pt x="2249320" y="1428300"/>
                  <a:pt x="1530425" y="1428300"/>
                </a:cubicBezTo>
                <a:cubicBezTo>
                  <a:pt x="811530" y="1428300"/>
                  <a:pt x="315901" y="1137735"/>
                  <a:pt x="315901" y="872499"/>
                </a:cubicBezTo>
                <a:cubicBezTo>
                  <a:pt x="316698" y="615973"/>
                  <a:pt x="812318" y="316698"/>
                  <a:pt x="1530425" y="316698"/>
                </a:cubicBezTo>
                <a:close/>
                <a:moveTo>
                  <a:pt x="316698" y="4523968"/>
                </a:moveTo>
                <a:lnTo>
                  <a:pt x="316698" y="4190645"/>
                </a:lnTo>
                <a:cubicBezTo>
                  <a:pt x="598551" y="4395701"/>
                  <a:pt x="1034805" y="4523968"/>
                  <a:pt x="1531213" y="4523968"/>
                </a:cubicBezTo>
                <a:cubicBezTo>
                  <a:pt x="1762402" y="4523968"/>
                  <a:pt x="1984083" y="4498632"/>
                  <a:pt x="2181225" y="4447171"/>
                </a:cubicBezTo>
                <a:lnTo>
                  <a:pt x="2181225" y="4994261"/>
                </a:lnTo>
                <a:cubicBezTo>
                  <a:pt x="1984871" y="5054433"/>
                  <a:pt x="1762393" y="5088480"/>
                  <a:pt x="1531213" y="5088480"/>
                </a:cubicBezTo>
                <a:cubicBezTo>
                  <a:pt x="812318" y="5079769"/>
                  <a:pt x="316698" y="4789196"/>
                  <a:pt x="316698" y="4523968"/>
                </a:cubicBezTo>
                <a:close/>
                <a:moveTo>
                  <a:pt x="4934089" y="5986298"/>
                </a:moveTo>
                <a:cubicBezTo>
                  <a:pt x="4934089" y="6251526"/>
                  <a:pt x="4438460" y="6542099"/>
                  <a:pt x="3719565" y="6542099"/>
                </a:cubicBezTo>
                <a:cubicBezTo>
                  <a:pt x="3000669" y="6542099"/>
                  <a:pt x="2505041" y="6251535"/>
                  <a:pt x="2505041" y="5986298"/>
                </a:cubicBezTo>
                <a:lnTo>
                  <a:pt x="2505041" y="5652975"/>
                </a:lnTo>
                <a:cubicBezTo>
                  <a:pt x="2786894" y="5858031"/>
                  <a:pt x="3223139" y="5986298"/>
                  <a:pt x="3719565" y="5986298"/>
                </a:cubicBezTo>
                <a:cubicBezTo>
                  <a:pt x="4215990" y="5986298"/>
                  <a:pt x="4660141" y="5858040"/>
                  <a:pt x="4934089" y="5652975"/>
                </a:cubicBezTo>
                <a:lnTo>
                  <a:pt x="4934089" y="5986298"/>
                </a:lnTo>
                <a:close/>
              </a:path>
            </a:pathLst>
          </a:custGeom>
          <a:solidFill>
            <a:schemeClr val="bg1"/>
          </a:solidFill>
          <a:ln w="8659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5" name="Forma libre 440">
            <a:extLst>
              <a:ext uri="{FF2B5EF4-FFF2-40B4-BE49-F238E27FC236}">
                <a16:creationId xmlns:a16="http://schemas.microsoft.com/office/drawing/2014/main" xmlns="" id="{60A5F70C-4E56-F347-B025-7D3EB0469C37}"/>
              </a:ext>
            </a:extLst>
          </p:cNvPr>
          <p:cNvSpPr/>
          <p:nvPr/>
        </p:nvSpPr>
        <p:spPr>
          <a:xfrm>
            <a:off x="2085584" y="2026394"/>
            <a:ext cx="301831" cy="301831"/>
          </a:xfrm>
          <a:custGeom>
            <a:avLst/>
            <a:gdLst>
              <a:gd name="connsiteX0" fmla="*/ 2915002 w 5829300"/>
              <a:gd name="connsiteY0" fmla="*/ 0 h 5829300"/>
              <a:gd name="connsiteX1" fmla="*/ 0 w 5829300"/>
              <a:gd name="connsiteY1" fmla="*/ 2915002 h 5829300"/>
              <a:gd name="connsiteX2" fmla="*/ 2915002 w 5829300"/>
              <a:gd name="connsiteY2" fmla="*/ 5830005 h 5829300"/>
              <a:gd name="connsiteX3" fmla="*/ 5830005 w 5829300"/>
              <a:gd name="connsiteY3" fmla="*/ 2915002 h 5829300"/>
              <a:gd name="connsiteX4" fmla="*/ 2915002 w 5829300"/>
              <a:gd name="connsiteY4" fmla="*/ 0 h 5829300"/>
              <a:gd name="connsiteX5" fmla="*/ 2915002 w 5829300"/>
              <a:gd name="connsiteY5" fmla="*/ 5547408 h 5829300"/>
              <a:gd name="connsiteX6" fmla="*/ 282597 w 5829300"/>
              <a:gd name="connsiteY6" fmla="*/ 2915002 h 5829300"/>
              <a:gd name="connsiteX7" fmla="*/ 2915002 w 5829300"/>
              <a:gd name="connsiteY7" fmla="*/ 282597 h 5829300"/>
              <a:gd name="connsiteX8" fmla="*/ 5547408 w 5829300"/>
              <a:gd name="connsiteY8" fmla="*/ 2915002 h 5829300"/>
              <a:gd name="connsiteX9" fmla="*/ 2915002 w 5829300"/>
              <a:gd name="connsiteY9" fmla="*/ 5547408 h 5829300"/>
              <a:gd name="connsiteX10" fmla="*/ 4059526 w 5829300"/>
              <a:gd name="connsiteY10" fmla="*/ 2632405 h 5829300"/>
              <a:gd name="connsiteX11" fmla="*/ 4059526 w 5829300"/>
              <a:gd name="connsiteY11" fmla="*/ 2830935 h 5829300"/>
              <a:gd name="connsiteX12" fmla="*/ 3960619 w 5829300"/>
              <a:gd name="connsiteY12" fmla="*/ 2869083 h 5829300"/>
              <a:gd name="connsiteX13" fmla="*/ 3861711 w 5829300"/>
              <a:gd name="connsiteY13" fmla="*/ 2830935 h 5829300"/>
              <a:gd name="connsiteX14" fmla="*/ 3052067 w 5829300"/>
              <a:gd name="connsiteY14" fmla="*/ 2021996 h 5829300"/>
              <a:gd name="connsiteX15" fmla="*/ 3052067 w 5829300"/>
              <a:gd name="connsiteY15" fmla="*/ 4257351 h 5829300"/>
              <a:gd name="connsiteX16" fmla="*/ 2915002 w 5829300"/>
              <a:gd name="connsiteY16" fmla="*/ 4394416 h 5829300"/>
              <a:gd name="connsiteX17" fmla="*/ 2777938 w 5829300"/>
              <a:gd name="connsiteY17" fmla="*/ 4257351 h 5829300"/>
              <a:gd name="connsiteX18" fmla="*/ 2777938 w 5829300"/>
              <a:gd name="connsiteY18" fmla="*/ 2021996 h 5829300"/>
              <a:gd name="connsiteX19" fmla="*/ 1976066 w 5829300"/>
              <a:gd name="connsiteY19" fmla="*/ 2823162 h 5829300"/>
              <a:gd name="connsiteX20" fmla="*/ 1777536 w 5829300"/>
              <a:gd name="connsiteY20" fmla="*/ 2823162 h 5829300"/>
              <a:gd name="connsiteX21" fmla="*/ 1777536 w 5829300"/>
              <a:gd name="connsiteY21" fmla="*/ 2624633 h 5829300"/>
              <a:gd name="connsiteX22" fmla="*/ 2815381 w 5829300"/>
              <a:gd name="connsiteY22" fmla="*/ 1587494 h 5829300"/>
              <a:gd name="connsiteX23" fmla="*/ 2837993 w 5829300"/>
              <a:gd name="connsiteY23" fmla="*/ 1571949 h 5829300"/>
              <a:gd name="connsiteX24" fmla="*/ 2845765 w 5829300"/>
              <a:gd name="connsiteY24" fmla="*/ 1564177 h 5829300"/>
              <a:gd name="connsiteX25" fmla="*/ 2861310 w 5829300"/>
              <a:gd name="connsiteY25" fmla="*/ 1556404 h 5829300"/>
              <a:gd name="connsiteX26" fmla="*/ 2876855 w 5829300"/>
              <a:gd name="connsiteY26" fmla="*/ 1548632 h 5829300"/>
              <a:gd name="connsiteX27" fmla="*/ 2892400 w 5829300"/>
              <a:gd name="connsiteY27" fmla="*/ 1548632 h 5829300"/>
              <a:gd name="connsiteX28" fmla="*/ 2946092 w 5829300"/>
              <a:gd name="connsiteY28" fmla="*/ 1548632 h 5829300"/>
              <a:gd name="connsiteX29" fmla="*/ 2961637 w 5829300"/>
              <a:gd name="connsiteY29" fmla="*/ 1548632 h 5829300"/>
              <a:gd name="connsiteX30" fmla="*/ 2977182 w 5829300"/>
              <a:gd name="connsiteY30" fmla="*/ 1556404 h 5829300"/>
              <a:gd name="connsiteX31" fmla="*/ 2992726 w 5829300"/>
              <a:gd name="connsiteY31" fmla="*/ 1564177 h 5829300"/>
              <a:gd name="connsiteX32" fmla="*/ 3000499 w 5829300"/>
              <a:gd name="connsiteY32" fmla="*/ 1571949 h 5829300"/>
              <a:gd name="connsiteX33" fmla="*/ 3023111 w 5829300"/>
              <a:gd name="connsiteY33" fmla="*/ 1587494 h 5829300"/>
              <a:gd name="connsiteX34" fmla="*/ 4059526 w 5829300"/>
              <a:gd name="connsiteY34" fmla="*/ 2632405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829300" h="5829300">
                <a:moveTo>
                  <a:pt x="2915002" y="0"/>
                </a:moveTo>
                <a:cubicBezTo>
                  <a:pt x="1304896" y="0"/>
                  <a:pt x="0" y="1304896"/>
                  <a:pt x="0" y="2915002"/>
                </a:cubicBezTo>
                <a:cubicBezTo>
                  <a:pt x="0" y="4525109"/>
                  <a:pt x="1304896" y="5830005"/>
                  <a:pt x="2915002" y="5830005"/>
                </a:cubicBezTo>
                <a:cubicBezTo>
                  <a:pt x="4525109" y="5830005"/>
                  <a:pt x="5830005" y="4525109"/>
                  <a:pt x="5830005" y="2915002"/>
                </a:cubicBezTo>
                <a:cubicBezTo>
                  <a:pt x="5830005" y="1304896"/>
                  <a:pt x="4525109" y="0"/>
                  <a:pt x="2915002" y="0"/>
                </a:cubicBezTo>
                <a:close/>
                <a:moveTo>
                  <a:pt x="2915002" y="5547408"/>
                </a:moveTo>
                <a:cubicBezTo>
                  <a:pt x="1457497" y="5547408"/>
                  <a:pt x="282597" y="4364736"/>
                  <a:pt x="282597" y="2915002"/>
                </a:cubicBezTo>
                <a:cubicBezTo>
                  <a:pt x="282597" y="1465269"/>
                  <a:pt x="1457506" y="282597"/>
                  <a:pt x="2915002" y="282597"/>
                </a:cubicBezTo>
                <a:cubicBezTo>
                  <a:pt x="4372499" y="282597"/>
                  <a:pt x="5547408" y="1465269"/>
                  <a:pt x="5547408" y="2915002"/>
                </a:cubicBezTo>
                <a:cubicBezTo>
                  <a:pt x="5547408" y="4364736"/>
                  <a:pt x="4364736" y="5547408"/>
                  <a:pt x="2915002" y="5547408"/>
                </a:cubicBezTo>
                <a:close/>
                <a:moveTo>
                  <a:pt x="4059526" y="2632405"/>
                </a:moveTo>
                <a:cubicBezTo>
                  <a:pt x="4113219" y="2686098"/>
                  <a:pt x="4113219" y="2777233"/>
                  <a:pt x="4059526" y="2830935"/>
                </a:cubicBezTo>
                <a:cubicBezTo>
                  <a:pt x="4029151" y="2861310"/>
                  <a:pt x="3998767" y="2869083"/>
                  <a:pt x="3960619" y="2869083"/>
                </a:cubicBezTo>
                <a:cubicBezTo>
                  <a:pt x="3922471" y="2869083"/>
                  <a:pt x="3892087" y="2853538"/>
                  <a:pt x="3861711" y="2830935"/>
                </a:cubicBezTo>
                <a:lnTo>
                  <a:pt x="3052067" y="2021996"/>
                </a:lnTo>
                <a:lnTo>
                  <a:pt x="3052067" y="4257351"/>
                </a:lnTo>
                <a:cubicBezTo>
                  <a:pt x="3052067" y="4333656"/>
                  <a:pt x="2991307" y="4394416"/>
                  <a:pt x="2915002" y="4394416"/>
                </a:cubicBezTo>
                <a:cubicBezTo>
                  <a:pt x="2838698" y="4394416"/>
                  <a:pt x="2777938" y="4333656"/>
                  <a:pt x="2777938" y="4257351"/>
                </a:cubicBezTo>
                <a:lnTo>
                  <a:pt x="2777938" y="2021996"/>
                </a:lnTo>
                <a:lnTo>
                  <a:pt x="1976066" y="2823162"/>
                </a:lnTo>
                <a:cubicBezTo>
                  <a:pt x="1922374" y="2876855"/>
                  <a:pt x="1831238" y="2876855"/>
                  <a:pt x="1777536" y="2823162"/>
                </a:cubicBezTo>
                <a:cubicBezTo>
                  <a:pt x="1723835" y="2769470"/>
                  <a:pt x="1723844" y="2678335"/>
                  <a:pt x="1777536" y="2624633"/>
                </a:cubicBezTo>
                <a:lnTo>
                  <a:pt x="2815381" y="1587494"/>
                </a:lnTo>
                <a:cubicBezTo>
                  <a:pt x="2823153" y="1579721"/>
                  <a:pt x="2830925" y="1571949"/>
                  <a:pt x="2837993" y="1571949"/>
                </a:cubicBezTo>
                <a:lnTo>
                  <a:pt x="2845765" y="1564177"/>
                </a:lnTo>
                <a:cubicBezTo>
                  <a:pt x="2853538" y="1564177"/>
                  <a:pt x="2853538" y="1556404"/>
                  <a:pt x="2861310" y="1556404"/>
                </a:cubicBezTo>
                <a:cubicBezTo>
                  <a:pt x="2869083" y="1556404"/>
                  <a:pt x="2869083" y="1556404"/>
                  <a:pt x="2876855" y="1548632"/>
                </a:cubicBezTo>
                <a:cubicBezTo>
                  <a:pt x="2884627" y="1548632"/>
                  <a:pt x="2884627" y="1548632"/>
                  <a:pt x="2892400" y="1548632"/>
                </a:cubicBezTo>
                <a:cubicBezTo>
                  <a:pt x="2907944" y="1548632"/>
                  <a:pt x="2930547" y="1548632"/>
                  <a:pt x="2946092" y="1548632"/>
                </a:cubicBezTo>
                <a:cubicBezTo>
                  <a:pt x="2953865" y="1548632"/>
                  <a:pt x="2953865" y="1548632"/>
                  <a:pt x="2961637" y="1548632"/>
                </a:cubicBezTo>
                <a:cubicBezTo>
                  <a:pt x="2969409" y="1548632"/>
                  <a:pt x="2969409" y="1548632"/>
                  <a:pt x="2977182" y="1556404"/>
                </a:cubicBezTo>
                <a:cubicBezTo>
                  <a:pt x="2984954" y="1556404"/>
                  <a:pt x="2984954" y="1564177"/>
                  <a:pt x="2992726" y="1564177"/>
                </a:cubicBezTo>
                <a:cubicBezTo>
                  <a:pt x="2992726" y="1564177"/>
                  <a:pt x="3000499" y="1564177"/>
                  <a:pt x="3000499" y="1571949"/>
                </a:cubicBezTo>
                <a:cubicBezTo>
                  <a:pt x="3008271" y="1579721"/>
                  <a:pt x="3016044" y="1579721"/>
                  <a:pt x="3023111" y="1587494"/>
                </a:cubicBezTo>
                <a:lnTo>
                  <a:pt x="4059526" y="2632405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6" name="Forma libre 442">
            <a:extLst>
              <a:ext uri="{FF2B5EF4-FFF2-40B4-BE49-F238E27FC236}">
                <a16:creationId xmlns:a16="http://schemas.microsoft.com/office/drawing/2014/main" xmlns="" id="{C60F2B42-C748-3646-9264-C4F7B8786BBE}"/>
              </a:ext>
            </a:extLst>
          </p:cNvPr>
          <p:cNvSpPr/>
          <p:nvPr/>
        </p:nvSpPr>
        <p:spPr>
          <a:xfrm>
            <a:off x="7976464" y="2055499"/>
            <a:ext cx="301523" cy="321723"/>
          </a:xfrm>
          <a:custGeom>
            <a:avLst/>
            <a:gdLst>
              <a:gd name="connsiteX0" fmla="*/ 4851866 w 5823357"/>
              <a:gd name="connsiteY0" fmla="*/ 2377719 h 6213484"/>
              <a:gd name="connsiteX1" fmla="*/ 3741355 w 5823357"/>
              <a:gd name="connsiteY1" fmla="*/ 2377719 h 6213484"/>
              <a:gd name="connsiteX2" fmla="*/ 3741355 w 5823357"/>
              <a:gd name="connsiteY2" fmla="*/ 1813624 h 6213484"/>
              <a:gd name="connsiteX3" fmla="*/ 4262060 w 5823357"/>
              <a:gd name="connsiteY3" fmla="*/ 1813624 h 6213484"/>
              <a:gd name="connsiteX4" fmla="*/ 4496698 w 5823357"/>
              <a:gd name="connsiteY4" fmla="*/ 1683445 h 6213484"/>
              <a:gd name="connsiteX5" fmla="*/ 4444469 w 5823357"/>
              <a:gd name="connsiteY5" fmla="*/ 1457647 h 6213484"/>
              <a:gd name="connsiteX6" fmla="*/ 3133062 w 5823357"/>
              <a:gd name="connsiteY6" fmla="*/ 95619 h 6213484"/>
              <a:gd name="connsiteX7" fmla="*/ 2924943 w 5823357"/>
              <a:gd name="connsiteY7" fmla="*/ 0 h 6213484"/>
              <a:gd name="connsiteX8" fmla="*/ 2699145 w 5823357"/>
              <a:gd name="connsiteY8" fmla="*/ 95619 h 6213484"/>
              <a:gd name="connsiteX9" fmla="*/ 1406227 w 5823357"/>
              <a:gd name="connsiteY9" fmla="*/ 1431937 h 6213484"/>
              <a:gd name="connsiteX10" fmla="*/ 1337117 w 5823357"/>
              <a:gd name="connsiteY10" fmla="*/ 1683445 h 6213484"/>
              <a:gd name="connsiteX11" fmla="*/ 1554075 w 5823357"/>
              <a:gd name="connsiteY11" fmla="*/ 1813624 h 6213484"/>
              <a:gd name="connsiteX12" fmla="*/ 2083620 w 5823357"/>
              <a:gd name="connsiteY12" fmla="*/ 1813624 h 6213484"/>
              <a:gd name="connsiteX13" fmla="*/ 2083620 w 5823357"/>
              <a:gd name="connsiteY13" fmla="*/ 2368879 h 6213484"/>
              <a:gd name="connsiteX14" fmla="*/ 972301 w 5823357"/>
              <a:gd name="connsiteY14" fmla="*/ 2368879 h 6213484"/>
              <a:gd name="connsiteX15" fmla="*/ 0 w 5823357"/>
              <a:gd name="connsiteY15" fmla="*/ 3341180 h 6213484"/>
              <a:gd name="connsiteX16" fmla="*/ 0 w 5823357"/>
              <a:gd name="connsiteY16" fmla="*/ 5250424 h 6213484"/>
              <a:gd name="connsiteX17" fmla="*/ 972301 w 5823357"/>
              <a:gd name="connsiteY17" fmla="*/ 6222724 h 6213484"/>
              <a:gd name="connsiteX18" fmla="*/ 2239509 w 5823357"/>
              <a:gd name="connsiteY18" fmla="*/ 6222724 h 6213484"/>
              <a:gd name="connsiteX19" fmla="*/ 2239509 w 5823357"/>
              <a:gd name="connsiteY19" fmla="*/ 6222724 h 6213484"/>
              <a:gd name="connsiteX20" fmla="*/ 2239509 w 5823357"/>
              <a:gd name="connsiteY20" fmla="*/ 6222724 h 6213484"/>
              <a:gd name="connsiteX21" fmla="*/ 3575818 w 5823357"/>
              <a:gd name="connsiteY21" fmla="*/ 6222724 h 6213484"/>
              <a:gd name="connsiteX22" fmla="*/ 4851866 w 5823357"/>
              <a:gd name="connsiteY22" fmla="*/ 6222724 h 6213484"/>
              <a:gd name="connsiteX23" fmla="*/ 5824167 w 5823357"/>
              <a:gd name="connsiteY23" fmla="*/ 5250424 h 6213484"/>
              <a:gd name="connsiteX24" fmla="*/ 5824167 w 5823357"/>
              <a:gd name="connsiteY24" fmla="*/ 3341180 h 6213484"/>
              <a:gd name="connsiteX25" fmla="*/ 4851866 w 5823357"/>
              <a:gd name="connsiteY25" fmla="*/ 2377719 h 6213484"/>
              <a:gd name="connsiteX26" fmla="*/ 2083620 w 5823357"/>
              <a:gd name="connsiteY26" fmla="*/ 5910137 h 6213484"/>
              <a:gd name="connsiteX27" fmla="*/ 972301 w 5823357"/>
              <a:gd name="connsiteY27" fmla="*/ 5910137 h 6213484"/>
              <a:gd name="connsiteX28" fmla="*/ 321427 w 5823357"/>
              <a:gd name="connsiteY28" fmla="*/ 5259263 h 6213484"/>
              <a:gd name="connsiteX29" fmla="*/ 321427 w 5823357"/>
              <a:gd name="connsiteY29" fmla="*/ 3350020 h 6213484"/>
              <a:gd name="connsiteX30" fmla="*/ 972301 w 5823357"/>
              <a:gd name="connsiteY30" fmla="*/ 2699146 h 6213484"/>
              <a:gd name="connsiteX31" fmla="*/ 2083620 w 5823357"/>
              <a:gd name="connsiteY31" fmla="*/ 2699146 h 6213484"/>
              <a:gd name="connsiteX32" fmla="*/ 2083620 w 5823357"/>
              <a:gd name="connsiteY32" fmla="*/ 5284983 h 6213484"/>
              <a:gd name="connsiteX33" fmla="*/ 2074781 w 5823357"/>
              <a:gd name="connsiteY33" fmla="*/ 5319533 h 6213484"/>
              <a:gd name="connsiteX34" fmla="*/ 2074781 w 5823357"/>
              <a:gd name="connsiteY34" fmla="*/ 5909338 h 6213484"/>
              <a:gd name="connsiteX35" fmla="*/ 2083620 w 5823357"/>
              <a:gd name="connsiteY35" fmla="*/ 5909338 h 6213484"/>
              <a:gd name="connsiteX36" fmla="*/ 2083620 w 5823357"/>
              <a:gd name="connsiteY36" fmla="*/ 5910137 h 6213484"/>
              <a:gd name="connsiteX37" fmla="*/ 2404238 w 5823357"/>
              <a:gd name="connsiteY37" fmla="*/ 5319533 h 6213484"/>
              <a:gd name="connsiteX38" fmla="*/ 2404238 w 5823357"/>
              <a:gd name="connsiteY38" fmla="*/ 2542448 h 6213484"/>
              <a:gd name="connsiteX39" fmla="*/ 2404238 w 5823357"/>
              <a:gd name="connsiteY39" fmla="*/ 1657735 h 6213484"/>
              <a:gd name="connsiteX40" fmla="*/ 2248349 w 5823357"/>
              <a:gd name="connsiteY40" fmla="*/ 1501846 h 6213484"/>
              <a:gd name="connsiteX41" fmla="*/ 1796753 w 5823357"/>
              <a:gd name="connsiteY41" fmla="*/ 1501846 h 6213484"/>
              <a:gd name="connsiteX42" fmla="*/ 2916104 w 5823357"/>
              <a:gd name="connsiteY42" fmla="*/ 339096 h 6213484"/>
              <a:gd name="connsiteX43" fmla="*/ 4036253 w 5823357"/>
              <a:gd name="connsiteY43" fmla="*/ 1501037 h 6213484"/>
              <a:gd name="connsiteX44" fmla="*/ 3584658 w 5823357"/>
              <a:gd name="connsiteY44" fmla="*/ 1501037 h 6213484"/>
              <a:gd name="connsiteX45" fmla="*/ 3428769 w 5823357"/>
              <a:gd name="connsiteY45" fmla="*/ 1656926 h 6213484"/>
              <a:gd name="connsiteX46" fmla="*/ 3428769 w 5823357"/>
              <a:gd name="connsiteY46" fmla="*/ 2533608 h 6213484"/>
              <a:gd name="connsiteX47" fmla="*/ 3428769 w 5823357"/>
              <a:gd name="connsiteY47" fmla="*/ 5900498 h 6213484"/>
              <a:gd name="connsiteX48" fmla="*/ 2404238 w 5823357"/>
              <a:gd name="connsiteY48" fmla="*/ 5900498 h 6213484"/>
              <a:gd name="connsiteX49" fmla="*/ 2404238 w 5823357"/>
              <a:gd name="connsiteY49" fmla="*/ 5319533 h 6213484"/>
              <a:gd name="connsiteX50" fmla="*/ 5502740 w 5823357"/>
              <a:gd name="connsiteY50" fmla="*/ 5259263 h 6213484"/>
              <a:gd name="connsiteX51" fmla="*/ 4851856 w 5823357"/>
              <a:gd name="connsiteY51" fmla="*/ 5910137 h 6213484"/>
              <a:gd name="connsiteX52" fmla="*/ 3741355 w 5823357"/>
              <a:gd name="connsiteY52" fmla="*/ 5910137 h 6213484"/>
              <a:gd name="connsiteX53" fmla="*/ 3741355 w 5823357"/>
              <a:gd name="connsiteY53" fmla="*/ 2699136 h 6213484"/>
              <a:gd name="connsiteX54" fmla="*/ 4851866 w 5823357"/>
              <a:gd name="connsiteY54" fmla="*/ 2699136 h 6213484"/>
              <a:gd name="connsiteX55" fmla="*/ 5502750 w 5823357"/>
              <a:gd name="connsiteY55" fmla="*/ 3350010 h 6213484"/>
              <a:gd name="connsiteX56" fmla="*/ 5502750 w 5823357"/>
              <a:gd name="connsiteY56" fmla="*/ 5259263 h 6213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823357" h="6213484">
                <a:moveTo>
                  <a:pt x="4851866" y="2377719"/>
                </a:moveTo>
                <a:lnTo>
                  <a:pt x="3741355" y="2377719"/>
                </a:lnTo>
                <a:lnTo>
                  <a:pt x="3741355" y="1813624"/>
                </a:lnTo>
                <a:lnTo>
                  <a:pt x="4262060" y="1813624"/>
                </a:lnTo>
                <a:cubicBezTo>
                  <a:pt x="4417950" y="1813624"/>
                  <a:pt x="4479019" y="1735675"/>
                  <a:pt x="4496698" y="1683445"/>
                </a:cubicBezTo>
                <a:cubicBezTo>
                  <a:pt x="4514378" y="1648895"/>
                  <a:pt x="4540088" y="1553267"/>
                  <a:pt x="4444469" y="1457647"/>
                </a:cubicBezTo>
                <a:lnTo>
                  <a:pt x="3133062" y="95619"/>
                </a:lnTo>
                <a:cubicBezTo>
                  <a:pt x="3055112" y="17679"/>
                  <a:pt x="2977173" y="0"/>
                  <a:pt x="2924943" y="0"/>
                </a:cubicBezTo>
                <a:cubicBezTo>
                  <a:pt x="2812444" y="0"/>
                  <a:pt x="2733696" y="69110"/>
                  <a:pt x="2699145" y="95619"/>
                </a:cubicBezTo>
                <a:lnTo>
                  <a:pt x="1406227" y="1431937"/>
                </a:lnTo>
                <a:cubicBezTo>
                  <a:pt x="1301768" y="1536396"/>
                  <a:pt x="1310608" y="1623185"/>
                  <a:pt x="1337117" y="1683445"/>
                </a:cubicBezTo>
                <a:cubicBezTo>
                  <a:pt x="1354797" y="1717995"/>
                  <a:pt x="1406227" y="1804784"/>
                  <a:pt x="1554075" y="1813624"/>
                </a:cubicBezTo>
                <a:lnTo>
                  <a:pt x="2083620" y="1813624"/>
                </a:lnTo>
                <a:lnTo>
                  <a:pt x="2083620" y="2368879"/>
                </a:lnTo>
                <a:lnTo>
                  <a:pt x="972301" y="2368879"/>
                </a:lnTo>
                <a:cubicBezTo>
                  <a:pt x="433916" y="2368879"/>
                  <a:pt x="0" y="2802796"/>
                  <a:pt x="0" y="3341180"/>
                </a:cubicBezTo>
                <a:lnTo>
                  <a:pt x="0" y="5250424"/>
                </a:lnTo>
                <a:cubicBezTo>
                  <a:pt x="0" y="5788808"/>
                  <a:pt x="433916" y="6222724"/>
                  <a:pt x="972301" y="6222724"/>
                </a:cubicBezTo>
                <a:lnTo>
                  <a:pt x="2239509" y="6222724"/>
                </a:lnTo>
                <a:lnTo>
                  <a:pt x="2239509" y="6222724"/>
                </a:lnTo>
                <a:lnTo>
                  <a:pt x="2239509" y="6222724"/>
                </a:lnTo>
                <a:lnTo>
                  <a:pt x="3575818" y="6222724"/>
                </a:lnTo>
                <a:lnTo>
                  <a:pt x="4851866" y="6222724"/>
                </a:lnTo>
                <a:cubicBezTo>
                  <a:pt x="5390251" y="6222724"/>
                  <a:pt x="5824167" y="5788808"/>
                  <a:pt x="5824167" y="5250424"/>
                </a:cubicBezTo>
                <a:lnTo>
                  <a:pt x="5824167" y="3341180"/>
                </a:lnTo>
                <a:cubicBezTo>
                  <a:pt x="5823358" y="2811635"/>
                  <a:pt x="5389442" y="2377719"/>
                  <a:pt x="4851866" y="2377719"/>
                </a:cubicBezTo>
                <a:close/>
                <a:moveTo>
                  <a:pt x="2083620" y="5910137"/>
                </a:moveTo>
                <a:lnTo>
                  <a:pt x="972301" y="5910137"/>
                </a:lnTo>
                <a:cubicBezTo>
                  <a:pt x="616324" y="5910137"/>
                  <a:pt x="321427" y="5615230"/>
                  <a:pt x="321427" y="5259263"/>
                </a:cubicBezTo>
                <a:lnTo>
                  <a:pt x="321427" y="3350020"/>
                </a:lnTo>
                <a:cubicBezTo>
                  <a:pt x="321427" y="2994043"/>
                  <a:pt x="616334" y="2699146"/>
                  <a:pt x="972301" y="2699146"/>
                </a:cubicBezTo>
                <a:lnTo>
                  <a:pt x="2083620" y="2699146"/>
                </a:lnTo>
                <a:lnTo>
                  <a:pt x="2083620" y="5284983"/>
                </a:lnTo>
                <a:cubicBezTo>
                  <a:pt x="2083620" y="5293823"/>
                  <a:pt x="2074781" y="5310693"/>
                  <a:pt x="2074781" y="5319533"/>
                </a:cubicBezTo>
                <a:lnTo>
                  <a:pt x="2074781" y="5909338"/>
                </a:lnTo>
                <a:lnTo>
                  <a:pt x="2083620" y="5909338"/>
                </a:lnTo>
                <a:lnTo>
                  <a:pt x="2083620" y="5910137"/>
                </a:lnTo>
                <a:close/>
                <a:moveTo>
                  <a:pt x="2404238" y="5319533"/>
                </a:moveTo>
                <a:lnTo>
                  <a:pt x="2404238" y="2542448"/>
                </a:lnTo>
                <a:lnTo>
                  <a:pt x="2404238" y="1657735"/>
                </a:lnTo>
                <a:cubicBezTo>
                  <a:pt x="2404238" y="1570956"/>
                  <a:pt x="2335129" y="1501846"/>
                  <a:pt x="2248349" y="1501846"/>
                </a:cubicBezTo>
                <a:lnTo>
                  <a:pt x="1796753" y="1501846"/>
                </a:lnTo>
                <a:lnTo>
                  <a:pt x="2916104" y="339096"/>
                </a:lnTo>
                <a:lnTo>
                  <a:pt x="4036253" y="1501037"/>
                </a:lnTo>
                <a:lnTo>
                  <a:pt x="3584658" y="1501037"/>
                </a:lnTo>
                <a:cubicBezTo>
                  <a:pt x="3497869" y="1501037"/>
                  <a:pt x="3428769" y="1570147"/>
                  <a:pt x="3428769" y="1656926"/>
                </a:cubicBezTo>
                <a:lnTo>
                  <a:pt x="3428769" y="2533608"/>
                </a:lnTo>
                <a:lnTo>
                  <a:pt x="3428769" y="5900498"/>
                </a:lnTo>
                <a:lnTo>
                  <a:pt x="2404238" y="5900498"/>
                </a:lnTo>
                <a:lnTo>
                  <a:pt x="2404238" y="5319533"/>
                </a:lnTo>
                <a:close/>
                <a:moveTo>
                  <a:pt x="5502740" y="5259263"/>
                </a:moveTo>
                <a:cubicBezTo>
                  <a:pt x="5502740" y="5615240"/>
                  <a:pt x="5207833" y="5910137"/>
                  <a:pt x="4851856" y="5910137"/>
                </a:cubicBezTo>
                <a:lnTo>
                  <a:pt x="3741355" y="5910137"/>
                </a:lnTo>
                <a:lnTo>
                  <a:pt x="3741355" y="2699136"/>
                </a:lnTo>
                <a:lnTo>
                  <a:pt x="4851866" y="2699136"/>
                </a:lnTo>
                <a:cubicBezTo>
                  <a:pt x="5207842" y="2699136"/>
                  <a:pt x="5502750" y="2994043"/>
                  <a:pt x="5502750" y="3350010"/>
                </a:cubicBezTo>
                <a:lnTo>
                  <a:pt x="5502750" y="5259263"/>
                </a:lnTo>
                <a:close/>
              </a:path>
            </a:pathLst>
          </a:custGeom>
          <a:solidFill>
            <a:schemeClr val="bg1"/>
          </a:solidFill>
          <a:ln w="951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7" name="Forma libre 444">
            <a:extLst>
              <a:ext uri="{FF2B5EF4-FFF2-40B4-BE49-F238E27FC236}">
                <a16:creationId xmlns:a16="http://schemas.microsoft.com/office/drawing/2014/main" xmlns="" id="{D9BD46DD-D399-5444-A75B-11785410BE28}"/>
              </a:ext>
            </a:extLst>
          </p:cNvPr>
          <p:cNvSpPr/>
          <p:nvPr/>
        </p:nvSpPr>
        <p:spPr>
          <a:xfrm>
            <a:off x="3541322" y="2047364"/>
            <a:ext cx="301831" cy="278158"/>
          </a:xfrm>
          <a:custGeom>
            <a:avLst/>
            <a:gdLst>
              <a:gd name="connsiteX0" fmla="*/ 5392693 w 5829300"/>
              <a:gd name="connsiteY0" fmla="*/ 563880 h 5372100"/>
              <a:gd name="connsiteX1" fmla="*/ 4821641 w 5829300"/>
              <a:gd name="connsiteY1" fmla="*/ 563880 h 5372100"/>
              <a:gd name="connsiteX2" fmla="*/ 4821641 w 5829300"/>
              <a:gd name="connsiteY2" fmla="*/ 246697 h 5372100"/>
              <a:gd name="connsiteX3" fmla="*/ 4574943 w 5829300"/>
              <a:gd name="connsiteY3" fmla="*/ 0 h 5372100"/>
              <a:gd name="connsiteX4" fmla="*/ 4222518 w 5829300"/>
              <a:gd name="connsiteY4" fmla="*/ 0 h 5372100"/>
              <a:gd name="connsiteX5" fmla="*/ 3975821 w 5829300"/>
              <a:gd name="connsiteY5" fmla="*/ 246697 h 5372100"/>
              <a:gd name="connsiteX6" fmla="*/ 3975821 w 5829300"/>
              <a:gd name="connsiteY6" fmla="*/ 563880 h 5372100"/>
              <a:gd name="connsiteX7" fmla="*/ 1882188 w 5829300"/>
              <a:gd name="connsiteY7" fmla="*/ 563880 h 5372100"/>
              <a:gd name="connsiteX8" fmla="*/ 1882188 w 5829300"/>
              <a:gd name="connsiteY8" fmla="*/ 246697 h 5372100"/>
              <a:gd name="connsiteX9" fmla="*/ 1635490 w 5829300"/>
              <a:gd name="connsiteY9" fmla="*/ 0 h 5372100"/>
              <a:gd name="connsiteX10" fmla="*/ 1283065 w 5829300"/>
              <a:gd name="connsiteY10" fmla="*/ 0 h 5372100"/>
              <a:gd name="connsiteX11" fmla="*/ 1036368 w 5829300"/>
              <a:gd name="connsiteY11" fmla="*/ 246697 h 5372100"/>
              <a:gd name="connsiteX12" fmla="*/ 1036368 w 5829300"/>
              <a:gd name="connsiteY12" fmla="*/ 563880 h 5372100"/>
              <a:gd name="connsiteX13" fmla="*/ 437264 w 5829300"/>
              <a:gd name="connsiteY13" fmla="*/ 563880 h 5372100"/>
              <a:gd name="connsiteX14" fmla="*/ 0 w 5829300"/>
              <a:gd name="connsiteY14" fmla="*/ 1001144 h 5372100"/>
              <a:gd name="connsiteX15" fmla="*/ 0 w 5829300"/>
              <a:gd name="connsiteY15" fmla="*/ 4941075 h 5372100"/>
              <a:gd name="connsiteX16" fmla="*/ 437264 w 5829300"/>
              <a:gd name="connsiteY16" fmla="*/ 5378339 h 5372100"/>
              <a:gd name="connsiteX17" fmla="*/ 5392036 w 5829300"/>
              <a:gd name="connsiteY17" fmla="*/ 5378339 h 5372100"/>
              <a:gd name="connsiteX18" fmla="*/ 5829300 w 5829300"/>
              <a:gd name="connsiteY18" fmla="*/ 4941075 h 5372100"/>
              <a:gd name="connsiteX19" fmla="*/ 5829300 w 5829300"/>
              <a:gd name="connsiteY19" fmla="*/ 1001144 h 5372100"/>
              <a:gd name="connsiteX20" fmla="*/ 5392693 w 5829300"/>
              <a:gd name="connsiteY20" fmla="*/ 563880 h 5372100"/>
              <a:gd name="connsiteX21" fmla="*/ 4236882 w 5829300"/>
              <a:gd name="connsiteY21" fmla="*/ 267586 h 5372100"/>
              <a:gd name="connsiteX22" fmla="*/ 4561237 w 5829300"/>
              <a:gd name="connsiteY22" fmla="*/ 267586 h 5372100"/>
              <a:gd name="connsiteX23" fmla="*/ 4561237 w 5829300"/>
              <a:gd name="connsiteY23" fmla="*/ 697668 h 5372100"/>
              <a:gd name="connsiteX24" fmla="*/ 4561237 w 5829300"/>
              <a:gd name="connsiteY24" fmla="*/ 1042911 h 5372100"/>
              <a:gd name="connsiteX25" fmla="*/ 4236882 w 5829300"/>
              <a:gd name="connsiteY25" fmla="*/ 1042911 h 5372100"/>
              <a:gd name="connsiteX26" fmla="*/ 4236882 w 5829300"/>
              <a:gd name="connsiteY26" fmla="*/ 697668 h 5372100"/>
              <a:gd name="connsiteX27" fmla="*/ 4236882 w 5829300"/>
              <a:gd name="connsiteY27" fmla="*/ 267586 h 5372100"/>
              <a:gd name="connsiteX28" fmla="*/ 1297429 w 5829300"/>
              <a:gd name="connsiteY28" fmla="*/ 267586 h 5372100"/>
              <a:gd name="connsiteX29" fmla="*/ 1621784 w 5829300"/>
              <a:gd name="connsiteY29" fmla="*/ 267586 h 5372100"/>
              <a:gd name="connsiteX30" fmla="*/ 1621784 w 5829300"/>
              <a:gd name="connsiteY30" fmla="*/ 697668 h 5372100"/>
              <a:gd name="connsiteX31" fmla="*/ 1621784 w 5829300"/>
              <a:gd name="connsiteY31" fmla="*/ 1042911 h 5372100"/>
              <a:gd name="connsiteX32" fmla="*/ 1297429 w 5829300"/>
              <a:gd name="connsiteY32" fmla="*/ 1042911 h 5372100"/>
              <a:gd name="connsiteX33" fmla="*/ 1297429 w 5829300"/>
              <a:gd name="connsiteY33" fmla="*/ 697668 h 5372100"/>
              <a:gd name="connsiteX34" fmla="*/ 1297429 w 5829300"/>
              <a:gd name="connsiteY34" fmla="*/ 267586 h 5372100"/>
              <a:gd name="connsiteX35" fmla="*/ 444446 w 5829300"/>
              <a:gd name="connsiteY35" fmla="*/ 824932 h 5372100"/>
              <a:gd name="connsiteX36" fmla="*/ 1043559 w 5829300"/>
              <a:gd name="connsiteY36" fmla="*/ 824932 h 5372100"/>
              <a:gd name="connsiteX37" fmla="*/ 1043559 w 5829300"/>
              <a:gd name="connsiteY37" fmla="*/ 1057266 h 5372100"/>
              <a:gd name="connsiteX38" fmla="*/ 1290257 w 5829300"/>
              <a:gd name="connsiteY38" fmla="*/ 1303963 h 5372100"/>
              <a:gd name="connsiteX39" fmla="*/ 1642682 w 5829300"/>
              <a:gd name="connsiteY39" fmla="*/ 1303963 h 5372100"/>
              <a:gd name="connsiteX40" fmla="*/ 1889379 w 5829300"/>
              <a:gd name="connsiteY40" fmla="*/ 1057266 h 5372100"/>
              <a:gd name="connsiteX41" fmla="*/ 1889379 w 5829300"/>
              <a:gd name="connsiteY41" fmla="*/ 824932 h 5372100"/>
              <a:gd name="connsiteX42" fmla="*/ 3975830 w 5829300"/>
              <a:gd name="connsiteY42" fmla="*/ 824932 h 5372100"/>
              <a:gd name="connsiteX43" fmla="*/ 3975830 w 5829300"/>
              <a:gd name="connsiteY43" fmla="*/ 1057266 h 5372100"/>
              <a:gd name="connsiteX44" fmla="*/ 4222528 w 5829300"/>
              <a:gd name="connsiteY44" fmla="*/ 1303963 h 5372100"/>
              <a:gd name="connsiteX45" fmla="*/ 4574953 w 5829300"/>
              <a:gd name="connsiteY45" fmla="*/ 1303963 h 5372100"/>
              <a:gd name="connsiteX46" fmla="*/ 4821650 w 5829300"/>
              <a:gd name="connsiteY46" fmla="*/ 1057266 h 5372100"/>
              <a:gd name="connsiteX47" fmla="*/ 4821650 w 5829300"/>
              <a:gd name="connsiteY47" fmla="*/ 824932 h 5372100"/>
              <a:gd name="connsiteX48" fmla="*/ 5399885 w 5829300"/>
              <a:gd name="connsiteY48" fmla="*/ 824932 h 5372100"/>
              <a:gd name="connsiteX49" fmla="*/ 5576097 w 5829300"/>
              <a:gd name="connsiteY49" fmla="*/ 1001144 h 5372100"/>
              <a:gd name="connsiteX50" fmla="*/ 5576097 w 5829300"/>
              <a:gd name="connsiteY50" fmla="*/ 1705985 h 5372100"/>
              <a:gd name="connsiteX51" fmla="*/ 268234 w 5829300"/>
              <a:gd name="connsiteY51" fmla="*/ 1705985 h 5372100"/>
              <a:gd name="connsiteX52" fmla="*/ 268234 w 5829300"/>
              <a:gd name="connsiteY52" fmla="*/ 1001144 h 5372100"/>
              <a:gd name="connsiteX53" fmla="*/ 444446 w 5829300"/>
              <a:gd name="connsiteY53" fmla="*/ 824932 h 5372100"/>
              <a:gd name="connsiteX54" fmla="*/ 5392693 w 5829300"/>
              <a:gd name="connsiteY54" fmla="*/ 5117287 h 5372100"/>
              <a:gd name="connsiteX55" fmla="*/ 444446 w 5829300"/>
              <a:gd name="connsiteY55" fmla="*/ 5117287 h 5372100"/>
              <a:gd name="connsiteX56" fmla="*/ 268234 w 5829300"/>
              <a:gd name="connsiteY56" fmla="*/ 4941075 h 5372100"/>
              <a:gd name="connsiteX57" fmla="*/ 268234 w 5829300"/>
              <a:gd name="connsiteY57" fmla="*/ 1966389 h 5372100"/>
              <a:gd name="connsiteX58" fmla="*/ 5568906 w 5829300"/>
              <a:gd name="connsiteY58" fmla="*/ 1966389 h 5372100"/>
              <a:gd name="connsiteX59" fmla="*/ 5568906 w 5829300"/>
              <a:gd name="connsiteY59" fmla="*/ 4941075 h 5372100"/>
              <a:gd name="connsiteX60" fmla="*/ 5392693 w 5829300"/>
              <a:gd name="connsiteY60" fmla="*/ 5117287 h 5372100"/>
              <a:gd name="connsiteX61" fmla="*/ 1417511 w 5829300"/>
              <a:gd name="connsiteY61" fmla="*/ 2678401 h 5372100"/>
              <a:gd name="connsiteX62" fmla="*/ 1290904 w 5829300"/>
              <a:gd name="connsiteY62" fmla="*/ 2805008 h 5372100"/>
              <a:gd name="connsiteX63" fmla="*/ 867994 w 5829300"/>
              <a:gd name="connsiteY63" fmla="*/ 2805008 h 5372100"/>
              <a:gd name="connsiteX64" fmla="*/ 741388 w 5829300"/>
              <a:gd name="connsiteY64" fmla="*/ 2678401 h 5372100"/>
              <a:gd name="connsiteX65" fmla="*/ 867994 w 5829300"/>
              <a:gd name="connsiteY65" fmla="*/ 2551795 h 5372100"/>
              <a:gd name="connsiteX66" fmla="*/ 1290895 w 5829300"/>
              <a:gd name="connsiteY66" fmla="*/ 2551795 h 5372100"/>
              <a:gd name="connsiteX67" fmla="*/ 1417511 w 5829300"/>
              <a:gd name="connsiteY67" fmla="*/ 2678401 h 5372100"/>
              <a:gd name="connsiteX68" fmla="*/ 2636625 w 5829300"/>
              <a:gd name="connsiteY68" fmla="*/ 2678401 h 5372100"/>
              <a:gd name="connsiteX69" fmla="*/ 2510019 w 5829300"/>
              <a:gd name="connsiteY69" fmla="*/ 2805008 h 5372100"/>
              <a:gd name="connsiteX70" fmla="*/ 2087118 w 5829300"/>
              <a:gd name="connsiteY70" fmla="*/ 2805008 h 5372100"/>
              <a:gd name="connsiteX71" fmla="*/ 1960512 w 5829300"/>
              <a:gd name="connsiteY71" fmla="*/ 2678401 h 5372100"/>
              <a:gd name="connsiteX72" fmla="*/ 2087118 w 5829300"/>
              <a:gd name="connsiteY72" fmla="*/ 2551795 h 5372100"/>
              <a:gd name="connsiteX73" fmla="*/ 2510019 w 5829300"/>
              <a:gd name="connsiteY73" fmla="*/ 2551795 h 5372100"/>
              <a:gd name="connsiteX74" fmla="*/ 2636625 w 5829300"/>
              <a:gd name="connsiteY74" fmla="*/ 2678401 h 5372100"/>
              <a:gd name="connsiteX75" fmla="*/ 3849215 w 5829300"/>
              <a:gd name="connsiteY75" fmla="*/ 2678401 h 5372100"/>
              <a:gd name="connsiteX76" fmla="*/ 3722608 w 5829300"/>
              <a:gd name="connsiteY76" fmla="*/ 2805008 h 5372100"/>
              <a:gd name="connsiteX77" fmla="*/ 3299708 w 5829300"/>
              <a:gd name="connsiteY77" fmla="*/ 2805008 h 5372100"/>
              <a:gd name="connsiteX78" fmla="*/ 3173102 w 5829300"/>
              <a:gd name="connsiteY78" fmla="*/ 2678401 h 5372100"/>
              <a:gd name="connsiteX79" fmla="*/ 3299708 w 5829300"/>
              <a:gd name="connsiteY79" fmla="*/ 2551795 h 5372100"/>
              <a:gd name="connsiteX80" fmla="*/ 3722608 w 5829300"/>
              <a:gd name="connsiteY80" fmla="*/ 2551795 h 5372100"/>
              <a:gd name="connsiteX81" fmla="*/ 3849215 w 5829300"/>
              <a:gd name="connsiteY81" fmla="*/ 2678401 h 5372100"/>
              <a:gd name="connsiteX82" fmla="*/ 5068329 w 5829300"/>
              <a:gd name="connsiteY82" fmla="*/ 2678401 h 5372100"/>
              <a:gd name="connsiteX83" fmla="*/ 4941722 w 5829300"/>
              <a:gd name="connsiteY83" fmla="*/ 2805008 h 5372100"/>
              <a:gd name="connsiteX84" fmla="*/ 4518813 w 5829300"/>
              <a:gd name="connsiteY84" fmla="*/ 2805008 h 5372100"/>
              <a:gd name="connsiteX85" fmla="*/ 4392206 w 5829300"/>
              <a:gd name="connsiteY85" fmla="*/ 2678401 h 5372100"/>
              <a:gd name="connsiteX86" fmla="*/ 4518813 w 5829300"/>
              <a:gd name="connsiteY86" fmla="*/ 2551795 h 5372100"/>
              <a:gd name="connsiteX87" fmla="*/ 4941722 w 5829300"/>
              <a:gd name="connsiteY87" fmla="*/ 2551795 h 5372100"/>
              <a:gd name="connsiteX88" fmla="*/ 5068329 w 5829300"/>
              <a:gd name="connsiteY88" fmla="*/ 2678401 h 5372100"/>
              <a:gd name="connsiteX89" fmla="*/ 1417511 w 5829300"/>
              <a:gd name="connsiteY89" fmla="*/ 3545100 h 5372100"/>
              <a:gd name="connsiteX90" fmla="*/ 1290904 w 5829300"/>
              <a:gd name="connsiteY90" fmla="*/ 3671707 h 5372100"/>
              <a:gd name="connsiteX91" fmla="*/ 867994 w 5829300"/>
              <a:gd name="connsiteY91" fmla="*/ 3671707 h 5372100"/>
              <a:gd name="connsiteX92" fmla="*/ 741388 w 5829300"/>
              <a:gd name="connsiteY92" fmla="*/ 3545100 h 5372100"/>
              <a:gd name="connsiteX93" fmla="*/ 867994 w 5829300"/>
              <a:gd name="connsiteY93" fmla="*/ 3418494 h 5372100"/>
              <a:gd name="connsiteX94" fmla="*/ 1290895 w 5829300"/>
              <a:gd name="connsiteY94" fmla="*/ 3418494 h 5372100"/>
              <a:gd name="connsiteX95" fmla="*/ 1417511 w 5829300"/>
              <a:gd name="connsiteY95" fmla="*/ 3545100 h 5372100"/>
              <a:gd name="connsiteX96" fmla="*/ 2636625 w 5829300"/>
              <a:gd name="connsiteY96" fmla="*/ 3545100 h 5372100"/>
              <a:gd name="connsiteX97" fmla="*/ 2510019 w 5829300"/>
              <a:gd name="connsiteY97" fmla="*/ 3671707 h 5372100"/>
              <a:gd name="connsiteX98" fmla="*/ 2087118 w 5829300"/>
              <a:gd name="connsiteY98" fmla="*/ 3671707 h 5372100"/>
              <a:gd name="connsiteX99" fmla="*/ 1960512 w 5829300"/>
              <a:gd name="connsiteY99" fmla="*/ 3545100 h 5372100"/>
              <a:gd name="connsiteX100" fmla="*/ 2087118 w 5829300"/>
              <a:gd name="connsiteY100" fmla="*/ 3418494 h 5372100"/>
              <a:gd name="connsiteX101" fmla="*/ 2510019 w 5829300"/>
              <a:gd name="connsiteY101" fmla="*/ 3418494 h 5372100"/>
              <a:gd name="connsiteX102" fmla="*/ 2636625 w 5829300"/>
              <a:gd name="connsiteY102" fmla="*/ 3545100 h 5372100"/>
              <a:gd name="connsiteX103" fmla="*/ 3849215 w 5829300"/>
              <a:gd name="connsiteY103" fmla="*/ 3545100 h 5372100"/>
              <a:gd name="connsiteX104" fmla="*/ 3722608 w 5829300"/>
              <a:gd name="connsiteY104" fmla="*/ 3671707 h 5372100"/>
              <a:gd name="connsiteX105" fmla="*/ 3299708 w 5829300"/>
              <a:gd name="connsiteY105" fmla="*/ 3671707 h 5372100"/>
              <a:gd name="connsiteX106" fmla="*/ 3173102 w 5829300"/>
              <a:gd name="connsiteY106" fmla="*/ 3545100 h 5372100"/>
              <a:gd name="connsiteX107" fmla="*/ 3299708 w 5829300"/>
              <a:gd name="connsiteY107" fmla="*/ 3418494 h 5372100"/>
              <a:gd name="connsiteX108" fmla="*/ 3722608 w 5829300"/>
              <a:gd name="connsiteY108" fmla="*/ 3418494 h 5372100"/>
              <a:gd name="connsiteX109" fmla="*/ 3849215 w 5829300"/>
              <a:gd name="connsiteY109" fmla="*/ 3545100 h 5372100"/>
              <a:gd name="connsiteX110" fmla="*/ 5068329 w 5829300"/>
              <a:gd name="connsiteY110" fmla="*/ 3545100 h 5372100"/>
              <a:gd name="connsiteX111" fmla="*/ 4941722 w 5829300"/>
              <a:gd name="connsiteY111" fmla="*/ 3671707 h 5372100"/>
              <a:gd name="connsiteX112" fmla="*/ 4518813 w 5829300"/>
              <a:gd name="connsiteY112" fmla="*/ 3671707 h 5372100"/>
              <a:gd name="connsiteX113" fmla="*/ 4392206 w 5829300"/>
              <a:gd name="connsiteY113" fmla="*/ 3545100 h 5372100"/>
              <a:gd name="connsiteX114" fmla="*/ 4518813 w 5829300"/>
              <a:gd name="connsiteY114" fmla="*/ 3418494 h 5372100"/>
              <a:gd name="connsiteX115" fmla="*/ 4941722 w 5829300"/>
              <a:gd name="connsiteY115" fmla="*/ 3418494 h 5372100"/>
              <a:gd name="connsiteX116" fmla="*/ 5068329 w 5829300"/>
              <a:gd name="connsiteY116" fmla="*/ 3545100 h 5372100"/>
              <a:gd name="connsiteX117" fmla="*/ 1417511 w 5829300"/>
              <a:gd name="connsiteY117" fmla="*/ 4419629 h 5372100"/>
              <a:gd name="connsiteX118" fmla="*/ 1290904 w 5829300"/>
              <a:gd name="connsiteY118" fmla="*/ 4546235 h 5372100"/>
              <a:gd name="connsiteX119" fmla="*/ 867994 w 5829300"/>
              <a:gd name="connsiteY119" fmla="*/ 4546235 h 5372100"/>
              <a:gd name="connsiteX120" fmla="*/ 741388 w 5829300"/>
              <a:gd name="connsiteY120" fmla="*/ 4419629 h 5372100"/>
              <a:gd name="connsiteX121" fmla="*/ 867994 w 5829300"/>
              <a:gd name="connsiteY121" fmla="*/ 4293022 h 5372100"/>
              <a:gd name="connsiteX122" fmla="*/ 1290895 w 5829300"/>
              <a:gd name="connsiteY122" fmla="*/ 4293022 h 5372100"/>
              <a:gd name="connsiteX123" fmla="*/ 1417511 w 5829300"/>
              <a:gd name="connsiteY123" fmla="*/ 4419629 h 5372100"/>
              <a:gd name="connsiteX124" fmla="*/ 2636625 w 5829300"/>
              <a:gd name="connsiteY124" fmla="*/ 4419629 h 5372100"/>
              <a:gd name="connsiteX125" fmla="*/ 2510019 w 5829300"/>
              <a:gd name="connsiteY125" fmla="*/ 4546235 h 5372100"/>
              <a:gd name="connsiteX126" fmla="*/ 2087118 w 5829300"/>
              <a:gd name="connsiteY126" fmla="*/ 4546235 h 5372100"/>
              <a:gd name="connsiteX127" fmla="*/ 1960512 w 5829300"/>
              <a:gd name="connsiteY127" fmla="*/ 4419629 h 5372100"/>
              <a:gd name="connsiteX128" fmla="*/ 2087118 w 5829300"/>
              <a:gd name="connsiteY128" fmla="*/ 4293022 h 5372100"/>
              <a:gd name="connsiteX129" fmla="*/ 2510019 w 5829300"/>
              <a:gd name="connsiteY129" fmla="*/ 4293022 h 5372100"/>
              <a:gd name="connsiteX130" fmla="*/ 2636625 w 5829300"/>
              <a:gd name="connsiteY130" fmla="*/ 4419629 h 5372100"/>
              <a:gd name="connsiteX131" fmla="*/ 3849215 w 5829300"/>
              <a:gd name="connsiteY131" fmla="*/ 4419629 h 5372100"/>
              <a:gd name="connsiteX132" fmla="*/ 3722608 w 5829300"/>
              <a:gd name="connsiteY132" fmla="*/ 4546235 h 5372100"/>
              <a:gd name="connsiteX133" fmla="*/ 3299708 w 5829300"/>
              <a:gd name="connsiteY133" fmla="*/ 4546235 h 5372100"/>
              <a:gd name="connsiteX134" fmla="*/ 3173102 w 5829300"/>
              <a:gd name="connsiteY134" fmla="*/ 4419629 h 5372100"/>
              <a:gd name="connsiteX135" fmla="*/ 3299708 w 5829300"/>
              <a:gd name="connsiteY135" fmla="*/ 4293022 h 5372100"/>
              <a:gd name="connsiteX136" fmla="*/ 3722608 w 5829300"/>
              <a:gd name="connsiteY136" fmla="*/ 4293022 h 5372100"/>
              <a:gd name="connsiteX137" fmla="*/ 3849215 w 5829300"/>
              <a:gd name="connsiteY137" fmla="*/ 4419629 h 5372100"/>
              <a:gd name="connsiteX138" fmla="*/ 5068329 w 5829300"/>
              <a:gd name="connsiteY138" fmla="*/ 4419629 h 5372100"/>
              <a:gd name="connsiteX139" fmla="*/ 4941722 w 5829300"/>
              <a:gd name="connsiteY139" fmla="*/ 4546235 h 5372100"/>
              <a:gd name="connsiteX140" fmla="*/ 4518813 w 5829300"/>
              <a:gd name="connsiteY140" fmla="*/ 4546235 h 5372100"/>
              <a:gd name="connsiteX141" fmla="*/ 4392206 w 5829300"/>
              <a:gd name="connsiteY141" fmla="*/ 4419629 h 5372100"/>
              <a:gd name="connsiteX142" fmla="*/ 4518813 w 5829300"/>
              <a:gd name="connsiteY142" fmla="*/ 4293022 h 5372100"/>
              <a:gd name="connsiteX143" fmla="*/ 4941722 w 5829300"/>
              <a:gd name="connsiteY143" fmla="*/ 4293022 h 5372100"/>
              <a:gd name="connsiteX144" fmla="*/ 5068329 w 5829300"/>
              <a:gd name="connsiteY144" fmla="*/ 4419629 h 537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5829300" h="5372100">
                <a:moveTo>
                  <a:pt x="5392693" y="563880"/>
                </a:moveTo>
                <a:lnTo>
                  <a:pt x="4821641" y="563880"/>
                </a:lnTo>
                <a:lnTo>
                  <a:pt x="4821641" y="246697"/>
                </a:lnTo>
                <a:cubicBezTo>
                  <a:pt x="4821641" y="112909"/>
                  <a:pt x="4708732" y="0"/>
                  <a:pt x="4574943" y="0"/>
                </a:cubicBezTo>
                <a:lnTo>
                  <a:pt x="4222518" y="0"/>
                </a:lnTo>
                <a:cubicBezTo>
                  <a:pt x="4088730" y="0"/>
                  <a:pt x="3975821" y="112909"/>
                  <a:pt x="3975821" y="246697"/>
                </a:cubicBezTo>
                <a:lnTo>
                  <a:pt x="3975821" y="563880"/>
                </a:lnTo>
                <a:lnTo>
                  <a:pt x="1882188" y="563880"/>
                </a:lnTo>
                <a:lnTo>
                  <a:pt x="1882188" y="246697"/>
                </a:lnTo>
                <a:cubicBezTo>
                  <a:pt x="1882188" y="112909"/>
                  <a:pt x="1769278" y="0"/>
                  <a:pt x="1635490" y="0"/>
                </a:cubicBezTo>
                <a:lnTo>
                  <a:pt x="1283065" y="0"/>
                </a:lnTo>
                <a:cubicBezTo>
                  <a:pt x="1149277" y="0"/>
                  <a:pt x="1036368" y="112909"/>
                  <a:pt x="1036368" y="246697"/>
                </a:cubicBezTo>
                <a:lnTo>
                  <a:pt x="1036368" y="563880"/>
                </a:lnTo>
                <a:lnTo>
                  <a:pt x="437264" y="563880"/>
                </a:lnTo>
                <a:cubicBezTo>
                  <a:pt x="197749" y="563880"/>
                  <a:pt x="0" y="760971"/>
                  <a:pt x="0" y="1001144"/>
                </a:cubicBezTo>
                <a:lnTo>
                  <a:pt x="0" y="4941075"/>
                </a:lnTo>
                <a:cubicBezTo>
                  <a:pt x="0" y="5180590"/>
                  <a:pt x="197091" y="5378339"/>
                  <a:pt x="437264" y="5378339"/>
                </a:cubicBezTo>
                <a:lnTo>
                  <a:pt x="5392036" y="5378339"/>
                </a:lnTo>
                <a:cubicBezTo>
                  <a:pt x="5631552" y="5378339"/>
                  <a:pt x="5829300" y="5181248"/>
                  <a:pt x="5829300" y="4941075"/>
                </a:cubicBezTo>
                <a:lnTo>
                  <a:pt x="5829300" y="1001144"/>
                </a:lnTo>
                <a:cubicBezTo>
                  <a:pt x="5829300" y="760971"/>
                  <a:pt x="5632209" y="563880"/>
                  <a:pt x="5392693" y="563880"/>
                </a:cubicBezTo>
                <a:close/>
                <a:moveTo>
                  <a:pt x="4236882" y="267586"/>
                </a:moveTo>
                <a:lnTo>
                  <a:pt x="4561237" y="267586"/>
                </a:lnTo>
                <a:lnTo>
                  <a:pt x="4561237" y="697668"/>
                </a:lnTo>
                <a:lnTo>
                  <a:pt x="4561237" y="1042911"/>
                </a:lnTo>
                <a:lnTo>
                  <a:pt x="4236882" y="1042911"/>
                </a:lnTo>
                <a:lnTo>
                  <a:pt x="4236882" y="697668"/>
                </a:lnTo>
                <a:lnTo>
                  <a:pt x="4236882" y="267586"/>
                </a:lnTo>
                <a:close/>
                <a:moveTo>
                  <a:pt x="1297429" y="267586"/>
                </a:moveTo>
                <a:lnTo>
                  <a:pt x="1621784" y="267586"/>
                </a:lnTo>
                <a:lnTo>
                  <a:pt x="1621784" y="697668"/>
                </a:lnTo>
                <a:lnTo>
                  <a:pt x="1621784" y="1042911"/>
                </a:lnTo>
                <a:lnTo>
                  <a:pt x="1297429" y="1042911"/>
                </a:lnTo>
                <a:lnTo>
                  <a:pt x="1297429" y="697668"/>
                </a:lnTo>
                <a:lnTo>
                  <a:pt x="1297429" y="267586"/>
                </a:lnTo>
                <a:close/>
                <a:moveTo>
                  <a:pt x="444446" y="824932"/>
                </a:moveTo>
                <a:lnTo>
                  <a:pt x="1043559" y="824932"/>
                </a:lnTo>
                <a:lnTo>
                  <a:pt x="1043559" y="1057266"/>
                </a:lnTo>
                <a:cubicBezTo>
                  <a:pt x="1043559" y="1191054"/>
                  <a:pt x="1156468" y="1303963"/>
                  <a:pt x="1290257" y="1303963"/>
                </a:cubicBezTo>
                <a:lnTo>
                  <a:pt x="1642682" y="1303963"/>
                </a:lnTo>
                <a:cubicBezTo>
                  <a:pt x="1776470" y="1303963"/>
                  <a:pt x="1889379" y="1191054"/>
                  <a:pt x="1889379" y="1057266"/>
                </a:cubicBezTo>
                <a:lnTo>
                  <a:pt x="1889379" y="824932"/>
                </a:lnTo>
                <a:lnTo>
                  <a:pt x="3975830" y="824932"/>
                </a:lnTo>
                <a:lnTo>
                  <a:pt x="3975830" y="1057266"/>
                </a:lnTo>
                <a:cubicBezTo>
                  <a:pt x="3975830" y="1191054"/>
                  <a:pt x="4088740" y="1303963"/>
                  <a:pt x="4222528" y="1303963"/>
                </a:cubicBezTo>
                <a:lnTo>
                  <a:pt x="4574953" y="1303963"/>
                </a:lnTo>
                <a:cubicBezTo>
                  <a:pt x="4708741" y="1303963"/>
                  <a:pt x="4821650" y="1191054"/>
                  <a:pt x="4821650" y="1057266"/>
                </a:cubicBezTo>
                <a:lnTo>
                  <a:pt x="4821650" y="824932"/>
                </a:lnTo>
                <a:lnTo>
                  <a:pt x="5399885" y="824932"/>
                </a:lnTo>
                <a:cubicBezTo>
                  <a:pt x="5498430" y="824932"/>
                  <a:pt x="5576097" y="902599"/>
                  <a:pt x="5576097" y="1001144"/>
                </a:cubicBezTo>
                <a:lnTo>
                  <a:pt x="5576097" y="1705985"/>
                </a:lnTo>
                <a:lnTo>
                  <a:pt x="268234" y="1705985"/>
                </a:lnTo>
                <a:lnTo>
                  <a:pt x="268234" y="1001144"/>
                </a:lnTo>
                <a:cubicBezTo>
                  <a:pt x="268234" y="901941"/>
                  <a:pt x="345891" y="824932"/>
                  <a:pt x="444446" y="824932"/>
                </a:cubicBezTo>
                <a:close/>
                <a:moveTo>
                  <a:pt x="5392693" y="5117287"/>
                </a:moveTo>
                <a:lnTo>
                  <a:pt x="444446" y="5117287"/>
                </a:lnTo>
                <a:cubicBezTo>
                  <a:pt x="345900" y="5117287"/>
                  <a:pt x="268234" y="5039621"/>
                  <a:pt x="268234" y="4941075"/>
                </a:cubicBezTo>
                <a:lnTo>
                  <a:pt x="268234" y="1966389"/>
                </a:lnTo>
                <a:lnTo>
                  <a:pt x="5568906" y="1966389"/>
                </a:lnTo>
                <a:lnTo>
                  <a:pt x="5568906" y="4941075"/>
                </a:lnTo>
                <a:cubicBezTo>
                  <a:pt x="5568896" y="5039621"/>
                  <a:pt x="5491239" y="5117287"/>
                  <a:pt x="5392693" y="5117287"/>
                </a:cubicBezTo>
                <a:close/>
                <a:moveTo>
                  <a:pt x="1417511" y="2678401"/>
                </a:moveTo>
                <a:cubicBezTo>
                  <a:pt x="1417511" y="2748887"/>
                  <a:pt x="1361380" y="2805008"/>
                  <a:pt x="1290904" y="2805008"/>
                </a:cubicBezTo>
                <a:lnTo>
                  <a:pt x="867994" y="2805008"/>
                </a:lnTo>
                <a:cubicBezTo>
                  <a:pt x="797509" y="2805008"/>
                  <a:pt x="741388" y="2748877"/>
                  <a:pt x="741388" y="2678401"/>
                </a:cubicBezTo>
                <a:cubicBezTo>
                  <a:pt x="741388" y="2607916"/>
                  <a:pt x="797519" y="2551795"/>
                  <a:pt x="867994" y="2551795"/>
                </a:cubicBezTo>
                <a:lnTo>
                  <a:pt x="1290895" y="2551795"/>
                </a:lnTo>
                <a:cubicBezTo>
                  <a:pt x="1360732" y="2544613"/>
                  <a:pt x="1417511" y="2607926"/>
                  <a:pt x="1417511" y="2678401"/>
                </a:cubicBezTo>
                <a:close/>
                <a:moveTo>
                  <a:pt x="2636625" y="2678401"/>
                </a:moveTo>
                <a:cubicBezTo>
                  <a:pt x="2636625" y="2748887"/>
                  <a:pt x="2580494" y="2805008"/>
                  <a:pt x="2510019" y="2805008"/>
                </a:cubicBezTo>
                <a:lnTo>
                  <a:pt x="2087118" y="2805008"/>
                </a:lnTo>
                <a:cubicBezTo>
                  <a:pt x="2016633" y="2805008"/>
                  <a:pt x="1960512" y="2748877"/>
                  <a:pt x="1960512" y="2678401"/>
                </a:cubicBezTo>
                <a:cubicBezTo>
                  <a:pt x="1960512" y="2607916"/>
                  <a:pt x="2016643" y="2551795"/>
                  <a:pt x="2087118" y="2551795"/>
                </a:cubicBezTo>
                <a:lnTo>
                  <a:pt x="2510019" y="2551795"/>
                </a:lnTo>
                <a:cubicBezTo>
                  <a:pt x="2573322" y="2544613"/>
                  <a:pt x="2636625" y="2607926"/>
                  <a:pt x="2636625" y="2678401"/>
                </a:cubicBezTo>
                <a:close/>
                <a:moveTo>
                  <a:pt x="3849215" y="2678401"/>
                </a:moveTo>
                <a:cubicBezTo>
                  <a:pt x="3849215" y="2748887"/>
                  <a:pt x="3793093" y="2805008"/>
                  <a:pt x="3722608" y="2805008"/>
                </a:cubicBezTo>
                <a:lnTo>
                  <a:pt x="3299708" y="2805008"/>
                </a:lnTo>
                <a:cubicBezTo>
                  <a:pt x="3229223" y="2805008"/>
                  <a:pt x="3173102" y="2748877"/>
                  <a:pt x="3173102" y="2678401"/>
                </a:cubicBezTo>
                <a:cubicBezTo>
                  <a:pt x="3173102" y="2607916"/>
                  <a:pt x="3229232" y="2551795"/>
                  <a:pt x="3299708" y="2551795"/>
                </a:cubicBezTo>
                <a:lnTo>
                  <a:pt x="3722608" y="2551795"/>
                </a:lnTo>
                <a:cubicBezTo>
                  <a:pt x="3792436" y="2544613"/>
                  <a:pt x="3849215" y="2607926"/>
                  <a:pt x="3849215" y="2678401"/>
                </a:cubicBezTo>
                <a:close/>
                <a:moveTo>
                  <a:pt x="5068329" y="2678401"/>
                </a:moveTo>
                <a:cubicBezTo>
                  <a:pt x="5068329" y="2748887"/>
                  <a:pt x="5012198" y="2805008"/>
                  <a:pt x="4941722" y="2805008"/>
                </a:cubicBezTo>
                <a:lnTo>
                  <a:pt x="4518813" y="2805008"/>
                </a:lnTo>
                <a:cubicBezTo>
                  <a:pt x="4448328" y="2805008"/>
                  <a:pt x="4392206" y="2748877"/>
                  <a:pt x="4392206" y="2678401"/>
                </a:cubicBezTo>
                <a:cubicBezTo>
                  <a:pt x="4392206" y="2607916"/>
                  <a:pt x="4448337" y="2551795"/>
                  <a:pt x="4518813" y="2551795"/>
                </a:cubicBezTo>
                <a:lnTo>
                  <a:pt x="4941722" y="2551795"/>
                </a:lnTo>
                <a:cubicBezTo>
                  <a:pt x="5012208" y="2544613"/>
                  <a:pt x="5068329" y="2607926"/>
                  <a:pt x="5068329" y="2678401"/>
                </a:cubicBezTo>
                <a:close/>
                <a:moveTo>
                  <a:pt x="1417511" y="3545100"/>
                </a:moveTo>
                <a:cubicBezTo>
                  <a:pt x="1417511" y="3615585"/>
                  <a:pt x="1361380" y="3671707"/>
                  <a:pt x="1290904" y="3671707"/>
                </a:cubicBezTo>
                <a:lnTo>
                  <a:pt x="867994" y="3671707"/>
                </a:lnTo>
                <a:cubicBezTo>
                  <a:pt x="797509" y="3671707"/>
                  <a:pt x="741388" y="3615576"/>
                  <a:pt x="741388" y="3545100"/>
                </a:cubicBezTo>
                <a:cubicBezTo>
                  <a:pt x="741388" y="3474615"/>
                  <a:pt x="797519" y="3418494"/>
                  <a:pt x="867994" y="3418494"/>
                </a:cubicBezTo>
                <a:lnTo>
                  <a:pt x="1290895" y="3418494"/>
                </a:lnTo>
                <a:cubicBezTo>
                  <a:pt x="1360732" y="3418494"/>
                  <a:pt x="1417511" y="3474615"/>
                  <a:pt x="1417511" y="3545100"/>
                </a:cubicBezTo>
                <a:close/>
                <a:moveTo>
                  <a:pt x="2636625" y="3545100"/>
                </a:moveTo>
                <a:cubicBezTo>
                  <a:pt x="2636625" y="3615585"/>
                  <a:pt x="2580494" y="3671707"/>
                  <a:pt x="2510019" y="3671707"/>
                </a:cubicBezTo>
                <a:lnTo>
                  <a:pt x="2087118" y="3671707"/>
                </a:lnTo>
                <a:cubicBezTo>
                  <a:pt x="2016633" y="3671707"/>
                  <a:pt x="1960512" y="3615576"/>
                  <a:pt x="1960512" y="3545100"/>
                </a:cubicBezTo>
                <a:cubicBezTo>
                  <a:pt x="1960512" y="3474615"/>
                  <a:pt x="2016643" y="3418494"/>
                  <a:pt x="2087118" y="3418494"/>
                </a:cubicBezTo>
                <a:lnTo>
                  <a:pt x="2510019" y="3418494"/>
                </a:lnTo>
                <a:cubicBezTo>
                  <a:pt x="2573322" y="3418494"/>
                  <a:pt x="2636625" y="3474615"/>
                  <a:pt x="2636625" y="3545100"/>
                </a:cubicBezTo>
                <a:close/>
                <a:moveTo>
                  <a:pt x="3849215" y="3545100"/>
                </a:moveTo>
                <a:cubicBezTo>
                  <a:pt x="3849215" y="3615585"/>
                  <a:pt x="3793093" y="3671707"/>
                  <a:pt x="3722608" y="3671707"/>
                </a:cubicBezTo>
                <a:lnTo>
                  <a:pt x="3299708" y="3671707"/>
                </a:lnTo>
                <a:cubicBezTo>
                  <a:pt x="3229223" y="3671707"/>
                  <a:pt x="3173102" y="3615576"/>
                  <a:pt x="3173102" y="3545100"/>
                </a:cubicBezTo>
                <a:cubicBezTo>
                  <a:pt x="3173102" y="3474615"/>
                  <a:pt x="3229232" y="3418494"/>
                  <a:pt x="3299708" y="3418494"/>
                </a:cubicBezTo>
                <a:lnTo>
                  <a:pt x="3722608" y="3418494"/>
                </a:lnTo>
                <a:cubicBezTo>
                  <a:pt x="3792436" y="3418494"/>
                  <a:pt x="3849215" y="3474615"/>
                  <a:pt x="3849215" y="3545100"/>
                </a:cubicBezTo>
                <a:close/>
                <a:moveTo>
                  <a:pt x="5068329" y="3545100"/>
                </a:moveTo>
                <a:cubicBezTo>
                  <a:pt x="5068329" y="3615585"/>
                  <a:pt x="5012198" y="3671707"/>
                  <a:pt x="4941722" y="3671707"/>
                </a:cubicBezTo>
                <a:lnTo>
                  <a:pt x="4518813" y="3671707"/>
                </a:lnTo>
                <a:cubicBezTo>
                  <a:pt x="4448328" y="3671707"/>
                  <a:pt x="4392206" y="3615576"/>
                  <a:pt x="4392206" y="3545100"/>
                </a:cubicBezTo>
                <a:cubicBezTo>
                  <a:pt x="4392206" y="3474615"/>
                  <a:pt x="4448337" y="3418494"/>
                  <a:pt x="4518813" y="3418494"/>
                </a:cubicBezTo>
                <a:lnTo>
                  <a:pt x="4941722" y="3418494"/>
                </a:lnTo>
                <a:cubicBezTo>
                  <a:pt x="5012208" y="3418494"/>
                  <a:pt x="5068329" y="3474615"/>
                  <a:pt x="5068329" y="3545100"/>
                </a:cubicBezTo>
                <a:close/>
                <a:moveTo>
                  <a:pt x="1417511" y="4419629"/>
                </a:moveTo>
                <a:cubicBezTo>
                  <a:pt x="1417511" y="4490114"/>
                  <a:pt x="1361380" y="4546235"/>
                  <a:pt x="1290904" y="4546235"/>
                </a:cubicBezTo>
                <a:lnTo>
                  <a:pt x="867994" y="4546235"/>
                </a:lnTo>
                <a:cubicBezTo>
                  <a:pt x="797509" y="4546235"/>
                  <a:pt x="741388" y="4490114"/>
                  <a:pt x="741388" y="4419629"/>
                </a:cubicBezTo>
                <a:cubicBezTo>
                  <a:pt x="741388" y="4349144"/>
                  <a:pt x="797519" y="4293022"/>
                  <a:pt x="867994" y="4293022"/>
                </a:cubicBezTo>
                <a:lnTo>
                  <a:pt x="1290895" y="4293022"/>
                </a:lnTo>
                <a:cubicBezTo>
                  <a:pt x="1360732" y="4285183"/>
                  <a:pt x="1417511" y="4341962"/>
                  <a:pt x="1417511" y="4419629"/>
                </a:cubicBezTo>
                <a:close/>
                <a:moveTo>
                  <a:pt x="2636625" y="4419629"/>
                </a:moveTo>
                <a:cubicBezTo>
                  <a:pt x="2636625" y="4490114"/>
                  <a:pt x="2580494" y="4546235"/>
                  <a:pt x="2510019" y="4546235"/>
                </a:cubicBezTo>
                <a:lnTo>
                  <a:pt x="2087118" y="4546235"/>
                </a:lnTo>
                <a:cubicBezTo>
                  <a:pt x="2016633" y="4546235"/>
                  <a:pt x="1960512" y="4490114"/>
                  <a:pt x="1960512" y="4419629"/>
                </a:cubicBezTo>
                <a:cubicBezTo>
                  <a:pt x="1960512" y="4349144"/>
                  <a:pt x="2016643" y="4293022"/>
                  <a:pt x="2087118" y="4293022"/>
                </a:cubicBezTo>
                <a:lnTo>
                  <a:pt x="2510019" y="4293022"/>
                </a:lnTo>
                <a:cubicBezTo>
                  <a:pt x="2573322" y="4285183"/>
                  <a:pt x="2636625" y="4341962"/>
                  <a:pt x="2636625" y="4419629"/>
                </a:cubicBezTo>
                <a:close/>
                <a:moveTo>
                  <a:pt x="3849215" y="4419629"/>
                </a:moveTo>
                <a:cubicBezTo>
                  <a:pt x="3849215" y="4490114"/>
                  <a:pt x="3793093" y="4546235"/>
                  <a:pt x="3722608" y="4546235"/>
                </a:cubicBezTo>
                <a:lnTo>
                  <a:pt x="3299708" y="4546235"/>
                </a:lnTo>
                <a:cubicBezTo>
                  <a:pt x="3229223" y="4546235"/>
                  <a:pt x="3173102" y="4490114"/>
                  <a:pt x="3173102" y="4419629"/>
                </a:cubicBezTo>
                <a:cubicBezTo>
                  <a:pt x="3173102" y="4349144"/>
                  <a:pt x="3229232" y="4293022"/>
                  <a:pt x="3299708" y="4293022"/>
                </a:cubicBezTo>
                <a:lnTo>
                  <a:pt x="3722608" y="4293022"/>
                </a:lnTo>
                <a:cubicBezTo>
                  <a:pt x="3792436" y="4285183"/>
                  <a:pt x="3849215" y="4341962"/>
                  <a:pt x="3849215" y="4419629"/>
                </a:cubicBezTo>
                <a:close/>
                <a:moveTo>
                  <a:pt x="5068329" y="4419629"/>
                </a:moveTo>
                <a:cubicBezTo>
                  <a:pt x="5068329" y="4490114"/>
                  <a:pt x="5012198" y="4546235"/>
                  <a:pt x="4941722" y="4546235"/>
                </a:cubicBezTo>
                <a:lnTo>
                  <a:pt x="4518813" y="4546235"/>
                </a:lnTo>
                <a:cubicBezTo>
                  <a:pt x="4448328" y="4546235"/>
                  <a:pt x="4392206" y="4490114"/>
                  <a:pt x="4392206" y="4419629"/>
                </a:cubicBezTo>
                <a:cubicBezTo>
                  <a:pt x="4392206" y="4349144"/>
                  <a:pt x="4448337" y="4293022"/>
                  <a:pt x="4518813" y="4293022"/>
                </a:cubicBezTo>
                <a:lnTo>
                  <a:pt x="4941722" y="4293022"/>
                </a:lnTo>
                <a:cubicBezTo>
                  <a:pt x="5012208" y="4285183"/>
                  <a:pt x="5068329" y="4341962"/>
                  <a:pt x="5068329" y="441962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98" name="Rectángulo 446">
            <a:extLst>
              <a:ext uri="{FF2B5EF4-FFF2-40B4-BE49-F238E27FC236}">
                <a16:creationId xmlns:a16="http://schemas.microsoft.com/office/drawing/2014/main" xmlns="" id="{61A2FF76-BA4A-8C47-8B11-E9DB903A5F91}"/>
              </a:ext>
            </a:extLst>
          </p:cNvPr>
          <p:cNvSpPr/>
          <p:nvPr/>
        </p:nvSpPr>
        <p:spPr>
          <a:xfrm>
            <a:off x="361973" y="226098"/>
            <a:ext cx="9244137" cy="7850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ts val="6080"/>
              </a:lnSpc>
            </a:pPr>
            <a:r>
              <a:rPr lang="es-ES" sz="3200" b="1" dirty="0">
                <a:latin typeface="Quicksand" pitchFamily="2" charset="77"/>
              </a:rPr>
              <a:t>Editable </a:t>
            </a:r>
            <a:r>
              <a:rPr lang="es-ES" sz="3200" b="1" dirty="0" err="1">
                <a:latin typeface="Quicksand" pitchFamily="2" charset="77"/>
              </a:rPr>
              <a:t>Icon</a:t>
            </a:r>
            <a:r>
              <a:rPr lang="es-ES" sz="3200" b="1" dirty="0">
                <a:latin typeface="Quicksand" pitchFamily="2" charset="77"/>
              </a:rPr>
              <a:t> Set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CBACB319-1A34-0E43-B81E-5DE55CAF099D}"/>
              </a:ext>
            </a:extLst>
          </p:cNvPr>
          <p:cNvSpPr txBox="1"/>
          <p:nvPr/>
        </p:nvSpPr>
        <p:spPr>
          <a:xfrm>
            <a:off x="9675523" y="6555989"/>
            <a:ext cx="132845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b="0" dirty="0" smtClean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OSI Institute</a:t>
            </a:r>
            <a:endParaRPr lang="en-US" sz="1200" b="0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7509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QJqAHKx5wgyv3swwHUA"/>
</p:tagLst>
</file>

<file path=ppt/theme/theme1.xml><?xml version="1.0" encoding="utf-8"?>
<a:theme xmlns:a="http://schemas.openxmlformats.org/drawingml/2006/main" name="Office Theme">
  <a:themeElements>
    <a:clrScheme name="Custom 48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B4F6C"/>
      </a:accent1>
      <a:accent2>
        <a:srgbClr val="FFFFFF"/>
      </a:accent2>
      <a:accent3>
        <a:srgbClr val="FFFFFF"/>
      </a:accent3>
      <a:accent4>
        <a:srgbClr val="FFFFFF"/>
      </a:accent4>
      <a:accent5>
        <a:srgbClr val="FEFFFE"/>
      </a:accent5>
      <a:accent6>
        <a:srgbClr val="FEFFFE"/>
      </a:accent6>
      <a:hlink>
        <a:srgbClr val="2F5CD6"/>
      </a:hlink>
      <a:folHlink>
        <a:srgbClr val="954F72"/>
      </a:folHlink>
    </a:clrScheme>
    <a:fontScheme name="Custom 34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9</TotalTime>
  <Words>599</Words>
  <Application>Microsoft Office PowerPoint</Application>
  <PresentationFormat>Widescreen</PresentationFormat>
  <Paragraphs>60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Arial Black</vt:lpstr>
      <vt:lpstr>Calibri</vt:lpstr>
      <vt:lpstr>Georgia</vt:lpstr>
      <vt:lpstr>Quicksand</vt:lpstr>
      <vt:lpstr>Segoe UI</vt:lpstr>
      <vt:lpstr>Segoe UI Light</vt:lpstr>
      <vt:lpstr>Office Theme</vt:lpstr>
      <vt:lpstr>think-cell Slide</vt:lpstr>
      <vt:lpstr>PowerPoint Presentation</vt:lpstr>
      <vt:lpstr>Isi Pembelajaran</vt:lpstr>
      <vt:lpstr>Judul Modul Pembelajaran</vt:lpstr>
      <vt:lpstr>Judul Modul Pembelajaran</vt:lpstr>
      <vt:lpstr>Judul Halaman Pembelajaran</vt:lpstr>
      <vt:lpstr>Kontak Pengembang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Haitan Rachman</cp:lastModifiedBy>
  <cp:revision>125</cp:revision>
  <dcterms:created xsi:type="dcterms:W3CDTF">2019-08-16T12:08:31Z</dcterms:created>
  <dcterms:modified xsi:type="dcterms:W3CDTF">2022-09-17T04:05:57Z</dcterms:modified>
</cp:coreProperties>
</file>